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4" r:id="rId2"/>
  </p:sldMasterIdLst>
  <p:notesMasterIdLst>
    <p:notesMasterId r:id="rId20"/>
  </p:notesMasterIdLst>
  <p:sldIdLst>
    <p:sldId id="269" r:id="rId3"/>
    <p:sldId id="577" r:id="rId4"/>
    <p:sldId id="584" r:id="rId5"/>
    <p:sldId id="585" r:id="rId6"/>
    <p:sldId id="586" r:id="rId7"/>
    <p:sldId id="587" r:id="rId8"/>
    <p:sldId id="588" r:id="rId9"/>
    <p:sldId id="590" r:id="rId10"/>
    <p:sldId id="591" r:id="rId11"/>
    <p:sldId id="592" r:id="rId12"/>
    <p:sldId id="594" r:id="rId13"/>
    <p:sldId id="593" r:id="rId14"/>
    <p:sldId id="597" r:id="rId15"/>
    <p:sldId id="595" r:id="rId16"/>
    <p:sldId id="582" r:id="rId17"/>
    <p:sldId id="598" r:id="rId18"/>
    <p:sldId id="497" r:id="rId19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04" autoAdjust="0"/>
    <p:restoredTop sz="93701" autoAdjust="0"/>
  </p:normalViewPr>
  <p:slideViewPr>
    <p:cSldViewPr snapToGrid="0">
      <p:cViewPr>
        <p:scale>
          <a:sx n="66" d="100"/>
          <a:sy n="66" d="100"/>
        </p:scale>
        <p:origin x="715" y="29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FF617-208D-4B3A-A0E6-D63C1A834245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925B17-9D05-465B-B47E-FBD2CE447C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4704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025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3330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784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79794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274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34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0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0F2BB-195B-475C-89DD-9A3483B6C545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255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F1B2B0-0A30-4169-B4B3-D8D2E98E1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CD8C0AD-E5B1-4CC0-B6C4-F43A2EC395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53BDE6-28AC-4226-BDEE-3DCABFCA1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8BBF3ED-4181-4ABC-B6D1-864522022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56CE92-0D17-4826-8E0A-1E167758A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80840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696618-6965-48D9-AB2E-5C26678DA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3BAD62-F0F6-44C9-B76A-74B4050BFB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FCC5B-B784-4CD0-9DBC-468844FB3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88693FC-F1AA-4A1B-8438-5BDFFEEDB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71EB9AC-69E2-4E8D-A60D-0BFF6967B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135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49920C7-4968-46AF-B80A-4E33B46505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17AC1-DB54-472F-9F98-31EC0C251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876B3B-F55B-47A6-9AFA-599E3F808A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23FE86-2A30-4484-B09B-907FCBCA9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2AF534-4ADD-4AFF-8E1E-A14A1E3FD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3138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B5954375-EACA-7B8B-65A4-EC8EA96528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279004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96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F1B2B0-0A30-4169-B4B3-D8D2E98E1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CD8C0AD-E5B1-4CC0-B6C4-F43A2EC395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53BDE6-28AC-4226-BDEE-3DCABFCA1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8BBF3ED-4181-4ABC-B6D1-864522022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56CE92-0D17-4826-8E0A-1E167758A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6424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66D5E4-A4C2-4D58-BF3C-7401A9E1C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7259F1-1CEB-4C76-9648-D99B9053DF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55AD4-DB39-4737-99FB-649CDFFEA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30D5631-E5FC-473C-9910-65F509C8B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C16AA4F-9084-4B32-91AD-2999581C1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111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808F0A-AF91-407A-BECF-CB5B2642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967452-C68C-4E4C-BB24-E2F574885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A38CF88-A280-4A60-ADC3-7DFA4D85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CE85B8-D12B-4696-9855-336DCA5A4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8D55A4-34DB-4BA0-B093-7220076AD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46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E225CA-C0A4-4DE3-9B6D-DB1DFE5AF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715478-9020-4FBA-B0FC-7D6F983B65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9362BB3-DFC4-4139-82A8-5F3DCE8C85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18AB40-03F1-4A48-A03E-B8DB42D54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96E47A6-2FAA-4E37-9317-14B19C8DC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0F51422-0DC1-4709-B3ED-824F279DC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3320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16F4AB-E8BB-4FB0-A770-20E83B439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30AEC55-1C03-4FC0-8030-277C07F16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57DAE61-5302-4446-B511-F3D5F1DA9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AF6C227-7EB6-4ED3-AFF7-E61923E5A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E28BB57-8BA0-4283-A949-80FE4AA806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EBCEE55-6EB7-4BC4-A634-0AF393A84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E77BB6D-2898-4178-94DF-CA297D48F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2461F4B-9419-4910-8B8B-A91130972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865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0E0298-FBF2-4B21-9794-E5780CCE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B106609-FE2A-4A34-9D09-41B89F6E2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57A86F-AC44-4C8B-BDD5-04F1F2140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A12A28D-10E2-4935-B0E8-DC016916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56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66D5E4-A4C2-4D58-BF3C-7401A9E1C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7259F1-1CEB-4C76-9648-D99B9053DF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55AD4-DB39-4737-99FB-649CDFFEA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30D5631-E5FC-473C-9910-65F509C8B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C16AA4F-9084-4B32-91AD-2999581C1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1770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DE55D1B-9692-4ED1-BD53-83E9511A7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9C61E41-1700-4050-8585-B83F65B64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CDEF654-5F7E-431A-A6E0-37AD2A40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379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5280D4-F24B-4DB5-B1D8-BAB1336DA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D4916F-E68A-4BC1-80D0-C2627E0CC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A23F1DD-FEF5-4904-ABDA-52E5D4B72B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865754-37E0-4732-9FB0-14B107919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80FBA0B-9EF8-4D3F-921D-48F63B11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BA82513-777E-4357-97E6-90286DC9F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20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194A4C-3C5D-43E1-B664-5B618A274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1813986-8CDB-4455-BA32-84CEB957FF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9C66BEB-8F12-4EDD-8406-2100D71EB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1837F78-258D-4723-8F18-3FE44A321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13826B4-8522-4B1B-9D42-F90D533ED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9CEDC8-E407-483D-9EB0-0738310B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990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696618-6965-48D9-AB2E-5C26678DA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3BAD62-F0F6-44C9-B76A-74B4050BFB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FCC5B-B784-4CD0-9DBC-468844FB3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88693FC-F1AA-4A1B-8438-5BDFFEEDB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71EB9AC-69E2-4E8D-A60D-0BFF6967B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260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49920C7-4968-46AF-B80A-4E33B46505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17AC1-DB54-472F-9F98-31EC0C251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876B3B-F55B-47A6-9AFA-599E3F808A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23FE86-2A30-4484-B09B-907FCBCA9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2AF534-4ADD-4AFF-8E1E-A14A1E3FD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36571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B5954375-EACA-7B8B-65A4-EC8EA96528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81212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07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808F0A-AF91-407A-BECF-CB5B2642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967452-C68C-4E4C-BB24-E2F574885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A38CF88-A280-4A60-ADC3-7DFA4D85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CE85B8-D12B-4696-9855-336DCA5A4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8D55A4-34DB-4BA0-B093-7220076AD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341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E225CA-C0A4-4DE3-9B6D-DB1DFE5AF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715478-9020-4FBA-B0FC-7D6F983B65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9362BB3-DFC4-4139-82A8-5F3DCE8C85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18AB40-03F1-4A48-A03E-B8DB42D54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96E47A6-2FAA-4E37-9317-14B19C8DC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0F51422-0DC1-4709-B3ED-824F279DC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126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16F4AB-E8BB-4FB0-A770-20E83B439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30AEC55-1C03-4FC0-8030-277C07F16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57DAE61-5302-4446-B511-F3D5F1DA9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AF6C227-7EB6-4ED3-AFF7-E61923E5A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E28BB57-8BA0-4283-A949-80FE4AA806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EBCEE55-6EB7-4BC4-A634-0AF393A84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E77BB6D-2898-4178-94DF-CA297D48F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2461F4B-9419-4910-8B8B-A91130972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2495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0E0298-FBF2-4B21-9794-E5780CCE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B106609-FE2A-4A34-9D09-41B89F6E2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57A86F-AC44-4C8B-BDD5-04F1F2140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A12A28D-10E2-4935-B0E8-DC016916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184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DE55D1B-9692-4ED1-BD53-83E9511A7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9C61E41-1700-4050-8585-B83F65B64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CDEF654-5F7E-431A-A6E0-37AD2A40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6435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5280D4-F24B-4DB5-B1D8-BAB1336DA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D4916F-E68A-4BC1-80D0-C2627E0CC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A23F1DD-FEF5-4904-ABDA-52E5D4B72B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865754-37E0-4732-9FB0-14B107919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80FBA0B-9EF8-4D3F-921D-48F63B11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BA82513-777E-4357-97E6-90286DC9F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7231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194A4C-3C5D-43E1-B664-5B618A274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1813986-8CDB-4455-BA32-84CEB957FF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9C66BEB-8F12-4EDD-8406-2100D71EB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1837F78-258D-4723-8F18-3FE44A321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13826B4-8522-4B1B-9D42-F90D533ED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9CEDC8-E407-483D-9EB0-0738310B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650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4D37A-7950-4F33-AF44-073763A0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E53D30-338F-45A3-8A5B-AFDFC4902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B99C26-CEF8-4CC8-87A4-A5D83E51C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80A8A5-C466-4324-96BE-AFCEEC08B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382116-2C8B-4A75-9943-ED5808455F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20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4D37A-7950-4F33-AF44-073763A0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E53D30-338F-45A3-8A5B-AFDFC4902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B99C26-CEF8-4CC8-87A4-A5D83E51C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E30C5-3F4A-4D2C-98EA-109B4D866A39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80A8A5-C466-4324-96BE-AFCEEC08B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382116-2C8B-4A75-9943-ED5808455F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91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38.png"/><Relationship Id="rId18" Type="http://schemas.openxmlformats.org/officeDocument/2006/relationships/image" Target="../media/image41.svg"/><Relationship Id="rId3" Type="http://schemas.openxmlformats.org/officeDocument/2006/relationships/image" Target="../media/image6.png"/><Relationship Id="rId7" Type="http://schemas.openxmlformats.org/officeDocument/2006/relationships/image" Target="../media/image34.png"/><Relationship Id="rId12" Type="http://schemas.openxmlformats.org/officeDocument/2006/relationships/image" Target="../media/image5.svg"/><Relationship Id="rId17" Type="http://schemas.openxmlformats.org/officeDocument/2006/relationships/image" Target="../media/image40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3.svg"/><Relationship Id="rId20" Type="http://schemas.openxmlformats.org/officeDocument/2006/relationships/image" Target="../media/image17.svg"/><Relationship Id="rId1" Type="http://schemas.openxmlformats.org/officeDocument/2006/relationships/tags" Target="../tags/tag11.xml"/><Relationship Id="rId6" Type="http://schemas.openxmlformats.org/officeDocument/2006/relationships/image" Target="../media/image33.svg"/><Relationship Id="rId11" Type="http://schemas.openxmlformats.org/officeDocument/2006/relationships/image" Target="../media/image4.png"/><Relationship Id="rId5" Type="http://schemas.openxmlformats.org/officeDocument/2006/relationships/image" Target="../media/image32.png"/><Relationship Id="rId15" Type="http://schemas.openxmlformats.org/officeDocument/2006/relationships/image" Target="../media/image22.png"/><Relationship Id="rId10" Type="http://schemas.openxmlformats.org/officeDocument/2006/relationships/image" Target="../media/image37.svg"/><Relationship Id="rId19" Type="http://schemas.openxmlformats.org/officeDocument/2006/relationships/image" Target="../media/image16.png"/><Relationship Id="rId4" Type="http://schemas.openxmlformats.org/officeDocument/2006/relationships/image" Target="../media/image7.svg"/><Relationship Id="rId9" Type="http://schemas.openxmlformats.org/officeDocument/2006/relationships/image" Target="../media/image36.png"/><Relationship Id="rId14" Type="http://schemas.openxmlformats.org/officeDocument/2006/relationships/image" Target="../media/image39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34.png"/><Relationship Id="rId18" Type="http://schemas.openxmlformats.org/officeDocument/2006/relationships/image" Target="../media/image17.svg"/><Relationship Id="rId26" Type="http://schemas.openxmlformats.org/officeDocument/2006/relationships/image" Target="../media/image5.svg"/><Relationship Id="rId3" Type="http://schemas.openxmlformats.org/officeDocument/2006/relationships/image" Target="../media/image6.png"/><Relationship Id="rId21" Type="http://schemas.openxmlformats.org/officeDocument/2006/relationships/image" Target="../media/image44.png"/><Relationship Id="rId7" Type="http://schemas.openxmlformats.org/officeDocument/2006/relationships/image" Target="../media/image22.png"/><Relationship Id="rId12" Type="http://schemas.openxmlformats.org/officeDocument/2006/relationships/image" Target="../media/image33.svg"/><Relationship Id="rId17" Type="http://schemas.openxmlformats.org/officeDocument/2006/relationships/image" Target="../media/image16.png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7.svg"/><Relationship Id="rId20" Type="http://schemas.openxmlformats.org/officeDocument/2006/relationships/image" Target="../media/image43.svg"/><Relationship Id="rId1" Type="http://schemas.openxmlformats.org/officeDocument/2006/relationships/tags" Target="../tags/tag12.xml"/><Relationship Id="rId6" Type="http://schemas.openxmlformats.org/officeDocument/2006/relationships/image" Target="../media/image39.svg"/><Relationship Id="rId11" Type="http://schemas.openxmlformats.org/officeDocument/2006/relationships/image" Target="../media/image32.png"/><Relationship Id="rId24" Type="http://schemas.openxmlformats.org/officeDocument/2006/relationships/image" Target="../media/image47.svg"/><Relationship Id="rId5" Type="http://schemas.openxmlformats.org/officeDocument/2006/relationships/image" Target="../media/image38.png"/><Relationship Id="rId15" Type="http://schemas.openxmlformats.org/officeDocument/2006/relationships/image" Target="../media/image36.png"/><Relationship Id="rId23" Type="http://schemas.openxmlformats.org/officeDocument/2006/relationships/image" Target="../media/image46.png"/><Relationship Id="rId10" Type="http://schemas.openxmlformats.org/officeDocument/2006/relationships/image" Target="../media/image41.svg"/><Relationship Id="rId19" Type="http://schemas.openxmlformats.org/officeDocument/2006/relationships/image" Target="../media/image42.png"/><Relationship Id="rId4" Type="http://schemas.openxmlformats.org/officeDocument/2006/relationships/image" Target="../media/image7.svg"/><Relationship Id="rId9" Type="http://schemas.openxmlformats.org/officeDocument/2006/relationships/image" Target="../media/image40.png"/><Relationship Id="rId14" Type="http://schemas.openxmlformats.org/officeDocument/2006/relationships/image" Target="../media/image35.svg"/><Relationship Id="rId22" Type="http://schemas.openxmlformats.org/officeDocument/2006/relationships/image" Target="../media/image4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18" Type="http://schemas.openxmlformats.org/officeDocument/2006/relationships/image" Target="../media/image17.svg"/><Relationship Id="rId26" Type="http://schemas.openxmlformats.org/officeDocument/2006/relationships/image" Target="../media/image47.svg"/><Relationship Id="rId3" Type="http://schemas.openxmlformats.org/officeDocument/2006/relationships/image" Target="../media/image6.png"/><Relationship Id="rId21" Type="http://schemas.openxmlformats.org/officeDocument/2006/relationships/image" Target="../media/image42.png"/><Relationship Id="rId7" Type="http://schemas.openxmlformats.org/officeDocument/2006/relationships/image" Target="../media/image34.png"/><Relationship Id="rId12" Type="http://schemas.openxmlformats.org/officeDocument/2006/relationships/image" Target="../media/image51.svg"/><Relationship Id="rId17" Type="http://schemas.openxmlformats.org/officeDocument/2006/relationships/image" Target="../media/image16.png"/><Relationship Id="rId25" Type="http://schemas.openxmlformats.org/officeDocument/2006/relationships/image" Target="../media/image46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3.svg"/><Relationship Id="rId20" Type="http://schemas.openxmlformats.org/officeDocument/2006/relationships/image" Target="../media/image39.svg"/><Relationship Id="rId1" Type="http://schemas.openxmlformats.org/officeDocument/2006/relationships/tags" Target="../tags/tag13.xml"/><Relationship Id="rId6" Type="http://schemas.openxmlformats.org/officeDocument/2006/relationships/image" Target="../media/image33.svg"/><Relationship Id="rId11" Type="http://schemas.openxmlformats.org/officeDocument/2006/relationships/image" Target="../media/image50.png"/><Relationship Id="rId24" Type="http://schemas.openxmlformats.org/officeDocument/2006/relationships/image" Target="../media/image45.svg"/><Relationship Id="rId5" Type="http://schemas.openxmlformats.org/officeDocument/2006/relationships/image" Target="../media/image32.png"/><Relationship Id="rId15" Type="http://schemas.openxmlformats.org/officeDocument/2006/relationships/image" Target="../media/image22.png"/><Relationship Id="rId23" Type="http://schemas.openxmlformats.org/officeDocument/2006/relationships/image" Target="../media/image44.png"/><Relationship Id="rId28" Type="http://schemas.openxmlformats.org/officeDocument/2006/relationships/image" Target="../media/image5.svg"/><Relationship Id="rId10" Type="http://schemas.openxmlformats.org/officeDocument/2006/relationships/image" Target="../media/image49.svg"/><Relationship Id="rId19" Type="http://schemas.openxmlformats.org/officeDocument/2006/relationships/image" Target="../media/image38.png"/><Relationship Id="rId4" Type="http://schemas.openxmlformats.org/officeDocument/2006/relationships/image" Target="../media/image7.svg"/><Relationship Id="rId9" Type="http://schemas.openxmlformats.org/officeDocument/2006/relationships/image" Target="../media/image48.png"/><Relationship Id="rId14" Type="http://schemas.openxmlformats.org/officeDocument/2006/relationships/image" Target="../media/image41.svg"/><Relationship Id="rId22" Type="http://schemas.openxmlformats.org/officeDocument/2006/relationships/image" Target="../media/image43.svg"/><Relationship Id="rId27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5.svg"/><Relationship Id="rId1" Type="http://schemas.openxmlformats.org/officeDocument/2006/relationships/tags" Target="../tags/tag14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5" Type="http://schemas.openxmlformats.org/officeDocument/2006/relationships/image" Target="../media/image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Relationship Id="rId14" Type="http://schemas.openxmlformats.org/officeDocument/2006/relationships/image" Target="../media/image6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5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10" Type="http://schemas.openxmlformats.org/officeDocument/2006/relationships/image" Target="../media/image5.svg"/><Relationship Id="rId4" Type="http://schemas.openxmlformats.org/officeDocument/2006/relationships/image" Target="../media/image43.svg"/><Relationship Id="rId9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71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7.svg"/><Relationship Id="rId12" Type="http://schemas.openxmlformats.org/officeDocument/2006/relationships/image" Target="../media/image70.png"/><Relationship Id="rId17" Type="http://schemas.openxmlformats.org/officeDocument/2006/relationships/image" Target="../media/image5.sv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.png"/><Relationship Id="rId1" Type="http://schemas.openxmlformats.org/officeDocument/2006/relationships/tags" Target="../tags/tag16.xml"/><Relationship Id="rId6" Type="http://schemas.openxmlformats.org/officeDocument/2006/relationships/image" Target="../media/image66.png"/><Relationship Id="rId11" Type="http://schemas.openxmlformats.org/officeDocument/2006/relationships/image" Target="../media/image69.svg"/><Relationship Id="rId5" Type="http://schemas.openxmlformats.org/officeDocument/2006/relationships/image" Target="../media/image65.svg"/><Relationship Id="rId15" Type="http://schemas.openxmlformats.org/officeDocument/2006/relationships/image" Target="../media/image73.svg"/><Relationship Id="rId10" Type="http://schemas.openxmlformats.org/officeDocument/2006/relationships/image" Target="../media/image68.png"/><Relationship Id="rId4" Type="http://schemas.openxmlformats.org/officeDocument/2006/relationships/image" Target="../media/image64.png"/><Relationship Id="rId9" Type="http://schemas.openxmlformats.org/officeDocument/2006/relationships/image" Target="../media/image57.svg"/><Relationship Id="rId1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7.svg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11" Type="http://schemas.openxmlformats.org/officeDocument/2006/relationships/image" Target="../media/image12.png"/><Relationship Id="rId5" Type="http://schemas.openxmlformats.org/officeDocument/2006/relationships/image" Target="../media/image4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7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5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svg"/><Relationship Id="rId12" Type="http://schemas.openxmlformats.org/officeDocument/2006/relationships/image" Target="../media/image14.png"/><Relationship Id="rId17" Type="http://schemas.openxmlformats.org/officeDocument/2006/relationships/image" Target="../media/image5.sv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.pn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openxmlformats.org/officeDocument/2006/relationships/image" Target="../media/image13.svg"/><Relationship Id="rId5" Type="http://schemas.openxmlformats.org/officeDocument/2006/relationships/image" Target="../media/image19.sv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image" Target="../media/image18.png"/><Relationship Id="rId9" Type="http://schemas.openxmlformats.org/officeDocument/2006/relationships/image" Target="../media/image7.sv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4.pn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7.svg"/><Relationship Id="rId9" Type="http://schemas.openxmlformats.org/officeDocument/2006/relationships/image" Target="../media/image24.png"/><Relationship Id="rId1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5.svg"/><Relationship Id="rId4" Type="http://schemas.openxmlformats.org/officeDocument/2006/relationships/image" Target="../media/image7.svg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10" Type="http://schemas.openxmlformats.org/officeDocument/2006/relationships/image" Target="../media/image5.svg"/><Relationship Id="rId4" Type="http://schemas.openxmlformats.org/officeDocument/2006/relationships/image" Target="../media/image7.svg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attern">
            <a:extLst>
              <a:ext uri="{FF2B5EF4-FFF2-40B4-BE49-F238E27FC236}">
                <a16:creationId xmlns:a16="http://schemas.microsoft.com/office/drawing/2014/main" id="{B82003D0-A4BE-4B7C-9DBE-3F1773370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27" name="Graphic 4"/>
          <p:cNvSpPr/>
          <p:nvPr/>
        </p:nvSpPr>
        <p:spPr>
          <a:xfrm>
            <a:off x="10032999" y="2349500"/>
            <a:ext cx="2159001" cy="2159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10800" y="21600"/>
                </a:ln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lnTo>
                  <a:pt x="21600" y="0"/>
                </a:ln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8" name="Circle"/>
          <p:cNvSpPr/>
          <p:nvPr/>
        </p:nvSpPr>
        <p:spPr>
          <a:xfrm>
            <a:off x="10758153" y="3032125"/>
            <a:ext cx="793751" cy="793750"/>
          </a:xfrm>
          <a:prstGeom prst="ellipse">
            <a:avLst/>
          </a:prstGeom>
          <a:ln w="635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9" name="Line"/>
          <p:cNvSpPr/>
          <p:nvPr/>
        </p:nvSpPr>
        <p:spPr>
          <a:xfrm>
            <a:off x="11007096" y="3429000"/>
            <a:ext cx="296182" cy="0"/>
          </a:xfrm>
          <a:prstGeom prst="line">
            <a:avLst/>
          </a:prstGeom>
          <a:ln w="38100">
            <a:solidFill>
              <a:srgbClr val="FFFFFF"/>
            </a:solidFill>
            <a:miter lim="400000"/>
            <a:tailEnd type="arrow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grpSp>
        <p:nvGrpSpPr>
          <p:cNvPr id="11" name="Рисунок 2">
            <a:extLst>
              <a:ext uri="{FF2B5EF4-FFF2-40B4-BE49-F238E27FC236}">
                <a16:creationId xmlns:a16="http://schemas.microsoft.com/office/drawing/2014/main" id="{81E4D32B-EA39-4226-A820-DFDA54D70D9D}"/>
              </a:ext>
            </a:extLst>
          </p:cNvPr>
          <p:cNvGrpSpPr/>
          <p:nvPr/>
        </p:nvGrpSpPr>
        <p:grpSpPr>
          <a:xfrm>
            <a:off x="823295" y="845375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A8EC787-F16A-4FDC-968C-FAFB2BE92427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D182EF7-913D-4BF0-8243-53B24E4809E3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53A1300-6D39-495A-9276-5C1E5B486307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D9B5C8DC-493D-4CA2-A367-2BB1F4059AA5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20" name="CDIConf_Black">
            <a:extLst>
              <a:ext uri="{FF2B5EF4-FFF2-40B4-BE49-F238E27FC236}">
                <a16:creationId xmlns:a16="http://schemas.microsoft.com/office/drawing/2014/main" id="{0230A560-0FE1-416A-B018-721D0A7E4E8A}"/>
              </a:ext>
            </a:extLst>
          </p:cNvPr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6DC48993-8691-4B21-B0CE-E9922FF6A948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344D681F-944F-4942-B16F-C8A5F4F0941F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217C3DD2-C26B-4A95-8D99-02CD3046ED96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B60B56C0-FCF4-4241-B3F0-64CBD86DF7EA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Заголовок">
            <a:extLst>
              <a:ext uri="{FF2B5EF4-FFF2-40B4-BE49-F238E27FC236}">
                <a16:creationId xmlns:a16="http://schemas.microsoft.com/office/drawing/2014/main" id="{5457FC2E-3B87-4B8B-AEC3-EB2449AC98BC}"/>
              </a:ext>
            </a:extLst>
          </p:cNvPr>
          <p:cNvSpPr txBox="1"/>
          <p:nvPr/>
        </p:nvSpPr>
        <p:spPr>
          <a:xfrm>
            <a:off x="723776" y="2495424"/>
            <a:ext cx="716093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400" b="1" dirty="0">
                <a:solidFill>
                  <a:srgbClr val="FFFFFF"/>
                </a:solidFill>
                <a:latin typeface="Roboto" pitchFamily="2" charset="0"/>
                <a:ea typeface="Roboto" pitchFamily="2" charset="0"/>
              </a:rPr>
              <a:t>Наш путь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к «Единому клиенту»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B3FEE9E-D287-4BF8-A0BF-6450E9376BB5}"/>
              </a:ext>
            </a:extLst>
          </p:cNvPr>
          <p:cNvGrpSpPr/>
          <p:nvPr/>
        </p:nvGrpSpPr>
        <p:grpSpPr>
          <a:xfrm>
            <a:off x="823295" y="5447625"/>
            <a:ext cx="3202071" cy="762000"/>
            <a:chOff x="1217541" y="5509934"/>
            <a:chExt cx="3202071" cy="762000"/>
          </a:xfrm>
        </p:grpSpPr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74F481C8-A300-4CF6-BC0D-6A77DB483BF6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34" name="Rounded Rectangle">
                <a:extLst>
                  <a:ext uri="{FF2B5EF4-FFF2-40B4-BE49-F238E27FC236}">
                    <a16:creationId xmlns:a16="http://schemas.microsoft.com/office/drawing/2014/main" id="{0B86B469-3FA5-4F94-8FE0-35011EA1B724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" name="Market analysis">
                <a:extLst>
                  <a:ext uri="{FF2B5EF4-FFF2-40B4-BE49-F238E27FC236}">
                    <a16:creationId xmlns:a16="http://schemas.microsoft.com/office/drawing/2014/main" id="{59159994-E08E-4D42-9533-271614F05D91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accent2"/>
                    </a:solidFill>
                    <a:latin typeface="Roboto" pitchFamily="2" charset="0"/>
                    <a:ea typeface="Roboto" pitchFamily="2" charset="0"/>
                    <a:cs typeface="Poppins SemiBold"/>
                  </a:rPr>
                  <a:t>Дмитрий Локтев</a:t>
                </a:r>
              </a:p>
            </p:txBody>
          </p:sp>
          <p:sp>
            <p:nvSpPr>
              <p:cNvPr id="36" name="Market analysis">
                <a:extLst>
                  <a:ext uri="{FF2B5EF4-FFF2-40B4-BE49-F238E27FC236}">
                    <a16:creationId xmlns:a16="http://schemas.microsoft.com/office/drawing/2014/main" id="{C6156070-82DB-4747-9DD5-3011F1A55D44}"/>
                  </a:ext>
                </a:extLst>
              </p:cNvPr>
              <p:cNvSpPr txBox="1"/>
              <p:nvPr/>
            </p:nvSpPr>
            <p:spPr>
              <a:xfrm>
                <a:off x="1307014" y="1830776"/>
                <a:ext cx="2168875" cy="2877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Roboto Light" panose="02000000000000000000" pitchFamily="2" charset="0"/>
                    <a:ea typeface="Roboto Light" panose="02000000000000000000" pitchFamily="2" charset="0"/>
                  </a:rPr>
                  <a:t>Владелец платформы по работе с клиентскими данными</a:t>
                </a:r>
                <a:endPara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</p:grp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71B056AE-0EDD-49F8-B269-ADB6077FE5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5450" b="29690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pic>
        <p:nvPicPr>
          <p:cNvPr id="28" name="ОТП_Logo">
            <a:extLst>
              <a:ext uri="{FF2B5EF4-FFF2-40B4-BE49-F238E27FC236}">
                <a16:creationId xmlns:a16="http://schemas.microsoft.com/office/drawing/2014/main" id="{26B813B1-C5A2-4839-AF59-02BB52E36F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22123" y="5740934"/>
            <a:ext cx="2390207" cy="58261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5843386" y="2256574"/>
            <a:ext cx="6917265" cy="2344852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6217173" y="2720601"/>
            <a:ext cx="5731438" cy="1416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sz="3600" b="1" dirty="0">
                <a:latin typeface="Roboto" pitchFamily="2" charset="0"/>
                <a:ea typeface="Roboto" pitchFamily="2" charset="0"/>
              </a:rPr>
              <a:t>Разработка собственной </a:t>
            </a: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CRM – зачем?</a:t>
            </a:r>
            <a:r>
              <a:rPr lang="ru-RU" sz="3600" b="1" dirty="0">
                <a:latin typeface="Roboto" pitchFamily="2" charset="0"/>
                <a:ea typeface="Roboto" pitchFamily="2" charset="0"/>
              </a:rPr>
              <a:t> </a:t>
            </a:r>
            <a:endParaRPr lang="en-US" sz="3600" b="1" dirty="0">
              <a:solidFill>
                <a:schemeClr val="accent3"/>
              </a:solidFill>
              <a:latin typeface="Roboto" pitchFamily="2" charset="0"/>
              <a:ea typeface="Roboto" pitchFamily="2" charset="0"/>
            </a:endParaRPr>
          </a:p>
          <a:p>
            <a:pPr lvl="0">
              <a:lnSpc>
                <a:spcPct val="114286"/>
              </a:lnSpc>
              <a:defRPr/>
            </a:pPr>
            <a:r>
              <a:rPr lang="ru-RU" sz="2000" b="1" dirty="0">
                <a:latin typeface="Roboto" pitchFamily="2" charset="0"/>
                <a:ea typeface="Roboto" pitchFamily="2" charset="0"/>
              </a:rPr>
              <a:t>(и при чем здесь «Единый клиент»?)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614778" y="821180"/>
            <a:ext cx="4790223" cy="3799434"/>
            <a:chOff x="614778" y="821180"/>
            <a:chExt cx="4790223" cy="3799434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F310C9C5-8FBC-47A0-AC24-21D3485BE78B}"/>
                </a:ext>
              </a:extLst>
            </p:cNvPr>
            <p:cNvSpPr/>
            <p:nvPr/>
          </p:nvSpPr>
          <p:spPr>
            <a:xfrm>
              <a:off x="614778" y="821180"/>
              <a:ext cx="4790223" cy="3799434"/>
            </a:xfrm>
            <a:custGeom>
              <a:avLst/>
              <a:gdLst>
                <a:gd name="connsiteX0" fmla="*/ 4568632 w 4790223"/>
                <a:gd name="connsiteY0" fmla="*/ 730192 h 3799434"/>
                <a:gd name="connsiteX1" fmla="*/ 3229015 w 4790223"/>
                <a:gd name="connsiteY1" fmla="*/ 4063 h 3799434"/>
                <a:gd name="connsiteX2" fmla="*/ 1685910 w 4790223"/>
                <a:gd name="connsiteY2" fmla="*/ 574932 h 3799434"/>
                <a:gd name="connsiteX3" fmla="*/ 1209772 w 4790223"/>
                <a:gd name="connsiteY3" fmla="*/ 1068333 h 3799434"/>
                <a:gd name="connsiteX4" fmla="*/ 266775 w 4790223"/>
                <a:gd name="connsiteY4" fmla="*/ 1830499 h 3799434"/>
                <a:gd name="connsiteX5" fmla="*/ 268933 w 4790223"/>
                <a:gd name="connsiteY5" fmla="*/ 3134942 h 3799434"/>
                <a:gd name="connsiteX6" fmla="*/ 733203 w 4790223"/>
                <a:gd name="connsiteY6" fmla="*/ 3422589 h 3799434"/>
                <a:gd name="connsiteX7" fmla="*/ 2057390 w 4790223"/>
                <a:gd name="connsiteY7" fmla="*/ 3760837 h 3799434"/>
                <a:gd name="connsiteX8" fmla="*/ 3592188 w 4790223"/>
                <a:gd name="connsiteY8" fmla="*/ 3655640 h 3799434"/>
                <a:gd name="connsiteX9" fmla="*/ 4714613 w 4790223"/>
                <a:gd name="connsiteY9" fmla="*/ 1103507 h 3799434"/>
                <a:gd name="connsiteX10" fmla="*/ 4568632 w 4790223"/>
                <a:gd name="connsiteY10" fmla="*/ 730300 h 379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90223" h="3799434">
                  <a:moveTo>
                    <a:pt x="4568632" y="730192"/>
                  </a:moveTo>
                  <a:cubicBezTo>
                    <a:pt x="4309470" y="270886"/>
                    <a:pt x="3768919" y="35460"/>
                    <a:pt x="3229015" y="4063"/>
                  </a:cubicBezTo>
                  <a:cubicBezTo>
                    <a:pt x="2630309" y="-30787"/>
                    <a:pt x="2084688" y="158460"/>
                    <a:pt x="1685910" y="574932"/>
                  </a:cubicBezTo>
                  <a:cubicBezTo>
                    <a:pt x="1527845" y="739903"/>
                    <a:pt x="1385100" y="918144"/>
                    <a:pt x="1209772" y="1068333"/>
                  </a:cubicBezTo>
                  <a:cubicBezTo>
                    <a:pt x="908315" y="1326632"/>
                    <a:pt x="529930" y="1538429"/>
                    <a:pt x="266775" y="1830499"/>
                  </a:cubicBezTo>
                  <a:cubicBezTo>
                    <a:pt x="-66079" y="2199929"/>
                    <a:pt x="-111826" y="2780617"/>
                    <a:pt x="268933" y="3134942"/>
                  </a:cubicBezTo>
                  <a:cubicBezTo>
                    <a:pt x="400996" y="3257834"/>
                    <a:pt x="564564" y="3347710"/>
                    <a:pt x="733203" y="3422589"/>
                  </a:cubicBezTo>
                  <a:cubicBezTo>
                    <a:pt x="1148056" y="3606656"/>
                    <a:pt x="1601429" y="3706351"/>
                    <a:pt x="2057390" y="3760837"/>
                  </a:cubicBezTo>
                  <a:cubicBezTo>
                    <a:pt x="2571399" y="3822337"/>
                    <a:pt x="3107418" y="3825682"/>
                    <a:pt x="3592188" y="3655640"/>
                  </a:cubicBezTo>
                  <a:cubicBezTo>
                    <a:pt x="4661853" y="3280384"/>
                    <a:pt x="4947341" y="2051898"/>
                    <a:pt x="4714613" y="1103507"/>
                  </a:cubicBezTo>
                  <a:cubicBezTo>
                    <a:pt x="4683000" y="974465"/>
                    <a:pt x="4634771" y="847581"/>
                    <a:pt x="4568632" y="730300"/>
                  </a:cubicBezTo>
                  <a:close/>
                </a:path>
              </a:pathLst>
            </a:custGeom>
            <a:solidFill>
              <a:srgbClr val="006D3F"/>
            </a:solidFill>
            <a:ln w="10777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1D236DBC-AFE9-40B1-BDE0-4EEE81504E66}"/>
                </a:ext>
              </a:extLst>
            </p:cNvPr>
            <p:cNvSpPr/>
            <p:nvPr/>
          </p:nvSpPr>
          <p:spPr>
            <a:xfrm>
              <a:off x="614778" y="821180"/>
              <a:ext cx="4790223" cy="3799434"/>
            </a:xfrm>
            <a:custGeom>
              <a:avLst/>
              <a:gdLst>
                <a:gd name="connsiteX0" fmla="*/ 4568632 w 4790223"/>
                <a:gd name="connsiteY0" fmla="*/ 730192 h 3799434"/>
                <a:gd name="connsiteX1" fmla="*/ 3229015 w 4790223"/>
                <a:gd name="connsiteY1" fmla="*/ 4063 h 3799434"/>
                <a:gd name="connsiteX2" fmla="*/ 1685910 w 4790223"/>
                <a:gd name="connsiteY2" fmla="*/ 574932 h 3799434"/>
                <a:gd name="connsiteX3" fmla="*/ 1209772 w 4790223"/>
                <a:gd name="connsiteY3" fmla="*/ 1068333 h 3799434"/>
                <a:gd name="connsiteX4" fmla="*/ 266775 w 4790223"/>
                <a:gd name="connsiteY4" fmla="*/ 1830499 h 3799434"/>
                <a:gd name="connsiteX5" fmla="*/ 268933 w 4790223"/>
                <a:gd name="connsiteY5" fmla="*/ 3134942 h 3799434"/>
                <a:gd name="connsiteX6" fmla="*/ 733203 w 4790223"/>
                <a:gd name="connsiteY6" fmla="*/ 3422589 h 3799434"/>
                <a:gd name="connsiteX7" fmla="*/ 2057390 w 4790223"/>
                <a:gd name="connsiteY7" fmla="*/ 3760837 h 3799434"/>
                <a:gd name="connsiteX8" fmla="*/ 3592188 w 4790223"/>
                <a:gd name="connsiteY8" fmla="*/ 3655640 h 3799434"/>
                <a:gd name="connsiteX9" fmla="*/ 4714613 w 4790223"/>
                <a:gd name="connsiteY9" fmla="*/ 1103507 h 3799434"/>
                <a:gd name="connsiteX10" fmla="*/ 4568632 w 4790223"/>
                <a:gd name="connsiteY10" fmla="*/ 730300 h 379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90223" h="3799434">
                  <a:moveTo>
                    <a:pt x="4568632" y="730192"/>
                  </a:moveTo>
                  <a:cubicBezTo>
                    <a:pt x="4309470" y="270886"/>
                    <a:pt x="3768919" y="35460"/>
                    <a:pt x="3229015" y="4063"/>
                  </a:cubicBezTo>
                  <a:cubicBezTo>
                    <a:pt x="2630309" y="-30787"/>
                    <a:pt x="2084688" y="158460"/>
                    <a:pt x="1685910" y="574932"/>
                  </a:cubicBezTo>
                  <a:cubicBezTo>
                    <a:pt x="1527845" y="739903"/>
                    <a:pt x="1385100" y="918144"/>
                    <a:pt x="1209772" y="1068333"/>
                  </a:cubicBezTo>
                  <a:cubicBezTo>
                    <a:pt x="908315" y="1326632"/>
                    <a:pt x="529930" y="1538429"/>
                    <a:pt x="266775" y="1830499"/>
                  </a:cubicBezTo>
                  <a:cubicBezTo>
                    <a:pt x="-66079" y="2199929"/>
                    <a:pt x="-111826" y="2780617"/>
                    <a:pt x="268933" y="3134942"/>
                  </a:cubicBezTo>
                  <a:cubicBezTo>
                    <a:pt x="400996" y="3257834"/>
                    <a:pt x="564564" y="3347710"/>
                    <a:pt x="733203" y="3422589"/>
                  </a:cubicBezTo>
                  <a:cubicBezTo>
                    <a:pt x="1148056" y="3606656"/>
                    <a:pt x="1601429" y="3706351"/>
                    <a:pt x="2057390" y="3760837"/>
                  </a:cubicBezTo>
                  <a:cubicBezTo>
                    <a:pt x="2571399" y="3822337"/>
                    <a:pt x="3107418" y="3825682"/>
                    <a:pt x="3592188" y="3655640"/>
                  </a:cubicBezTo>
                  <a:cubicBezTo>
                    <a:pt x="4661853" y="3280384"/>
                    <a:pt x="4947341" y="2051898"/>
                    <a:pt x="4714613" y="1103507"/>
                  </a:cubicBezTo>
                  <a:cubicBezTo>
                    <a:pt x="4683000" y="974465"/>
                    <a:pt x="4634771" y="847581"/>
                    <a:pt x="4568632" y="730300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12320" y="2699800"/>
            <a:ext cx="1380076" cy="2281210"/>
            <a:chOff x="412320" y="2699800"/>
            <a:chExt cx="1380076" cy="2281210"/>
          </a:xfrm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B3586175-DEF0-4590-A178-458D52990957}"/>
                </a:ext>
              </a:extLst>
            </p:cNvPr>
            <p:cNvSpPr/>
            <p:nvPr/>
          </p:nvSpPr>
          <p:spPr>
            <a:xfrm>
              <a:off x="686156" y="4803848"/>
              <a:ext cx="635929" cy="177162"/>
            </a:xfrm>
            <a:custGeom>
              <a:avLst/>
              <a:gdLst>
                <a:gd name="connsiteX0" fmla="*/ 635929 w 635929"/>
                <a:gd name="connsiteY0" fmla="*/ 88581 h 177162"/>
                <a:gd name="connsiteX1" fmla="*/ 317965 w 635929"/>
                <a:gd name="connsiteY1" fmla="*/ 177162 h 177162"/>
                <a:gd name="connsiteX2" fmla="*/ 0 w 635929"/>
                <a:gd name="connsiteY2" fmla="*/ 88581 h 177162"/>
                <a:gd name="connsiteX3" fmla="*/ 317965 w 635929"/>
                <a:gd name="connsiteY3" fmla="*/ 0 h 177162"/>
                <a:gd name="connsiteX4" fmla="*/ 635929 w 635929"/>
                <a:gd name="connsiteY4" fmla="*/ 88581 h 17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929" h="177162">
                  <a:moveTo>
                    <a:pt x="635929" y="88581"/>
                  </a:moveTo>
                  <a:cubicBezTo>
                    <a:pt x="635929" y="137503"/>
                    <a:pt x="493572" y="177162"/>
                    <a:pt x="317965" y="177162"/>
                  </a:cubicBezTo>
                  <a:cubicBezTo>
                    <a:pt x="142358" y="177162"/>
                    <a:pt x="0" y="137503"/>
                    <a:pt x="0" y="88581"/>
                  </a:cubicBezTo>
                  <a:cubicBezTo>
                    <a:pt x="0" y="39659"/>
                    <a:pt x="142358" y="0"/>
                    <a:pt x="317965" y="0"/>
                  </a:cubicBezTo>
                  <a:cubicBezTo>
                    <a:pt x="493572" y="0"/>
                    <a:pt x="635929" y="39659"/>
                    <a:pt x="635929" y="88581"/>
                  </a:cubicBez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0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412320" y="2699800"/>
              <a:ext cx="1380076" cy="2199211"/>
              <a:chOff x="412320" y="2699800"/>
              <a:chExt cx="1380076" cy="2199211"/>
            </a:xfrm>
          </p:grpSpPr>
          <p:sp>
            <p:nvSpPr>
              <p:cNvPr id="11" name="Полилиния: фигура 10">
                <a:extLst>
                  <a:ext uri="{FF2B5EF4-FFF2-40B4-BE49-F238E27FC236}">
                    <a16:creationId xmlns:a16="http://schemas.microsoft.com/office/drawing/2014/main" id="{F0EAC3C8-8799-4639-A347-7A4712A7EA7A}"/>
                  </a:ext>
                </a:extLst>
              </p:cNvPr>
              <p:cNvSpPr/>
              <p:nvPr/>
            </p:nvSpPr>
            <p:spPr>
              <a:xfrm>
                <a:off x="689069" y="4208055"/>
                <a:ext cx="622874" cy="690955"/>
              </a:xfrm>
              <a:custGeom>
                <a:avLst/>
                <a:gdLst>
                  <a:gd name="connsiteX0" fmla="*/ 233483 w 622874"/>
                  <a:gd name="connsiteY0" fmla="*/ 690956 h 690955"/>
                  <a:gd name="connsiteX1" fmla="*/ 389391 w 622874"/>
                  <a:gd name="connsiteY1" fmla="*/ 690956 h 690955"/>
                  <a:gd name="connsiteX2" fmla="*/ 575940 w 622874"/>
                  <a:gd name="connsiteY2" fmla="*/ 520482 h 690955"/>
                  <a:gd name="connsiteX3" fmla="*/ 622874 w 622874"/>
                  <a:gd name="connsiteY3" fmla="*/ 0 h 690955"/>
                  <a:gd name="connsiteX4" fmla="*/ 0 w 622874"/>
                  <a:gd name="connsiteY4" fmla="*/ 0 h 690955"/>
                  <a:gd name="connsiteX5" fmla="*/ 46934 w 622874"/>
                  <a:gd name="connsiteY5" fmla="*/ 520482 h 690955"/>
                  <a:gd name="connsiteX6" fmla="*/ 233483 w 622874"/>
                  <a:gd name="connsiteY6" fmla="*/ 690956 h 69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2874" h="690955">
                    <a:moveTo>
                      <a:pt x="233483" y="690956"/>
                    </a:moveTo>
                    <a:lnTo>
                      <a:pt x="389391" y="690956"/>
                    </a:lnTo>
                    <a:cubicBezTo>
                      <a:pt x="486280" y="690956"/>
                      <a:pt x="567201" y="617048"/>
                      <a:pt x="575940" y="520482"/>
                    </a:cubicBezTo>
                    <a:lnTo>
                      <a:pt x="622874" y="0"/>
                    </a:lnTo>
                    <a:lnTo>
                      <a:pt x="0" y="0"/>
                    </a:lnTo>
                    <a:lnTo>
                      <a:pt x="46934" y="520482"/>
                    </a:lnTo>
                    <a:cubicBezTo>
                      <a:pt x="55674" y="617048"/>
                      <a:pt x="136594" y="690956"/>
                      <a:pt x="233483" y="6909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45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2" name="Рисунок 2">
                <a:extLst>
                  <a:ext uri="{FF2B5EF4-FFF2-40B4-BE49-F238E27FC236}">
                    <a16:creationId xmlns:a16="http://schemas.microsoft.com/office/drawing/2014/main" id="{6A5E939F-2E60-48FC-B2E3-2F9F53B5A2F9}"/>
                  </a:ext>
                </a:extLst>
              </p:cNvPr>
              <p:cNvGrpSpPr/>
              <p:nvPr/>
            </p:nvGrpSpPr>
            <p:grpSpPr>
              <a:xfrm>
                <a:off x="689069" y="4208055"/>
                <a:ext cx="622874" cy="690955"/>
                <a:chOff x="689069" y="4208055"/>
                <a:chExt cx="622874" cy="690955"/>
              </a:xfrm>
            </p:grpSpPr>
            <p:sp>
              <p:nvSpPr>
                <p:cNvPr id="13" name="Полилиния: фигура 12">
                  <a:extLst>
                    <a:ext uri="{FF2B5EF4-FFF2-40B4-BE49-F238E27FC236}">
                      <a16:creationId xmlns:a16="http://schemas.microsoft.com/office/drawing/2014/main" id="{F09CB13C-4840-4259-A98B-31F97B890EF1}"/>
                    </a:ext>
                  </a:extLst>
                </p:cNvPr>
                <p:cNvSpPr/>
                <p:nvPr/>
              </p:nvSpPr>
              <p:spPr>
                <a:xfrm>
                  <a:off x="689069" y="4208055"/>
                  <a:ext cx="622874" cy="690955"/>
                </a:xfrm>
                <a:custGeom>
                  <a:avLst/>
                  <a:gdLst>
                    <a:gd name="connsiteX0" fmla="*/ 233483 w 622874"/>
                    <a:gd name="connsiteY0" fmla="*/ 690956 h 690955"/>
                    <a:gd name="connsiteX1" fmla="*/ 389391 w 622874"/>
                    <a:gd name="connsiteY1" fmla="*/ 690956 h 690955"/>
                    <a:gd name="connsiteX2" fmla="*/ 575940 w 622874"/>
                    <a:gd name="connsiteY2" fmla="*/ 520482 h 690955"/>
                    <a:gd name="connsiteX3" fmla="*/ 622874 w 622874"/>
                    <a:gd name="connsiteY3" fmla="*/ 0 h 690955"/>
                    <a:gd name="connsiteX4" fmla="*/ 0 w 622874"/>
                    <a:gd name="connsiteY4" fmla="*/ 0 h 690955"/>
                    <a:gd name="connsiteX5" fmla="*/ 46934 w 622874"/>
                    <a:gd name="connsiteY5" fmla="*/ 520482 h 690955"/>
                    <a:gd name="connsiteX6" fmla="*/ 233483 w 622874"/>
                    <a:gd name="connsiteY6" fmla="*/ 690956 h 690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2874" h="690955">
                      <a:moveTo>
                        <a:pt x="233483" y="690956"/>
                      </a:moveTo>
                      <a:lnTo>
                        <a:pt x="389391" y="690956"/>
                      </a:lnTo>
                      <a:cubicBezTo>
                        <a:pt x="486280" y="690956"/>
                        <a:pt x="567201" y="617048"/>
                        <a:pt x="575940" y="520482"/>
                      </a:cubicBezTo>
                      <a:lnTo>
                        <a:pt x="622874" y="0"/>
                      </a:lnTo>
                      <a:lnTo>
                        <a:pt x="0" y="0"/>
                      </a:lnTo>
                      <a:lnTo>
                        <a:pt x="46934" y="520482"/>
                      </a:lnTo>
                      <a:cubicBezTo>
                        <a:pt x="55674" y="617048"/>
                        <a:pt x="136594" y="690956"/>
                        <a:pt x="233483" y="69095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4" name="Полилиния: фигура 13">
                  <a:extLst>
                    <a:ext uri="{FF2B5EF4-FFF2-40B4-BE49-F238E27FC236}">
                      <a16:creationId xmlns:a16="http://schemas.microsoft.com/office/drawing/2014/main" id="{57CF7480-7289-4550-B4AE-BCE26B0D6639}"/>
                    </a:ext>
                  </a:extLst>
                </p:cNvPr>
                <p:cNvSpPr/>
                <p:nvPr/>
              </p:nvSpPr>
              <p:spPr>
                <a:xfrm>
                  <a:off x="733522" y="4701025"/>
                  <a:ext cx="286459" cy="130659"/>
                </a:xfrm>
                <a:custGeom>
                  <a:avLst/>
                  <a:gdLst>
                    <a:gd name="connsiteX0" fmla="*/ 2482 w 286459"/>
                    <a:gd name="connsiteY0" fmla="*/ 27513 h 130659"/>
                    <a:gd name="connsiteX1" fmla="*/ 0 w 286459"/>
                    <a:gd name="connsiteY1" fmla="*/ 0 h 130659"/>
                    <a:gd name="connsiteX2" fmla="*/ 286460 w 286459"/>
                    <a:gd name="connsiteY2" fmla="*/ 52113 h 130659"/>
                    <a:gd name="connsiteX3" fmla="*/ 45316 w 286459"/>
                    <a:gd name="connsiteY3" fmla="*/ 130660 h 130659"/>
                    <a:gd name="connsiteX4" fmla="*/ 2482 w 286459"/>
                    <a:gd name="connsiteY4" fmla="*/ 27621 h 1306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6459" h="130659">
                      <a:moveTo>
                        <a:pt x="2482" y="27513"/>
                      </a:moveTo>
                      <a:lnTo>
                        <a:pt x="0" y="0"/>
                      </a:lnTo>
                      <a:lnTo>
                        <a:pt x="286460" y="52113"/>
                      </a:lnTo>
                      <a:lnTo>
                        <a:pt x="45316" y="130660"/>
                      </a:lnTo>
                      <a:cubicBezTo>
                        <a:pt x="21687" y="102284"/>
                        <a:pt x="6042" y="66894"/>
                        <a:pt x="2482" y="27621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5" name="Полилиния: фигура 14">
                  <a:extLst>
                    <a:ext uri="{FF2B5EF4-FFF2-40B4-BE49-F238E27FC236}">
                      <a16:creationId xmlns:a16="http://schemas.microsoft.com/office/drawing/2014/main" id="{095E94A0-4BB7-4913-B334-7692F33A7CE5}"/>
                    </a:ext>
                  </a:extLst>
                </p:cNvPr>
                <p:cNvSpPr/>
                <p:nvPr/>
              </p:nvSpPr>
              <p:spPr>
                <a:xfrm>
                  <a:off x="981032" y="4423412"/>
                  <a:ext cx="311491" cy="305341"/>
                </a:xfrm>
                <a:custGeom>
                  <a:avLst/>
                  <a:gdLst>
                    <a:gd name="connsiteX0" fmla="*/ 283978 w 311491"/>
                    <a:gd name="connsiteY0" fmla="*/ 305341 h 305341"/>
                    <a:gd name="connsiteX1" fmla="*/ 0 w 311491"/>
                    <a:gd name="connsiteY1" fmla="*/ 183744 h 305341"/>
                    <a:gd name="connsiteX2" fmla="*/ 311491 w 311491"/>
                    <a:gd name="connsiteY2" fmla="*/ 0 h 305341"/>
                    <a:gd name="connsiteX3" fmla="*/ 283978 w 311491"/>
                    <a:gd name="connsiteY3" fmla="*/ 305341 h 305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1491" h="305341">
                      <a:moveTo>
                        <a:pt x="283978" y="305341"/>
                      </a:moveTo>
                      <a:lnTo>
                        <a:pt x="0" y="183744"/>
                      </a:lnTo>
                      <a:lnTo>
                        <a:pt x="311491" y="0"/>
                      </a:lnTo>
                      <a:lnTo>
                        <a:pt x="283978" y="305341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" name="Полилиния: фигура 15">
                  <a:extLst>
                    <a:ext uri="{FF2B5EF4-FFF2-40B4-BE49-F238E27FC236}">
                      <a16:creationId xmlns:a16="http://schemas.microsoft.com/office/drawing/2014/main" id="{157379C4-49FB-421B-9E20-ACEAEC9EBBA5}"/>
                    </a:ext>
                  </a:extLst>
                </p:cNvPr>
                <p:cNvSpPr/>
                <p:nvPr/>
              </p:nvSpPr>
              <p:spPr>
                <a:xfrm>
                  <a:off x="693709" y="4259629"/>
                  <a:ext cx="365222" cy="289912"/>
                </a:xfrm>
                <a:custGeom>
                  <a:avLst/>
                  <a:gdLst>
                    <a:gd name="connsiteX0" fmla="*/ 365222 w 365222"/>
                    <a:gd name="connsiteY0" fmla="*/ 152886 h 289912"/>
                    <a:gd name="connsiteX1" fmla="*/ 26110 w 365222"/>
                    <a:gd name="connsiteY1" fmla="*/ 289912 h 289912"/>
                    <a:gd name="connsiteX2" fmla="*/ 0 w 365222"/>
                    <a:gd name="connsiteY2" fmla="*/ 0 h 289912"/>
                    <a:gd name="connsiteX3" fmla="*/ 365222 w 365222"/>
                    <a:gd name="connsiteY3" fmla="*/ 152886 h 289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5222" h="289912">
                      <a:moveTo>
                        <a:pt x="365222" y="152886"/>
                      </a:moveTo>
                      <a:lnTo>
                        <a:pt x="26110" y="289912"/>
                      </a:lnTo>
                      <a:lnTo>
                        <a:pt x="0" y="0"/>
                      </a:lnTo>
                      <a:lnTo>
                        <a:pt x="365222" y="15288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7" name="Рисунок 2">
                <a:extLst>
                  <a:ext uri="{FF2B5EF4-FFF2-40B4-BE49-F238E27FC236}">
                    <a16:creationId xmlns:a16="http://schemas.microsoft.com/office/drawing/2014/main" id="{6A5E939F-2E60-48FC-B2E3-2F9F53B5A2F9}"/>
                  </a:ext>
                </a:extLst>
              </p:cNvPr>
              <p:cNvGrpSpPr/>
              <p:nvPr/>
            </p:nvGrpSpPr>
            <p:grpSpPr>
              <a:xfrm>
                <a:off x="696406" y="4166408"/>
                <a:ext cx="606797" cy="83726"/>
                <a:chOff x="696406" y="4166408"/>
                <a:chExt cx="606797" cy="83726"/>
              </a:xfrm>
            </p:grpSpPr>
            <p:sp>
              <p:nvSpPr>
                <p:cNvPr id="18" name="Полилиния: фигура 17">
                  <a:extLst>
                    <a:ext uri="{FF2B5EF4-FFF2-40B4-BE49-F238E27FC236}">
                      <a16:creationId xmlns:a16="http://schemas.microsoft.com/office/drawing/2014/main" id="{A15502A2-7F93-42E0-8DB2-707FEF41208A}"/>
                    </a:ext>
                  </a:extLst>
                </p:cNvPr>
                <p:cNvSpPr/>
                <p:nvPr/>
              </p:nvSpPr>
              <p:spPr>
                <a:xfrm>
                  <a:off x="696406" y="4166408"/>
                  <a:ext cx="606797" cy="83726"/>
                </a:xfrm>
                <a:custGeom>
                  <a:avLst/>
                  <a:gdLst>
                    <a:gd name="connsiteX0" fmla="*/ 0 w 606797"/>
                    <a:gd name="connsiteY0" fmla="*/ 41863 h 83726"/>
                    <a:gd name="connsiteX1" fmla="*/ 303399 w 606797"/>
                    <a:gd name="connsiteY1" fmla="*/ 83726 h 83726"/>
                    <a:gd name="connsiteX2" fmla="*/ 606798 w 606797"/>
                    <a:gd name="connsiteY2" fmla="*/ 41863 h 83726"/>
                    <a:gd name="connsiteX3" fmla="*/ 303399 w 606797"/>
                    <a:gd name="connsiteY3" fmla="*/ 0 h 83726"/>
                    <a:gd name="connsiteX4" fmla="*/ 0 w 606797"/>
                    <a:gd name="connsiteY4" fmla="*/ 41863 h 83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6797" h="83726">
                      <a:moveTo>
                        <a:pt x="0" y="41863"/>
                      </a:moveTo>
                      <a:cubicBezTo>
                        <a:pt x="0" y="64953"/>
                        <a:pt x="135839" y="83726"/>
                        <a:pt x="303399" y="83726"/>
                      </a:cubicBezTo>
                      <a:cubicBezTo>
                        <a:pt x="470959" y="83726"/>
                        <a:pt x="606798" y="64953"/>
                        <a:pt x="606798" y="41863"/>
                      </a:cubicBezTo>
                      <a:cubicBezTo>
                        <a:pt x="606798" y="18774"/>
                        <a:pt x="470959" y="0"/>
                        <a:pt x="303399" y="0"/>
                      </a:cubicBezTo>
                      <a:cubicBezTo>
                        <a:pt x="135839" y="0"/>
                        <a:pt x="0" y="18774"/>
                        <a:pt x="0" y="418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" name="Полилиния: фигура 18">
                  <a:extLst>
                    <a:ext uri="{FF2B5EF4-FFF2-40B4-BE49-F238E27FC236}">
                      <a16:creationId xmlns:a16="http://schemas.microsoft.com/office/drawing/2014/main" id="{E18CFEA0-7296-4C8C-94AB-5CB342CFE7D5}"/>
                    </a:ext>
                  </a:extLst>
                </p:cNvPr>
                <p:cNvSpPr/>
                <p:nvPr/>
              </p:nvSpPr>
              <p:spPr>
                <a:xfrm>
                  <a:off x="729530" y="4194245"/>
                  <a:ext cx="566661" cy="55889"/>
                </a:xfrm>
                <a:custGeom>
                  <a:avLst/>
                  <a:gdLst>
                    <a:gd name="connsiteX0" fmla="*/ 270275 w 566661"/>
                    <a:gd name="connsiteY0" fmla="*/ 55889 h 55889"/>
                    <a:gd name="connsiteX1" fmla="*/ 0 w 566661"/>
                    <a:gd name="connsiteY1" fmla="*/ 33016 h 55889"/>
                    <a:gd name="connsiteX2" fmla="*/ 296386 w 566661"/>
                    <a:gd name="connsiteY2" fmla="*/ 0 h 55889"/>
                    <a:gd name="connsiteX3" fmla="*/ 566661 w 566661"/>
                    <a:gd name="connsiteY3" fmla="*/ 22874 h 55889"/>
                    <a:gd name="connsiteX4" fmla="*/ 270275 w 566661"/>
                    <a:gd name="connsiteY4" fmla="*/ 55889 h 55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6661" h="55889">
                      <a:moveTo>
                        <a:pt x="270275" y="55889"/>
                      </a:moveTo>
                      <a:cubicBezTo>
                        <a:pt x="152347" y="55889"/>
                        <a:pt x="50171" y="46610"/>
                        <a:pt x="0" y="33016"/>
                      </a:cubicBezTo>
                      <a:cubicBezTo>
                        <a:pt x="29563" y="14134"/>
                        <a:pt x="151052" y="0"/>
                        <a:pt x="296386" y="0"/>
                      </a:cubicBezTo>
                      <a:cubicBezTo>
                        <a:pt x="414314" y="0"/>
                        <a:pt x="516490" y="9279"/>
                        <a:pt x="566661" y="22874"/>
                      </a:cubicBezTo>
                      <a:cubicBezTo>
                        <a:pt x="537098" y="41755"/>
                        <a:pt x="415609" y="55889"/>
                        <a:pt x="270275" y="5588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FF53CBC8-0AA6-42B8-8C6D-C5F529E4C34B}"/>
                  </a:ext>
                </a:extLst>
              </p:cNvPr>
              <p:cNvSpPr/>
              <p:nvPr/>
            </p:nvSpPr>
            <p:spPr>
              <a:xfrm>
                <a:off x="803300" y="3153819"/>
                <a:ext cx="516751" cy="1064378"/>
              </a:xfrm>
              <a:custGeom>
                <a:avLst/>
                <a:gdLst>
                  <a:gd name="connsiteX0" fmla="*/ 515657 w 516751"/>
                  <a:gd name="connsiteY0" fmla="*/ 488546 h 1064378"/>
                  <a:gd name="connsiteX1" fmla="*/ 501415 w 516751"/>
                  <a:gd name="connsiteY1" fmla="*/ 484769 h 1064378"/>
                  <a:gd name="connsiteX2" fmla="*/ 290049 w 516751"/>
                  <a:gd name="connsiteY2" fmla="*/ 607122 h 1064378"/>
                  <a:gd name="connsiteX3" fmla="*/ 399562 w 516751"/>
                  <a:gd name="connsiteY3" fmla="*/ 390254 h 1064378"/>
                  <a:gd name="connsiteX4" fmla="*/ 394923 w 516751"/>
                  <a:gd name="connsiteY4" fmla="*/ 376228 h 1064378"/>
                  <a:gd name="connsiteX5" fmla="*/ 380897 w 516751"/>
                  <a:gd name="connsiteY5" fmla="*/ 380867 h 1064378"/>
                  <a:gd name="connsiteX6" fmla="*/ 282821 w 516751"/>
                  <a:gd name="connsiteY6" fmla="*/ 575185 h 1064378"/>
                  <a:gd name="connsiteX7" fmla="*/ 256386 w 516751"/>
                  <a:gd name="connsiteY7" fmla="*/ 83510 h 1064378"/>
                  <a:gd name="connsiteX8" fmla="*/ 249913 w 516751"/>
                  <a:gd name="connsiteY8" fmla="*/ 10466 h 1064378"/>
                  <a:gd name="connsiteX9" fmla="*/ 239447 w 516751"/>
                  <a:gd name="connsiteY9" fmla="*/ 0 h 1064378"/>
                  <a:gd name="connsiteX10" fmla="*/ 228981 w 516751"/>
                  <a:gd name="connsiteY10" fmla="*/ 10466 h 1064378"/>
                  <a:gd name="connsiteX11" fmla="*/ 235563 w 516751"/>
                  <a:gd name="connsiteY11" fmla="*/ 85560 h 1064378"/>
                  <a:gd name="connsiteX12" fmla="*/ 260378 w 516751"/>
                  <a:gd name="connsiteY12" fmla="*/ 612301 h 1064378"/>
                  <a:gd name="connsiteX13" fmla="*/ 69298 w 516751"/>
                  <a:gd name="connsiteY13" fmla="*/ 385399 h 1064378"/>
                  <a:gd name="connsiteX14" fmla="*/ 54624 w 516751"/>
                  <a:gd name="connsiteY14" fmla="*/ 384104 h 1064378"/>
                  <a:gd name="connsiteX15" fmla="*/ 53329 w 516751"/>
                  <a:gd name="connsiteY15" fmla="*/ 398778 h 1064378"/>
                  <a:gd name="connsiteX16" fmla="*/ 256818 w 516751"/>
                  <a:gd name="connsiteY16" fmla="*/ 640461 h 1064378"/>
                  <a:gd name="connsiteX17" fmla="*/ 257250 w 516751"/>
                  <a:gd name="connsiteY17" fmla="*/ 640785 h 1064378"/>
                  <a:gd name="connsiteX18" fmla="*/ 257681 w 516751"/>
                  <a:gd name="connsiteY18" fmla="*/ 641324 h 1064378"/>
                  <a:gd name="connsiteX19" fmla="*/ 258436 w 516751"/>
                  <a:gd name="connsiteY19" fmla="*/ 641756 h 1064378"/>
                  <a:gd name="connsiteX20" fmla="*/ 234808 w 516751"/>
                  <a:gd name="connsiteY20" fmla="*/ 780184 h 1064378"/>
                  <a:gd name="connsiteX21" fmla="*/ 83432 w 516751"/>
                  <a:gd name="connsiteY21" fmla="*/ 633664 h 1064378"/>
                  <a:gd name="connsiteX22" fmla="*/ 68650 w 516751"/>
                  <a:gd name="connsiteY22" fmla="*/ 633880 h 1064378"/>
                  <a:gd name="connsiteX23" fmla="*/ 68866 w 516751"/>
                  <a:gd name="connsiteY23" fmla="*/ 648661 h 1064378"/>
                  <a:gd name="connsiteX24" fmla="*/ 227255 w 516751"/>
                  <a:gd name="connsiteY24" fmla="*/ 801979 h 1064378"/>
                  <a:gd name="connsiteX25" fmla="*/ 202008 w 516751"/>
                  <a:gd name="connsiteY25" fmla="*/ 888834 h 1064378"/>
                  <a:gd name="connsiteX26" fmla="*/ 201360 w 516751"/>
                  <a:gd name="connsiteY26" fmla="*/ 889157 h 1064378"/>
                  <a:gd name="connsiteX27" fmla="*/ 15350 w 516751"/>
                  <a:gd name="connsiteY27" fmla="*/ 789895 h 1064378"/>
                  <a:gd name="connsiteX28" fmla="*/ 1216 w 516751"/>
                  <a:gd name="connsiteY28" fmla="*/ 794210 h 1064378"/>
                  <a:gd name="connsiteX29" fmla="*/ 5532 w 516751"/>
                  <a:gd name="connsiteY29" fmla="*/ 808345 h 1064378"/>
                  <a:gd name="connsiteX30" fmla="*/ 196289 w 516751"/>
                  <a:gd name="connsiteY30" fmla="*/ 910089 h 1064378"/>
                  <a:gd name="connsiteX31" fmla="*/ 197584 w 516751"/>
                  <a:gd name="connsiteY31" fmla="*/ 910629 h 1064378"/>
                  <a:gd name="connsiteX32" fmla="*/ 187658 w 516751"/>
                  <a:gd name="connsiteY32" fmla="*/ 1054452 h 1064378"/>
                  <a:gd name="connsiteX33" fmla="*/ 198016 w 516751"/>
                  <a:gd name="connsiteY33" fmla="*/ 1064378 h 1064378"/>
                  <a:gd name="connsiteX34" fmla="*/ 198555 w 516751"/>
                  <a:gd name="connsiteY34" fmla="*/ 1064378 h 1064378"/>
                  <a:gd name="connsiteX35" fmla="*/ 208481 w 516751"/>
                  <a:gd name="connsiteY35" fmla="*/ 1053481 h 1064378"/>
                  <a:gd name="connsiteX36" fmla="*/ 220350 w 516751"/>
                  <a:gd name="connsiteY36" fmla="*/ 903184 h 1064378"/>
                  <a:gd name="connsiteX37" fmla="*/ 383918 w 516751"/>
                  <a:gd name="connsiteY37" fmla="*/ 821400 h 1064378"/>
                  <a:gd name="connsiteX38" fmla="*/ 388557 w 516751"/>
                  <a:gd name="connsiteY38" fmla="*/ 807374 h 1064378"/>
                  <a:gd name="connsiteX39" fmla="*/ 374531 w 516751"/>
                  <a:gd name="connsiteY39" fmla="*/ 802734 h 1064378"/>
                  <a:gd name="connsiteX40" fmla="*/ 226068 w 516751"/>
                  <a:gd name="connsiteY40" fmla="*/ 876966 h 1064378"/>
                  <a:gd name="connsiteX41" fmla="*/ 248942 w 516751"/>
                  <a:gd name="connsiteY41" fmla="*/ 803058 h 1064378"/>
                  <a:gd name="connsiteX42" fmla="*/ 279368 w 516751"/>
                  <a:gd name="connsiteY42" fmla="*/ 637548 h 1064378"/>
                  <a:gd name="connsiteX43" fmla="*/ 511557 w 516751"/>
                  <a:gd name="connsiteY43" fmla="*/ 503111 h 1064378"/>
                  <a:gd name="connsiteX44" fmla="*/ 515333 w 516751"/>
                  <a:gd name="connsiteY44" fmla="*/ 488870 h 1064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16751" h="1064378">
                    <a:moveTo>
                      <a:pt x="515657" y="488546"/>
                    </a:moveTo>
                    <a:cubicBezTo>
                      <a:pt x="512743" y="483582"/>
                      <a:pt x="506378" y="481856"/>
                      <a:pt x="501415" y="484769"/>
                    </a:cubicBezTo>
                    <a:lnTo>
                      <a:pt x="290049" y="607122"/>
                    </a:lnTo>
                    <a:lnTo>
                      <a:pt x="399562" y="390254"/>
                    </a:lnTo>
                    <a:cubicBezTo>
                      <a:pt x="402152" y="385075"/>
                      <a:pt x="400102" y="378817"/>
                      <a:pt x="394923" y="376228"/>
                    </a:cubicBezTo>
                    <a:cubicBezTo>
                      <a:pt x="389744" y="373638"/>
                      <a:pt x="383486" y="375688"/>
                      <a:pt x="380897" y="380867"/>
                    </a:cubicBezTo>
                    <a:lnTo>
                      <a:pt x="282821" y="575185"/>
                    </a:lnTo>
                    <a:cubicBezTo>
                      <a:pt x="288323" y="399425"/>
                      <a:pt x="267392" y="192915"/>
                      <a:pt x="256386" y="83510"/>
                    </a:cubicBezTo>
                    <a:cubicBezTo>
                      <a:pt x="252610" y="46395"/>
                      <a:pt x="249913" y="19529"/>
                      <a:pt x="249913" y="10466"/>
                    </a:cubicBezTo>
                    <a:cubicBezTo>
                      <a:pt x="249913" y="4747"/>
                      <a:pt x="245273" y="0"/>
                      <a:pt x="239447" y="0"/>
                    </a:cubicBezTo>
                    <a:cubicBezTo>
                      <a:pt x="233621" y="0"/>
                      <a:pt x="228981" y="4640"/>
                      <a:pt x="228981" y="10466"/>
                    </a:cubicBezTo>
                    <a:cubicBezTo>
                      <a:pt x="228981" y="20500"/>
                      <a:pt x="231571" y="46395"/>
                      <a:pt x="235563" y="85560"/>
                    </a:cubicBezTo>
                    <a:cubicBezTo>
                      <a:pt x="247431" y="202518"/>
                      <a:pt x="270521" y="431578"/>
                      <a:pt x="260378" y="612301"/>
                    </a:cubicBezTo>
                    <a:lnTo>
                      <a:pt x="69298" y="385399"/>
                    </a:lnTo>
                    <a:cubicBezTo>
                      <a:pt x="65521" y="380975"/>
                      <a:pt x="59048" y="380436"/>
                      <a:pt x="54624" y="384104"/>
                    </a:cubicBezTo>
                    <a:cubicBezTo>
                      <a:pt x="50200" y="387772"/>
                      <a:pt x="49661" y="394354"/>
                      <a:pt x="53329" y="398778"/>
                    </a:cubicBezTo>
                    <a:lnTo>
                      <a:pt x="256818" y="640461"/>
                    </a:lnTo>
                    <a:cubicBezTo>
                      <a:pt x="256818" y="640461"/>
                      <a:pt x="257142" y="640677"/>
                      <a:pt x="257250" y="640785"/>
                    </a:cubicBezTo>
                    <a:cubicBezTo>
                      <a:pt x="257357" y="641000"/>
                      <a:pt x="257465" y="641216"/>
                      <a:pt x="257681" y="641324"/>
                    </a:cubicBezTo>
                    <a:cubicBezTo>
                      <a:pt x="257897" y="641540"/>
                      <a:pt x="258221" y="641648"/>
                      <a:pt x="258436" y="641756"/>
                    </a:cubicBezTo>
                    <a:cubicBezTo>
                      <a:pt x="254229" y="694624"/>
                      <a:pt x="246784" y="742205"/>
                      <a:pt x="234808" y="780184"/>
                    </a:cubicBezTo>
                    <a:lnTo>
                      <a:pt x="83432" y="633664"/>
                    </a:lnTo>
                    <a:cubicBezTo>
                      <a:pt x="79332" y="629672"/>
                      <a:pt x="72642" y="629780"/>
                      <a:pt x="68650" y="633880"/>
                    </a:cubicBezTo>
                    <a:cubicBezTo>
                      <a:pt x="64658" y="637979"/>
                      <a:pt x="64766" y="644669"/>
                      <a:pt x="68866" y="648661"/>
                    </a:cubicBezTo>
                    <a:lnTo>
                      <a:pt x="227255" y="801979"/>
                    </a:lnTo>
                    <a:cubicBezTo>
                      <a:pt x="216250" y="832297"/>
                      <a:pt x="207942" y="861429"/>
                      <a:pt x="202008" y="888834"/>
                    </a:cubicBezTo>
                    <a:lnTo>
                      <a:pt x="201360" y="889157"/>
                    </a:lnTo>
                    <a:lnTo>
                      <a:pt x="15350" y="789895"/>
                    </a:lnTo>
                    <a:cubicBezTo>
                      <a:pt x="10279" y="787197"/>
                      <a:pt x="3914" y="789139"/>
                      <a:pt x="1216" y="794210"/>
                    </a:cubicBezTo>
                    <a:cubicBezTo>
                      <a:pt x="-1481" y="799282"/>
                      <a:pt x="461" y="805647"/>
                      <a:pt x="5532" y="808345"/>
                    </a:cubicBezTo>
                    <a:lnTo>
                      <a:pt x="196289" y="910089"/>
                    </a:lnTo>
                    <a:cubicBezTo>
                      <a:pt x="196289" y="910089"/>
                      <a:pt x="197152" y="910413"/>
                      <a:pt x="197584" y="910629"/>
                    </a:cubicBezTo>
                    <a:cubicBezTo>
                      <a:pt x="186902" y="968352"/>
                      <a:pt x="185716" y="1017876"/>
                      <a:pt x="187658" y="1054452"/>
                    </a:cubicBezTo>
                    <a:cubicBezTo>
                      <a:pt x="187981" y="1060062"/>
                      <a:pt x="192513" y="1064378"/>
                      <a:pt x="198016" y="1064378"/>
                    </a:cubicBezTo>
                    <a:cubicBezTo>
                      <a:pt x="198231" y="1064378"/>
                      <a:pt x="198339" y="1064378"/>
                      <a:pt x="198555" y="1064378"/>
                    </a:cubicBezTo>
                    <a:cubicBezTo>
                      <a:pt x="204273" y="1064054"/>
                      <a:pt x="208697" y="1059199"/>
                      <a:pt x="208481" y="1053481"/>
                    </a:cubicBezTo>
                    <a:cubicBezTo>
                      <a:pt x="206539" y="1015826"/>
                      <a:pt x="208050" y="963820"/>
                      <a:pt x="220350" y="903184"/>
                    </a:cubicBezTo>
                    <a:lnTo>
                      <a:pt x="383918" y="821400"/>
                    </a:lnTo>
                    <a:cubicBezTo>
                      <a:pt x="389097" y="818810"/>
                      <a:pt x="391146" y="812553"/>
                      <a:pt x="388557" y="807374"/>
                    </a:cubicBezTo>
                    <a:cubicBezTo>
                      <a:pt x="385968" y="802195"/>
                      <a:pt x="379710" y="800145"/>
                      <a:pt x="374531" y="802734"/>
                    </a:cubicBezTo>
                    <a:lnTo>
                      <a:pt x="226068" y="876966"/>
                    </a:lnTo>
                    <a:cubicBezTo>
                      <a:pt x="231894" y="853337"/>
                      <a:pt x="239447" y="828629"/>
                      <a:pt x="248942" y="803058"/>
                    </a:cubicBezTo>
                    <a:cubicBezTo>
                      <a:pt x="265126" y="759900"/>
                      <a:pt x="274513" y="702177"/>
                      <a:pt x="279368" y="637548"/>
                    </a:cubicBezTo>
                    <a:lnTo>
                      <a:pt x="511557" y="503111"/>
                    </a:lnTo>
                    <a:cubicBezTo>
                      <a:pt x="516520" y="500198"/>
                      <a:pt x="518246" y="493833"/>
                      <a:pt x="515333" y="488870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14F2555A-768E-4365-8351-13915B4F4B3D}"/>
                  </a:ext>
                </a:extLst>
              </p:cNvPr>
              <p:cNvSpPr/>
              <p:nvPr/>
            </p:nvSpPr>
            <p:spPr>
              <a:xfrm>
                <a:off x="886288" y="2699800"/>
                <a:ext cx="321452" cy="774034"/>
              </a:xfrm>
              <a:custGeom>
                <a:avLst/>
                <a:gdLst>
                  <a:gd name="connsiteX0" fmla="*/ 175880 w 321452"/>
                  <a:gd name="connsiteY0" fmla="*/ 773926 h 774034"/>
                  <a:gd name="connsiteX1" fmla="*/ 307295 w 321452"/>
                  <a:gd name="connsiteY1" fmla="*/ 576803 h 774034"/>
                  <a:gd name="connsiteX2" fmla="*/ 285393 w 321452"/>
                  <a:gd name="connsiteY2" fmla="*/ 372344 h 774034"/>
                  <a:gd name="connsiteX3" fmla="*/ 307295 w 321452"/>
                  <a:gd name="connsiteY3" fmla="*/ 197123 h 774034"/>
                  <a:gd name="connsiteX4" fmla="*/ 88270 w 321452"/>
                  <a:gd name="connsiteY4" fmla="*/ 0 h 774034"/>
                  <a:gd name="connsiteX5" fmla="*/ 44465 w 321452"/>
                  <a:gd name="connsiteY5" fmla="*/ 131415 h 774034"/>
                  <a:gd name="connsiteX6" fmla="*/ 44465 w 321452"/>
                  <a:gd name="connsiteY6" fmla="*/ 313973 h 774034"/>
                  <a:gd name="connsiteX7" fmla="*/ 15225 w 321452"/>
                  <a:gd name="connsiteY7" fmla="*/ 496530 h 774034"/>
                  <a:gd name="connsiteX8" fmla="*/ 66367 w 321452"/>
                  <a:gd name="connsiteY8" fmla="*/ 635282 h 774034"/>
                  <a:gd name="connsiteX9" fmla="*/ 175880 w 321452"/>
                  <a:gd name="connsiteY9" fmla="*/ 774034 h 774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1452" h="774034">
                    <a:moveTo>
                      <a:pt x="175880" y="773926"/>
                    </a:moveTo>
                    <a:cubicBezTo>
                      <a:pt x="175880" y="773926"/>
                      <a:pt x="292729" y="671750"/>
                      <a:pt x="307295" y="576803"/>
                    </a:cubicBezTo>
                    <a:cubicBezTo>
                      <a:pt x="321861" y="481856"/>
                      <a:pt x="270827" y="416149"/>
                      <a:pt x="285393" y="372344"/>
                    </a:cubicBezTo>
                    <a:cubicBezTo>
                      <a:pt x="299958" y="328538"/>
                      <a:pt x="343764" y="255494"/>
                      <a:pt x="307295" y="197123"/>
                    </a:cubicBezTo>
                    <a:cubicBezTo>
                      <a:pt x="270827" y="138752"/>
                      <a:pt x="88270" y="0"/>
                      <a:pt x="88270" y="0"/>
                    </a:cubicBezTo>
                    <a:cubicBezTo>
                      <a:pt x="88270" y="0"/>
                      <a:pt x="80933" y="73045"/>
                      <a:pt x="44465" y="131415"/>
                    </a:cubicBezTo>
                    <a:cubicBezTo>
                      <a:pt x="7996" y="189786"/>
                      <a:pt x="29899" y="262831"/>
                      <a:pt x="44465" y="313973"/>
                    </a:cubicBezTo>
                    <a:cubicBezTo>
                      <a:pt x="59030" y="365115"/>
                      <a:pt x="-35809" y="423485"/>
                      <a:pt x="15225" y="496530"/>
                    </a:cubicBezTo>
                    <a:cubicBezTo>
                      <a:pt x="66259" y="569574"/>
                      <a:pt x="66367" y="576803"/>
                      <a:pt x="66367" y="635282"/>
                    </a:cubicBezTo>
                    <a:cubicBezTo>
                      <a:pt x="66367" y="693761"/>
                      <a:pt x="95606" y="759468"/>
                      <a:pt x="175880" y="774034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A1DF3CC0-34A3-427B-A707-103B293D52F2}"/>
                  </a:ext>
                </a:extLst>
              </p:cNvPr>
              <p:cNvSpPr/>
              <p:nvPr/>
            </p:nvSpPr>
            <p:spPr>
              <a:xfrm>
                <a:off x="536507" y="3166983"/>
                <a:ext cx="408105" cy="460061"/>
              </a:xfrm>
              <a:custGeom>
                <a:avLst/>
                <a:gdLst>
                  <a:gd name="connsiteX0" fmla="*/ 401583 w 408105"/>
                  <a:gd name="connsiteY0" fmla="*/ 460062 h 460061"/>
                  <a:gd name="connsiteX1" fmla="*/ 387017 w 408105"/>
                  <a:gd name="connsiteY1" fmla="*/ 350549 h 460061"/>
                  <a:gd name="connsiteX2" fmla="*/ 299407 w 408105"/>
                  <a:gd name="connsiteY2" fmla="*/ 270275 h 460061"/>
                  <a:gd name="connsiteX3" fmla="*/ 226362 w 408105"/>
                  <a:gd name="connsiteY3" fmla="*/ 146089 h 460061"/>
                  <a:gd name="connsiteX4" fmla="*/ 160655 w 408105"/>
                  <a:gd name="connsiteY4" fmla="*/ 102284 h 460061"/>
                  <a:gd name="connsiteX5" fmla="*/ 94947 w 408105"/>
                  <a:gd name="connsiteY5" fmla="*/ 29239 h 460061"/>
                  <a:gd name="connsiteX6" fmla="*/ 0 w 408105"/>
                  <a:gd name="connsiteY6" fmla="*/ 0 h 460061"/>
                  <a:gd name="connsiteX7" fmla="*/ 21903 w 408105"/>
                  <a:gd name="connsiteY7" fmla="*/ 94947 h 460061"/>
                  <a:gd name="connsiteX8" fmla="*/ 36468 w 408105"/>
                  <a:gd name="connsiteY8" fmla="*/ 233699 h 460061"/>
                  <a:gd name="connsiteX9" fmla="*/ 145981 w 408105"/>
                  <a:gd name="connsiteY9" fmla="*/ 313973 h 460061"/>
                  <a:gd name="connsiteX10" fmla="*/ 401583 w 408105"/>
                  <a:gd name="connsiteY10" fmla="*/ 460062 h 460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8105" h="460061">
                    <a:moveTo>
                      <a:pt x="401583" y="460062"/>
                    </a:moveTo>
                    <a:cubicBezTo>
                      <a:pt x="401583" y="460062"/>
                      <a:pt x="423485" y="401691"/>
                      <a:pt x="387017" y="350549"/>
                    </a:cubicBezTo>
                    <a:cubicBezTo>
                      <a:pt x="350549" y="299407"/>
                      <a:pt x="313973" y="328646"/>
                      <a:pt x="299407" y="270275"/>
                    </a:cubicBezTo>
                    <a:cubicBezTo>
                      <a:pt x="284841" y="211905"/>
                      <a:pt x="262939" y="175328"/>
                      <a:pt x="226362" y="146089"/>
                    </a:cubicBezTo>
                    <a:cubicBezTo>
                      <a:pt x="189894" y="116850"/>
                      <a:pt x="189894" y="124186"/>
                      <a:pt x="160655" y="102284"/>
                    </a:cubicBezTo>
                    <a:cubicBezTo>
                      <a:pt x="131415" y="80381"/>
                      <a:pt x="124186" y="51142"/>
                      <a:pt x="94947" y="29239"/>
                    </a:cubicBezTo>
                    <a:cubicBezTo>
                      <a:pt x="65708" y="7337"/>
                      <a:pt x="0" y="0"/>
                      <a:pt x="0" y="0"/>
                    </a:cubicBezTo>
                    <a:cubicBezTo>
                      <a:pt x="0" y="0"/>
                      <a:pt x="21903" y="58371"/>
                      <a:pt x="21903" y="94947"/>
                    </a:cubicBezTo>
                    <a:cubicBezTo>
                      <a:pt x="21903" y="131523"/>
                      <a:pt x="-7337" y="189894"/>
                      <a:pt x="36468" y="233699"/>
                    </a:cubicBezTo>
                    <a:cubicBezTo>
                      <a:pt x="80273" y="277504"/>
                      <a:pt x="116742" y="262939"/>
                      <a:pt x="145981" y="313973"/>
                    </a:cubicBezTo>
                    <a:cubicBezTo>
                      <a:pt x="175220" y="365115"/>
                      <a:pt x="219026" y="452725"/>
                      <a:pt x="401583" y="460062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A448B391-E761-40AC-B3DE-0D94F7392663}"/>
                  </a:ext>
                </a:extLst>
              </p:cNvPr>
              <p:cNvSpPr/>
              <p:nvPr/>
            </p:nvSpPr>
            <p:spPr>
              <a:xfrm>
                <a:off x="492702" y="3553005"/>
                <a:ext cx="460104" cy="316375"/>
              </a:xfrm>
              <a:custGeom>
                <a:avLst/>
                <a:gdLst>
                  <a:gd name="connsiteX0" fmla="*/ 459954 w 460104"/>
                  <a:gd name="connsiteY0" fmla="*/ 300402 h 316375"/>
                  <a:gd name="connsiteX1" fmla="*/ 379680 w 460104"/>
                  <a:gd name="connsiteY1" fmla="*/ 168986 h 316375"/>
                  <a:gd name="connsiteX2" fmla="*/ 182557 w 460104"/>
                  <a:gd name="connsiteY2" fmla="*/ 8332 h 316375"/>
                  <a:gd name="connsiteX3" fmla="*/ 7337 w 460104"/>
                  <a:gd name="connsiteY3" fmla="*/ 66703 h 316375"/>
                  <a:gd name="connsiteX4" fmla="*/ 0 w 460104"/>
                  <a:gd name="connsiteY4" fmla="*/ 198118 h 316375"/>
                  <a:gd name="connsiteX5" fmla="*/ 87610 w 460104"/>
                  <a:gd name="connsiteY5" fmla="*/ 132410 h 316375"/>
                  <a:gd name="connsiteX6" fmla="*/ 211797 w 460104"/>
                  <a:gd name="connsiteY6" fmla="*/ 212684 h 316375"/>
                  <a:gd name="connsiteX7" fmla="*/ 460062 w 460104"/>
                  <a:gd name="connsiteY7" fmla="*/ 300294 h 31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0104" h="316375">
                    <a:moveTo>
                      <a:pt x="459954" y="300402"/>
                    </a:moveTo>
                    <a:cubicBezTo>
                      <a:pt x="459954" y="300402"/>
                      <a:pt x="467291" y="205455"/>
                      <a:pt x="379680" y="168986"/>
                    </a:cubicBezTo>
                    <a:cubicBezTo>
                      <a:pt x="292070" y="132518"/>
                      <a:pt x="277504" y="30234"/>
                      <a:pt x="182557" y="8332"/>
                    </a:cubicBezTo>
                    <a:cubicBezTo>
                      <a:pt x="87610" y="-13571"/>
                      <a:pt x="14566" y="8332"/>
                      <a:pt x="7337" y="66703"/>
                    </a:cubicBezTo>
                    <a:cubicBezTo>
                      <a:pt x="0" y="125074"/>
                      <a:pt x="0" y="198118"/>
                      <a:pt x="0" y="198118"/>
                    </a:cubicBezTo>
                    <a:cubicBezTo>
                      <a:pt x="0" y="198118"/>
                      <a:pt x="43805" y="125074"/>
                      <a:pt x="87610" y="132410"/>
                    </a:cubicBezTo>
                    <a:cubicBezTo>
                      <a:pt x="131415" y="139747"/>
                      <a:pt x="160655" y="132410"/>
                      <a:pt x="211797" y="212684"/>
                    </a:cubicBezTo>
                    <a:cubicBezTo>
                      <a:pt x="262939" y="292957"/>
                      <a:pt x="387017" y="344099"/>
                      <a:pt x="460062" y="300294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9D7EBDC9-B5C8-4BB6-8AFF-55EB2B1ADF7C}"/>
                  </a:ext>
                </a:extLst>
              </p:cNvPr>
              <p:cNvSpPr/>
              <p:nvPr/>
            </p:nvSpPr>
            <p:spPr>
              <a:xfrm>
                <a:off x="412320" y="3851073"/>
                <a:ext cx="503758" cy="178658"/>
              </a:xfrm>
              <a:custGeom>
                <a:avLst/>
                <a:gdLst>
                  <a:gd name="connsiteX0" fmla="*/ 503759 w 503758"/>
                  <a:gd name="connsiteY0" fmla="*/ 162989 h 178658"/>
                  <a:gd name="connsiteX1" fmla="*/ 306636 w 503758"/>
                  <a:gd name="connsiteY1" fmla="*/ 2334 h 178658"/>
                  <a:gd name="connsiteX2" fmla="*/ 0 w 503758"/>
                  <a:gd name="connsiteY2" fmla="*/ 46139 h 178658"/>
                  <a:gd name="connsiteX3" fmla="*/ 197123 w 503758"/>
                  <a:gd name="connsiteY3" fmla="*/ 148315 h 178658"/>
                  <a:gd name="connsiteX4" fmla="*/ 503759 w 503758"/>
                  <a:gd name="connsiteY4" fmla="*/ 162881 h 178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58" h="178658">
                    <a:moveTo>
                      <a:pt x="503759" y="162989"/>
                    </a:moveTo>
                    <a:cubicBezTo>
                      <a:pt x="481856" y="155652"/>
                      <a:pt x="438051" y="16900"/>
                      <a:pt x="306636" y="2334"/>
                    </a:cubicBezTo>
                    <a:cubicBezTo>
                      <a:pt x="175220" y="-12232"/>
                      <a:pt x="0" y="46139"/>
                      <a:pt x="0" y="46139"/>
                    </a:cubicBezTo>
                    <a:cubicBezTo>
                      <a:pt x="0" y="46139"/>
                      <a:pt x="80273" y="89944"/>
                      <a:pt x="197123" y="148315"/>
                    </a:cubicBezTo>
                    <a:cubicBezTo>
                      <a:pt x="313973" y="206686"/>
                      <a:pt x="503759" y="162881"/>
                      <a:pt x="503759" y="162881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52AD85FD-804E-491E-B34D-29A49DFA9A81}"/>
                  </a:ext>
                </a:extLst>
              </p:cNvPr>
              <p:cNvSpPr/>
              <p:nvPr/>
            </p:nvSpPr>
            <p:spPr>
              <a:xfrm>
                <a:off x="1076626" y="3829173"/>
                <a:ext cx="416256" cy="222993"/>
              </a:xfrm>
              <a:custGeom>
                <a:avLst/>
                <a:gdLst>
                  <a:gd name="connsiteX0" fmla="*/ 108 w 416256"/>
                  <a:gd name="connsiteY0" fmla="*/ 177551 h 222993"/>
                  <a:gd name="connsiteX1" fmla="*/ 153426 w 416256"/>
                  <a:gd name="connsiteY1" fmla="*/ 9560 h 222993"/>
                  <a:gd name="connsiteX2" fmla="*/ 328646 w 416256"/>
                  <a:gd name="connsiteY2" fmla="*/ 60702 h 222993"/>
                  <a:gd name="connsiteX3" fmla="*/ 416257 w 416256"/>
                  <a:gd name="connsiteY3" fmla="*/ 119073 h 222993"/>
                  <a:gd name="connsiteX4" fmla="*/ 299407 w 416256"/>
                  <a:gd name="connsiteY4" fmla="*/ 155541 h 222993"/>
                  <a:gd name="connsiteX5" fmla="*/ 87610 w 416256"/>
                  <a:gd name="connsiteY5" fmla="*/ 221249 h 222993"/>
                  <a:gd name="connsiteX6" fmla="*/ 0 w 416256"/>
                  <a:gd name="connsiteY6" fmla="*/ 177443 h 222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6256" h="222993">
                    <a:moveTo>
                      <a:pt x="108" y="177551"/>
                    </a:moveTo>
                    <a:cubicBezTo>
                      <a:pt x="108" y="177551"/>
                      <a:pt x="58479" y="38799"/>
                      <a:pt x="153426" y="9560"/>
                    </a:cubicBezTo>
                    <a:cubicBezTo>
                      <a:pt x="248373" y="-19679"/>
                      <a:pt x="277612" y="24126"/>
                      <a:pt x="328646" y="60702"/>
                    </a:cubicBezTo>
                    <a:cubicBezTo>
                      <a:pt x="379788" y="97170"/>
                      <a:pt x="416257" y="119073"/>
                      <a:pt x="416257" y="119073"/>
                    </a:cubicBezTo>
                    <a:cubicBezTo>
                      <a:pt x="416257" y="119073"/>
                      <a:pt x="357886" y="97170"/>
                      <a:pt x="299407" y="155541"/>
                    </a:cubicBezTo>
                    <a:cubicBezTo>
                      <a:pt x="241036" y="213912"/>
                      <a:pt x="160655" y="228586"/>
                      <a:pt x="87610" y="221249"/>
                    </a:cubicBezTo>
                    <a:cubicBezTo>
                      <a:pt x="14566" y="213912"/>
                      <a:pt x="0" y="177443"/>
                      <a:pt x="0" y="177443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Полилиния: фигура 25">
                <a:extLst>
                  <a:ext uri="{FF2B5EF4-FFF2-40B4-BE49-F238E27FC236}">
                    <a16:creationId xmlns:a16="http://schemas.microsoft.com/office/drawing/2014/main" id="{082078D4-4CAF-4A14-8138-38DE71E696BE}"/>
                  </a:ext>
                </a:extLst>
              </p:cNvPr>
              <p:cNvSpPr/>
              <p:nvPr/>
            </p:nvSpPr>
            <p:spPr>
              <a:xfrm>
                <a:off x="1215486" y="3338905"/>
                <a:ext cx="576911" cy="365547"/>
              </a:xfrm>
              <a:custGeom>
                <a:avLst/>
                <a:gdLst>
                  <a:gd name="connsiteX0" fmla="*/ 0 w 576911"/>
                  <a:gd name="connsiteY0" fmla="*/ 361184 h 365547"/>
                  <a:gd name="connsiteX1" fmla="*/ 43805 w 576911"/>
                  <a:gd name="connsiteY1" fmla="*/ 244335 h 365547"/>
                  <a:gd name="connsiteX2" fmla="*/ 182557 w 576911"/>
                  <a:gd name="connsiteY2" fmla="*/ 69114 h 365547"/>
                  <a:gd name="connsiteX3" fmla="*/ 328646 w 576911"/>
                  <a:gd name="connsiteY3" fmla="*/ 10743 h 365547"/>
                  <a:gd name="connsiteX4" fmla="*/ 533106 w 576911"/>
                  <a:gd name="connsiteY4" fmla="*/ 69114 h 365547"/>
                  <a:gd name="connsiteX5" fmla="*/ 576911 w 576911"/>
                  <a:gd name="connsiteY5" fmla="*/ 120256 h 365547"/>
                  <a:gd name="connsiteX6" fmla="*/ 445496 w 576911"/>
                  <a:gd name="connsiteY6" fmla="*/ 156724 h 365547"/>
                  <a:gd name="connsiteX7" fmla="*/ 292178 w 576911"/>
                  <a:gd name="connsiteY7" fmla="*/ 251671 h 365547"/>
                  <a:gd name="connsiteX8" fmla="*/ 182665 w 576911"/>
                  <a:gd name="connsiteY8" fmla="*/ 295476 h 365547"/>
                  <a:gd name="connsiteX9" fmla="*/ 108 w 576911"/>
                  <a:gd name="connsiteY9" fmla="*/ 361184 h 365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6911" h="365547">
                    <a:moveTo>
                      <a:pt x="0" y="361184"/>
                    </a:moveTo>
                    <a:cubicBezTo>
                      <a:pt x="0" y="361184"/>
                      <a:pt x="0" y="324716"/>
                      <a:pt x="43805" y="244335"/>
                    </a:cubicBezTo>
                    <a:cubicBezTo>
                      <a:pt x="87610" y="163953"/>
                      <a:pt x="94947" y="83680"/>
                      <a:pt x="182557" y="69114"/>
                    </a:cubicBezTo>
                    <a:cubicBezTo>
                      <a:pt x="270168" y="54548"/>
                      <a:pt x="277504" y="47211"/>
                      <a:pt x="328646" y="10743"/>
                    </a:cubicBezTo>
                    <a:cubicBezTo>
                      <a:pt x="379788" y="-25725"/>
                      <a:pt x="503867" y="39983"/>
                      <a:pt x="533106" y="69114"/>
                    </a:cubicBezTo>
                    <a:cubicBezTo>
                      <a:pt x="562345" y="98353"/>
                      <a:pt x="576911" y="120256"/>
                      <a:pt x="576911" y="120256"/>
                    </a:cubicBezTo>
                    <a:cubicBezTo>
                      <a:pt x="576911" y="120256"/>
                      <a:pt x="481964" y="112919"/>
                      <a:pt x="445496" y="156724"/>
                    </a:cubicBezTo>
                    <a:cubicBezTo>
                      <a:pt x="409028" y="200529"/>
                      <a:pt x="328646" y="236998"/>
                      <a:pt x="292178" y="251671"/>
                    </a:cubicBezTo>
                    <a:cubicBezTo>
                      <a:pt x="255710" y="266237"/>
                      <a:pt x="219133" y="237106"/>
                      <a:pt x="182665" y="295476"/>
                    </a:cubicBezTo>
                    <a:cubicBezTo>
                      <a:pt x="146197" y="353847"/>
                      <a:pt x="116957" y="375750"/>
                      <a:pt x="108" y="361184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E0FFF86B-1EF5-41EC-8FA5-CC33BCBA0AEC}"/>
                  </a:ext>
                </a:extLst>
              </p:cNvPr>
              <p:cNvSpPr/>
              <p:nvPr/>
            </p:nvSpPr>
            <p:spPr>
              <a:xfrm>
                <a:off x="1113149" y="3035567"/>
                <a:ext cx="313270" cy="562237"/>
              </a:xfrm>
              <a:custGeom>
                <a:avLst/>
                <a:gdLst>
                  <a:gd name="connsiteX0" fmla="*/ 43966 w 313270"/>
                  <a:gd name="connsiteY0" fmla="*/ 562238 h 562237"/>
                  <a:gd name="connsiteX1" fmla="*/ 7498 w 313270"/>
                  <a:gd name="connsiteY1" fmla="*/ 394246 h 562237"/>
                  <a:gd name="connsiteX2" fmla="*/ 87772 w 313270"/>
                  <a:gd name="connsiteY2" fmla="*/ 277396 h 562237"/>
                  <a:gd name="connsiteX3" fmla="*/ 87772 w 313270"/>
                  <a:gd name="connsiteY3" fmla="*/ 145981 h 562237"/>
                  <a:gd name="connsiteX4" fmla="*/ 197284 w 313270"/>
                  <a:gd name="connsiteY4" fmla="*/ 87610 h 562237"/>
                  <a:gd name="connsiteX5" fmla="*/ 306797 w 313270"/>
                  <a:gd name="connsiteY5" fmla="*/ 0 h 562237"/>
                  <a:gd name="connsiteX6" fmla="*/ 306797 w 313270"/>
                  <a:gd name="connsiteY6" fmla="*/ 226362 h 562237"/>
                  <a:gd name="connsiteX7" fmla="*/ 248426 w 313270"/>
                  <a:gd name="connsiteY7" fmla="*/ 365115 h 562237"/>
                  <a:gd name="connsiteX8" fmla="*/ 182719 w 313270"/>
                  <a:gd name="connsiteY8" fmla="*/ 503867 h 562237"/>
                  <a:gd name="connsiteX9" fmla="*/ 43966 w 313270"/>
                  <a:gd name="connsiteY9" fmla="*/ 562238 h 562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3270" h="562237">
                    <a:moveTo>
                      <a:pt x="43966" y="562238"/>
                    </a:moveTo>
                    <a:cubicBezTo>
                      <a:pt x="43966" y="562238"/>
                      <a:pt x="-21741" y="452725"/>
                      <a:pt x="7498" y="394246"/>
                    </a:cubicBezTo>
                    <a:cubicBezTo>
                      <a:pt x="36738" y="335875"/>
                      <a:pt x="95108" y="313973"/>
                      <a:pt x="87772" y="277396"/>
                    </a:cubicBezTo>
                    <a:cubicBezTo>
                      <a:pt x="80435" y="240928"/>
                      <a:pt x="51303" y="197123"/>
                      <a:pt x="87772" y="145981"/>
                    </a:cubicBezTo>
                    <a:cubicBezTo>
                      <a:pt x="124240" y="94839"/>
                      <a:pt x="153479" y="116742"/>
                      <a:pt x="197284" y="87610"/>
                    </a:cubicBezTo>
                    <a:cubicBezTo>
                      <a:pt x="241089" y="58371"/>
                      <a:pt x="306797" y="0"/>
                      <a:pt x="306797" y="0"/>
                    </a:cubicBezTo>
                    <a:cubicBezTo>
                      <a:pt x="306797" y="0"/>
                      <a:pt x="321363" y="153318"/>
                      <a:pt x="306797" y="226362"/>
                    </a:cubicBezTo>
                    <a:cubicBezTo>
                      <a:pt x="292231" y="299407"/>
                      <a:pt x="248426" y="306636"/>
                      <a:pt x="248426" y="365115"/>
                    </a:cubicBezTo>
                    <a:cubicBezTo>
                      <a:pt x="248426" y="423593"/>
                      <a:pt x="219187" y="460062"/>
                      <a:pt x="182719" y="503867"/>
                    </a:cubicBezTo>
                    <a:cubicBezTo>
                      <a:pt x="146250" y="547672"/>
                      <a:pt x="43966" y="562238"/>
                      <a:pt x="43966" y="562238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28" name="Рисунок 2">
                <a:extLst>
                  <a:ext uri="{FF2B5EF4-FFF2-40B4-BE49-F238E27FC236}">
                    <a16:creationId xmlns:a16="http://schemas.microsoft.com/office/drawing/2014/main" id="{6A5E939F-2E60-48FC-B2E3-2F9F53B5A2F9}"/>
                  </a:ext>
                </a:extLst>
              </p:cNvPr>
              <p:cNvGrpSpPr/>
              <p:nvPr/>
            </p:nvGrpSpPr>
            <p:grpSpPr>
              <a:xfrm>
                <a:off x="468533" y="2798200"/>
                <a:ext cx="1222982" cy="1215861"/>
                <a:chOff x="468533" y="2798200"/>
                <a:chExt cx="1222982" cy="1215861"/>
              </a:xfrm>
              <a:noFill/>
            </p:grpSpPr>
            <p:sp>
              <p:nvSpPr>
                <p:cNvPr id="29" name="Полилиния: фигура 28">
                  <a:extLst>
                    <a:ext uri="{FF2B5EF4-FFF2-40B4-BE49-F238E27FC236}">
                      <a16:creationId xmlns:a16="http://schemas.microsoft.com/office/drawing/2014/main" id="{5FDB87E6-CCBA-4DC9-B0CD-DCCCEBBDD334}"/>
                    </a:ext>
                  </a:extLst>
                </p:cNvPr>
                <p:cNvSpPr/>
                <p:nvPr/>
              </p:nvSpPr>
              <p:spPr>
                <a:xfrm>
                  <a:off x="591964" y="3248227"/>
                  <a:ext cx="34849" cy="38194"/>
                </a:xfrm>
                <a:custGeom>
                  <a:avLst/>
                  <a:gdLst>
                    <a:gd name="connsiteX0" fmla="*/ 34850 w 34849"/>
                    <a:gd name="connsiteY0" fmla="*/ 38195 h 38194"/>
                    <a:gd name="connsiteX1" fmla="*/ 0 w 34849"/>
                    <a:gd name="connsiteY1" fmla="*/ 0 h 38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849" h="38194">
                      <a:moveTo>
                        <a:pt x="34850" y="38195"/>
                      </a:moveTo>
                      <a:lnTo>
                        <a:pt x="0" y="0"/>
                      </a:lnTo>
                    </a:path>
                  </a:pathLst>
                </a:custGeom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0" name="Полилиния: фигура 29">
                  <a:extLst>
                    <a:ext uri="{FF2B5EF4-FFF2-40B4-BE49-F238E27FC236}">
                      <a16:creationId xmlns:a16="http://schemas.microsoft.com/office/drawing/2014/main" id="{AD751C47-1F9E-49B1-B7FC-C9F99F758BF4}"/>
                    </a:ext>
                  </a:extLst>
                </p:cNvPr>
                <p:cNvSpPr/>
                <p:nvPr/>
              </p:nvSpPr>
              <p:spPr>
                <a:xfrm>
                  <a:off x="676877" y="3341232"/>
                  <a:ext cx="261212" cy="285812"/>
                </a:xfrm>
                <a:custGeom>
                  <a:avLst/>
                  <a:gdLst>
                    <a:gd name="connsiteX0" fmla="*/ 261212 w 261212"/>
                    <a:gd name="connsiteY0" fmla="*/ 285812 h 285812"/>
                    <a:gd name="connsiteX1" fmla="*/ 0 w 261212"/>
                    <a:gd name="connsiteY1" fmla="*/ 0 h 285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1212" h="285812">
                      <a:moveTo>
                        <a:pt x="261212" y="285812"/>
                      </a:moveTo>
                      <a:lnTo>
                        <a:pt x="0" y="0"/>
                      </a:lnTo>
                    </a:path>
                  </a:pathLst>
                </a:custGeom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1" name="Полилиния: фигура 30">
                  <a:extLst>
                    <a:ext uri="{FF2B5EF4-FFF2-40B4-BE49-F238E27FC236}">
                      <a16:creationId xmlns:a16="http://schemas.microsoft.com/office/drawing/2014/main" id="{F0386A6F-0054-4047-B9FF-73BAD8C9EFB7}"/>
                    </a:ext>
                  </a:extLst>
                </p:cNvPr>
                <p:cNvSpPr/>
                <p:nvPr/>
              </p:nvSpPr>
              <p:spPr>
                <a:xfrm>
                  <a:off x="1012860" y="2798200"/>
                  <a:ext cx="12192" cy="43265"/>
                </a:xfrm>
                <a:custGeom>
                  <a:avLst/>
                  <a:gdLst>
                    <a:gd name="connsiteX0" fmla="*/ 12192 w 12192"/>
                    <a:gd name="connsiteY0" fmla="*/ 43266 h 43265"/>
                    <a:gd name="connsiteX1" fmla="*/ 0 w 12192"/>
                    <a:gd name="connsiteY1" fmla="*/ 0 h 43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192" h="43265">
                      <a:moveTo>
                        <a:pt x="12192" y="43266"/>
                      </a:moveTo>
                      <a:cubicBezTo>
                        <a:pt x="8524" y="27081"/>
                        <a:pt x="4424" y="12516"/>
                        <a:pt x="0" y="0"/>
                      </a:cubicBezTo>
                    </a:path>
                  </a:pathLst>
                </a:custGeom>
                <a:noFill/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2" name="Полилиния: фигура 31">
                  <a:extLst>
                    <a:ext uri="{FF2B5EF4-FFF2-40B4-BE49-F238E27FC236}">
                      <a16:creationId xmlns:a16="http://schemas.microsoft.com/office/drawing/2014/main" id="{F79142AA-82C4-4330-A3D6-C917E08EBA0C}"/>
                    </a:ext>
                  </a:extLst>
                </p:cNvPr>
                <p:cNvSpPr/>
                <p:nvPr/>
              </p:nvSpPr>
              <p:spPr>
                <a:xfrm>
                  <a:off x="1038216" y="2915481"/>
                  <a:ext cx="24431" cy="558245"/>
                </a:xfrm>
                <a:custGeom>
                  <a:avLst/>
                  <a:gdLst>
                    <a:gd name="connsiteX0" fmla="*/ 23953 w 24431"/>
                    <a:gd name="connsiteY0" fmla="*/ 558246 h 558245"/>
                    <a:gd name="connsiteX1" fmla="*/ 0 w 24431"/>
                    <a:gd name="connsiteY1" fmla="*/ 0 h 558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431" h="558245">
                      <a:moveTo>
                        <a:pt x="23953" y="558246"/>
                      </a:moveTo>
                      <a:cubicBezTo>
                        <a:pt x="23953" y="558246"/>
                        <a:pt x="29887" y="213955"/>
                        <a:pt x="0" y="0"/>
                      </a:cubicBezTo>
                    </a:path>
                  </a:pathLst>
                </a:custGeom>
                <a:noFill/>
                <a:ln w="10454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3" name="Полилиния: фигура 32">
                  <a:extLst>
                    <a:ext uri="{FF2B5EF4-FFF2-40B4-BE49-F238E27FC236}">
                      <a16:creationId xmlns:a16="http://schemas.microsoft.com/office/drawing/2014/main" id="{7B1917BF-36C6-449C-9815-2393CD13AE47}"/>
                    </a:ext>
                  </a:extLst>
                </p:cNvPr>
                <p:cNvSpPr/>
                <p:nvPr/>
              </p:nvSpPr>
              <p:spPr>
                <a:xfrm>
                  <a:off x="1363841" y="3128464"/>
                  <a:ext cx="22765" cy="46718"/>
                </a:xfrm>
                <a:custGeom>
                  <a:avLst/>
                  <a:gdLst>
                    <a:gd name="connsiteX0" fmla="*/ 0 w 22765"/>
                    <a:gd name="connsiteY0" fmla="*/ 46718 h 46718"/>
                    <a:gd name="connsiteX1" fmla="*/ 22766 w 22765"/>
                    <a:gd name="connsiteY1" fmla="*/ 0 h 46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2765" h="46718">
                      <a:moveTo>
                        <a:pt x="0" y="46718"/>
                      </a:moveTo>
                      <a:lnTo>
                        <a:pt x="22766" y="0"/>
                      </a:lnTo>
                    </a:path>
                  </a:pathLst>
                </a:custGeom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4" name="Полилиния: фигура 33">
                  <a:extLst>
                    <a:ext uri="{FF2B5EF4-FFF2-40B4-BE49-F238E27FC236}">
                      <a16:creationId xmlns:a16="http://schemas.microsoft.com/office/drawing/2014/main" id="{7EA87674-811D-43B3-8CAB-B72F5A8075BE}"/>
                    </a:ext>
                  </a:extLst>
                </p:cNvPr>
                <p:cNvSpPr/>
                <p:nvPr/>
              </p:nvSpPr>
              <p:spPr>
                <a:xfrm>
                  <a:off x="1157115" y="3242185"/>
                  <a:ext cx="173925" cy="355619"/>
                </a:xfrm>
                <a:custGeom>
                  <a:avLst/>
                  <a:gdLst>
                    <a:gd name="connsiteX0" fmla="*/ 0 w 173925"/>
                    <a:gd name="connsiteY0" fmla="*/ 355620 h 355619"/>
                    <a:gd name="connsiteX1" fmla="*/ 173926 w 173925"/>
                    <a:gd name="connsiteY1" fmla="*/ 0 h 3556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3925" h="355619">
                      <a:moveTo>
                        <a:pt x="0" y="355620"/>
                      </a:moveTo>
                      <a:lnTo>
                        <a:pt x="173926" y="0"/>
                      </a:lnTo>
                    </a:path>
                  </a:pathLst>
                </a:custGeom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6" name="Полилиния: фигура 35">
                  <a:extLst>
                    <a:ext uri="{FF2B5EF4-FFF2-40B4-BE49-F238E27FC236}">
                      <a16:creationId xmlns:a16="http://schemas.microsoft.com/office/drawing/2014/main" id="{547738A9-778B-4EB5-8620-E84B467BE734}"/>
                    </a:ext>
                  </a:extLst>
                </p:cNvPr>
                <p:cNvSpPr/>
                <p:nvPr/>
              </p:nvSpPr>
              <p:spPr>
                <a:xfrm>
                  <a:off x="1615019" y="3418700"/>
                  <a:ext cx="76497" cy="1834"/>
                </a:xfrm>
                <a:custGeom>
                  <a:avLst/>
                  <a:gdLst>
                    <a:gd name="connsiteX0" fmla="*/ 0 w 76497"/>
                    <a:gd name="connsiteY0" fmla="*/ 1834 h 1834"/>
                    <a:gd name="connsiteX1" fmla="*/ 25679 w 76497"/>
                    <a:gd name="connsiteY1" fmla="*/ 0 h 1834"/>
                    <a:gd name="connsiteX2" fmla="*/ 76497 w 76497"/>
                    <a:gd name="connsiteY2" fmla="*/ 0 h 1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6497" h="1834">
                      <a:moveTo>
                        <a:pt x="0" y="1834"/>
                      </a:moveTo>
                      <a:cubicBezTo>
                        <a:pt x="9171" y="540"/>
                        <a:pt x="17695" y="0"/>
                        <a:pt x="25679" y="0"/>
                      </a:cubicBezTo>
                      <a:lnTo>
                        <a:pt x="76497" y="0"/>
                      </a:ln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7" name="Полилиния: фигура 36">
                  <a:extLst>
                    <a:ext uri="{FF2B5EF4-FFF2-40B4-BE49-F238E27FC236}">
                      <a16:creationId xmlns:a16="http://schemas.microsoft.com/office/drawing/2014/main" id="{B766EE57-F6C7-44F6-88E5-C182D42E479B}"/>
                    </a:ext>
                  </a:extLst>
                </p:cNvPr>
                <p:cNvSpPr/>
                <p:nvPr/>
              </p:nvSpPr>
              <p:spPr>
                <a:xfrm>
                  <a:off x="1215486" y="3442869"/>
                  <a:ext cx="324977" cy="257245"/>
                </a:xfrm>
                <a:custGeom>
                  <a:avLst/>
                  <a:gdLst>
                    <a:gd name="connsiteX0" fmla="*/ 0 w 324977"/>
                    <a:gd name="connsiteY0" fmla="*/ 257220 h 257245"/>
                    <a:gd name="connsiteX1" fmla="*/ 189247 w 324977"/>
                    <a:gd name="connsiteY1" fmla="*/ 84805 h 257245"/>
                    <a:gd name="connsiteX2" fmla="*/ 324978 w 324977"/>
                    <a:gd name="connsiteY2" fmla="*/ 0 h 257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24977" h="257245">
                      <a:moveTo>
                        <a:pt x="0" y="257220"/>
                      </a:moveTo>
                      <a:cubicBezTo>
                        <a:pt x="11437" y="258946"/>
                        <a:pt x="76713" y="171876"/>
                        <a:pt x="189247" y="84805"/>
                      </a:cubicBezTo>
                      <a:cubicBezTo>
                        <a:pt x="242870" y="43266"/>
                        <a:pt x="287538" y="16616"/>
                        <a:pt x="324978" y="0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8" name="Полилиния: фигура 37">
                  <a:extLst>
                    <a:ext uri="{FF2B5EF4-FFF2-40B4-BE49-F238E27FC236}">
                      <a16:creationId xmlns:a16="http://schemas.microsoft.com/office/drawing/2014/main" id="{FE8C2201-28F4-4E31-8F8B-700541E501D2}"/>
                    </a:ext>
                  </a:extLst>
                </p:cNvPr>
                <p:cNvSpPr/>
                <p:nvPr/>
              </p:nvSpPr>
              <p:spPr>
                <a:xfrm>
                  <a:off x="501225" y="3661031"/>
                  <a:ext cx="15321" cy="44344"/>
                </a:xfrm>
                <a:custGeom>
                  <a:avLst/>
                  <a:gdLst>
                    <a:gd name="connsiteX0" fmla="*/ 15321 w 15321"/>
                    <a:gd name="connsiteY0" fmla="*/ 0 h 44344"/>
                    <a:gd name="connsiteX1" fmla="*/ 0 w 15321"/>
                    <a:gd name="connsiteY1" fmla="*/ 44345 h 44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321" h="44344">
                      <a:moveTo>
                        <a:pt x="15321" y="0"/>
                      </a:moveTo>
                      <a:cubicBezTo>
                        <a:pt x="0" y="23953"/>
                        <a:pt x="0" y="44345"/>
                        <a:pt x="0" y="44345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" name="Полилиния: фигура 38">
                  <a:extLst>
                    <a:ext uri="{FF2B5EF4-FFF2-40B4-BE49-F238E27FC236}">
                      <a16:creationId xmlns:a16="http://schemas.microsoft.com/office/drawing/2014/main" id="{B32C1C9A-EC9A-4440-84E7-73979C675FBC}"/>
                    </a:ext>
                  </a:extLst>
                </p:cNvPr>
                <p:cNvSpPr/>
                <p:nvPr/>
              </p:nvSpPr>
              <p:spPr>
                <a:xfrm>
                  <a:off x="546001" y="3619738"/>
                  <a:ext cx="406653" cy="233668"/>
                </a:xfrm>
                <a:custGeom>
                  <a:avLst/>
                  <a:gdLst>
                    <a:gd name="connsiteX0" fmla="*/ 406654 w 406653"/>
                    <a:gd name="connsiteY0" fmla="*/ 233668 h 233668"/>
                    <a:gd name="connsiteX1" fmla="*/ 231002 w 406653"/>
                    <a:gd name="connsiteY1" fmla="*/ 107540 h 233668"/>
                    <a:gd name="connsiteX2" fmla="*/ 0 w 406653"/>
                    <a:gd name="connsiteY2" fmla="*/ 10542 h 233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06653" h="233668">
                      <a:moveTo>
                        <a:pt x="406654" y="233668"/>
                      </a:moveTo>
                      <a:cubicBezTo>
                        <a:pt x="406654" y="233668"/>
                        <a:pt x="343536" y="223634"/>
                        <a:pt x="231002" y="107540"/>
                      </a:cubicBezTo>
                      <a:cubicBezTo>
                        <a:pt x="126452" y="-355"/>
                        <a:pt x="40676" y="-14273"/>
                        <a:pt x="0" y="10542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" name="Полилиния: фигура 39">
                  <a:extLst>
                    <a:ext uri="{FF2B5EF4-FFF2-40B4-BE49-F238E27FC236}">
                      <a16:creationId xmlns:a16="http://schemas.microsoft.com/office/drawing/2014/main" id="{09FA0FE6-C693-4EC2-BF90-FA0C26E351C7}"/>
                    </a:ext>
                  </a:extLst>
                </p:cNvPr>
                <p:cNvSpPr/>
                <p:nvPr/>
              </p:nvSpPr>
              <p:spPr>
                <a:xfrm>
                  <a:off x="1354454" y="3905519"/>
                  <a:ext cx="46610" cy="10357"/>
                </a:xfrm>
                <a:custGeom>
                  <a:avLst/>
                  <a:gdLst>
                    <a:gd name="connsiteX0" fmla="*/ 0 w 46610"/>
                    <a:gd name="connsiteY0" fmla="*/ 0 h 10357"/>
                    <a:gd name="connsiteX1" fmla="*/ 46610 w 46610"/>
                    <a:gd name="connsiteY1" fmla="*/ 10358 h 10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610" h="10357">
                      <a:moveTo>
                        <a:pt x="0" y="0"/>
                      </a:moveTo>
                      <a:cubicBezTo>
                        <a:pt x="17479" y="2913"/>
                        <a:pt x="33124" y="7229"/>
                        <a:pt x="46610" y="10358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3" name="Полилиния: фигура 42">
                  <a:extLst>
                    <a:ext uri="{FF2B5EF4-FFF2-40B4-BE49-F238E27FC236}">
                      <a16:creationId xmlns:a16="http://schemas.microsoft.com/office/drawing/2014/main" id="{C2CFB5B8-DBC2-441E-A189-E0D549C94A57}"/>
                    </a:ext>
                  </a:extLst>
                </p:cNvPr>
                <p:cNvSpPr/>
                <p:nvPr/>
              </p:nvSpPr>
              <p:spPr>
                <a:xfrm>
                  <a:off x="1076734" y="3903469"/>
                  <a:ext cx="218593" cy="103868"/>
                </a:xfrm>
                <a:custGeom>
                  <a:avLst/>
                  <a:gdLst>
                    <a:gd name="connsiteX0" fmla="*/ 0 w 218593"/>
                    <a:gd name="connsiteY0" fmla="*/ 103255 h 103868"/>
                    <a:gd name="connsiteX1" fmla="*/ 113936 w 218593"/>
                    <a:gd name="connsiteY1" fmla="*/ 45100 h 103868"/>
                    <a:gd name="connsiteX2" fmla="*/ 218594 w 218593"/>
                    <a:gd name="connsiteY2" fmla="*/ 0 h 103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8593" h="103868">
                      <a:moveTo>
                        <a:pt x="0" y="103255"/>
                      </a:moveTo>
                      <a:cubicBezTo>
                        <a:pt x="0" y="103255"/>
                        <a:pt x="23197" y="114044"/>
                        <a:pt x="113936" y="45100"/>
                      </a:cubicBezTo>
                      <a:cubicBezTo>
                        <a:pt x="152239" y="15968"/>
                        <a:pt x="187305" y="3668"/>
                        <a:pt x="218594" y="0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4" name="Полилиния: фигура 43">
                  <a:extLst>
                    <a:ext uri="{FF2B5EF4-FFF2-40B4-BE49-F238E27FC236}">
                      <a16:creationId xmlns:a16="http://schemas.microsoft.com/office/drawing/2014/main" id="{C31E45E3-94DF-42CE-AB2F-607FC5C64B8F}"/>
                    </a:ext>
                  </a:extLst>
                </p:cNvPr>
                <p:cNvSpPr/>
                <p:nvPr/>
              </p:nvSpPr>
              <p:spPr>
                <a:xfrm>
                  <a:off x="468533" y="3903254"/>
                  <a:ext cx="50818" cy="1726"/>
                </a:xfrm>
                <a:custGeom>
                  <a:avLst/>
                  <a:gdLst>
                    <a:gd name="connsiteX0" fmla="*/ 50818 w 50818"/>
                    <a:gd name="connsiteY0" fmla="*/ 0 h 1726"/>
                    <a:gd name="connsiteX1" fmla="*/ 0 w 50818"/>
                    <a:gd name="connsiteY1" fmla="*/ 1726 h 1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818" h="1726">
                      <a:moveTo>
                        <a:pt x="50818" y="0"/>
                      </a:moveTo>
                      <a:cubicBezTo>
                        <a:pt x="19421" y="0"/>
                        <a:pt x="0" y="1726"/>
                        <a:pt x="0" y="1726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9" name="Полилиния: фигура 48">
                  <a:extLst>
                    <a:ext uri="{FF2B5EF4-FFF2-40B4-BE49-F238E27FC236}">
                      <a16:creationId xmlns:a16="http://schemas.microsoft.com/office/drawing/2014/main" id="{6069D0BF-04BA-45EB-A19C-C9D19DEC210B}"/>
                    </a:ext>
                  </a:extLst>
                </p:cNvPr>
                <p:cNvSpPr/>
                <p:nvPr/>
              </p:nvSpPr>
              <p:spPr>
                <a:xfrm>
                  <a:off x="570386" y="3905088"/>
                  <a:ext cx="345693" cy="108973"/>
                </a:xfrm>
                <a:custGeom>
                  <a:avLst/>
                  <a:gdLst>
                    <a:gd name="connsiteX0" fmla="*/ 345694 w 345693"/>
                    <a:gd name="connsiteY0" fmla="*/ 108973 h 108973"/>
                    <a:gd name="connsiteX1" fmla="*/ 192052 w 345693"/>
                    <a:gd name="connsiteY1" fmla="*/ 39921 h 108973"/>
                    <a:gd name="connsiteX2" fmla="*/ 0 w 345693"/>
                    <a:gd name="connsiteY2" fmla="*/ 0 h 108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45693" h="108973">
                      <a:moveTo>
                        <a:pt x="345694" y="108973"/>
                      </a:moveTo>
                      <a:cubicBezTo>
                        <a:pt x="345694" y="108973"/>
                        <a:pt x="333609" y="94300"/>
                        <a:pt x="192052" y="39921"/>
                      </a:cubicBezTo>
                      <a:cubicBezTo>
                        <a:pt x="124618" y="14026"/>
                        <a:pt x="54702" y="3669"/>
                        <a:pt x="0" y="0"/>
                      </a:cubicBezTo>
                    </a:path>
                  </a:pathLst>
                </a:custGeom>
                <a:noFill/>
                <a:ln w="10454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51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5068934" y="3835496"/>
            <a:ext cx="325841" cy="834563"/>
            <a:chOff x="5068934" y="3835496"/>
            <a:chExt cx="325841" cy="834563"/>
          </a:xfrm>
          <a:noFill/>
        </p:grpSpPr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A4AE7E37-E77E-470B-93E0-5F06BA8A1BB5}"/>
                </a:ext>
              </a:extLst>
            </p:cNvPr>
            <p:cNvSpPr/>
            <p:nvPr/>
          </p:nvSpPr>
          <p:spPr>
            <a:xfrm>
              <a:off x="5068934" y="3835496"/>
              <a:ext cx="325841" cy="239093"/>
            </a:xfrm>
            <a:custGeom>
              <a:avLst/>
              <a:gdLst>
                <a:gd name="connsiteX0" fmla="*/ 317965 w 325841"/>
                <a:gd name="connsiteY0" fmla="*/ 38087 h 239093"/>
                <a:gd name="connsiteX1" fmla="*/ 192160 w 325841"/>
                <a:gd name="connsiteY1" fmla="*/ 38087 h 239093"/>
                <a:gd name="connsiteX2" fmla="*/ 192160 w 325841"/>
                <a:gd name="connsiteY2" fmla="*/ 3776 h 239093"/>
                <a:gd name="connsiteX3" fmla="*/ 188383 w 325841"/>
                <a:gd name="connsiteY3" fmla="*/ 0 h 239093"/>
                <a:gd name="connsiteX4" fmla="*/ 51034 w 325841"/>
                <a:gd name="connsiteY4" fmla="*/ 0 h 239093"/>
                <a:gd name="connsiteX5" fmla="*/ 47258 w 325841"/>
                <a:gd name="connsiteY5" fmla="*/ 3776 h 239093"/>
                <a:gd name="connsiteX6" fmla="*/ 47258 w 325841"/>
                <a:gd name="connsiteY6" fmla="*/ 38087 h 239093"/>
                <a:gd name="connsiteX7" fmla="*/ 7768 w 325841"/>
                <a:gd name="connsiteY7" fmla="*/ 38087 h 239093"/>
                <a:gd name="connsiteX8" fmla="*/ 0 w 325841"/>
                <a:gd name="connsiteY8" fmla="*/ 45855 h 239093"/>
                <a:gd name="connsiteX9" fmla="*/ 0 w 325841"/>
                <a:gd name="connsiteY9" fmla="*/ 239094 h 239093"/>
                <a:gd name="connsiteX10" fmla="*/ 325841 w 325841"/>
                <a:gd name="connsiteY10" fmla="*/ 239094 h 239093"/>
                <a:gd name="connsiteX11" fmla="*/ 325841 w 325841"/>
                <a:gd name="connsiteY11" fmla="*/ 45855 h 239093"/>
                <a:gd name="connsiteX12" fmla="*/ 318073 w 325841"/>
                <a:gd name="connsiteY12" fmla="*/ 38087 h 23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841" h="239093">
                  <a:moveTo>
                    <a:pt x="317965" y="38087"/>
                  </a:moveTo>
                  <a:lnTo>
                    <a:pt x="192160" y="38087"/>
                  </a:lnTo>
                  <a:lnTo>
                    <a:pt x="192160" y="3776"/>
                  </a:lnTo>
                  <a:cubicBezTo>
                    <a:pt x="192160" y="1726"/>
                    <a:pt x="190434" y="0"/>
                    <a:pt x="188383" y="0"/>
                  </a:cubicBezTo>
                  <a:lnTo>
                    <a:pt x="51034" y="0"/>
                  </a:lnTo>
                  <a:cubicBezTo>
                    <a:pt x="48984" y="0"/>
                    <a:pt x="47258" y="1726"/>
                    <a:pt x="47258" y="3776"/>
                  </a:cubicBezTo>
                  <a:lnTo>
                    <a:pt x="47258" y="38087"/>
                  </a:lnTo>
                  <a:lnTo>
                    <a:pt x="7768" y="38087"/>
                  </a:lnTo>
                  <a:cubicBezTo>
                    <a:pt x="3453" y="38087"/>
                    <a:pt x="0" y="41539"/>
                    <a:pt x="0" y="45855"/>
                  </a:cubicBezTo>
                  <a:lnTo>
                    <a:pt x="0" y="239094"/>
                  </a:lnTo>
                  <a:lnTo>
                    <a:pt x="325841" y="239094"/>
                  </a:lnTo>
                  <a:lnTo>
                    <a:pt x="325841" y="45855"/>
                  </a:lnTo>
                  <a:cubicBezTo>
                    <a:pt x="325841" y="41539"/>
                    <a:pt x="322388" y="38087"/>
                    <a:pt x="318073" y="38087"/>
                  </a:cubicBezTo>
                  <a:close/>
                </a:path>
              </a:pathLst>
            </a:custGeom>
            <a:noFill/>
            <a:ln w="10454" cap="flat">
              <a:solidFill>
                <a:srgbClr val="B2B2B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55AE60BB-B614-401E-A482-6641A0967D8A}"/>
                </a:ext>
              </a:extLst>
            </p:cNvPr>
            <p:cNvSpPr/>
            <p:nvPr/>
          </p:nvSpPr>
          <p:spPr>
            <a:xfrm>
              <a:off x="5068934" y="4133285"/>
              <a:ext cx="325841" cy="239093"/>
            </a:xfrm>
            <a:custGeom>
              <a:avLst/>
              <a:gdLst>
                <a:gd name="connsiteX0" fmla="*/ 317965 w 325841"/>
                <a:gd name="connsiteY0" fmla="*/ 38087 h 239093"/>
                <a:gd name="connsiteX1" fmla="*/ 192160 w 325841"/>
                <a:gd name="connsiteY1" fmla="*/ 38087 h 239093"/>
                <a:gd name="connsiteX2" fmla="*/ 192160 w 325841"/>
                <a:gd name="connsiteY2" fmla="*/ 3776 h 239093"/>
                <a:gd name="connsiteX3" fmla="*/ 188383 w 325841"/>
                <a:gd name="connsiteY3" fmla="*/ 0 h 239093"/>
                <a:gd name="connsiteX4" fmla="*/ 51034 w 325841"/>
                <a:gd name="connsiteY4" fmla="*/ 0 h 239093"/>
                <a:gd name="connsiteX5" fmla="*/ 47258 w 325841"/>
                <a:gd name="connsiteY5" fmla="*/ 3776 h 239093"/>
                <a:gd name="connsiteX6" fmla="*/ 47258 w 325841"/>
                <a:gd name="connsiteY6" fmla="*/ 38087 h 239093"/>
                <a:gd name="connsiteX7" fmla="*/ 7768 w 325841"/>
                <a:gd name="connsiteY7" fmla="*/ 38087 h 239093"/>
                <a:gd name="connsiteX8" fmla="*/ 0 w 325841"/>
                <a:gd name="connsiteY8" fmla="*/ 45855 h 239093"/>
                <a:gd name="connsiteX9" fmla="*/ 0 w 325841"/>
                <a:gd name="connsiteY9" fmla="*/ 239094 h 239093"/>
                <a:gd name="connsiteX10" fmla="*/ 325841 w 325841"/>
                <a:gd name="connsiteY10" fmla="*/ 239094 h 239093"/>
                <a:gd name="connsiteX11" fmla="*/ 325841 w 325841"/>
                <a:gd name="connsiteY11" fmla="*/ 45855 h 239093"/>
                <a:gd name="connsiteX12" fmla="*/ 318073 w 325841"/>
                <a:gd name="connsiteY12" fmla="*/ 38087 h 23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841" h="239093">
                  <a:moveTo>
                    <a:pt x="317965" y="38087"/>
                  </a:moveTo>
                  <a:lnTo>
                    <a:pt x="192160" y="38087"/>
                  </a:lnTo>
                  <a:lnTo>
                    <a:pt x="192160" y="3776"/>
                  </a:lnTo>
                  <a:cubicBezTo>
                    <a:pt x="192160" y="1726"/>
                    <a:pt x="190434" y="0"/>
                    <a:pt x="188383" y="0"/>
                  </a:cubicBezTo>
                  <a:lnTo>
                    <a:pt x="51034" y="0"/>
                  </a:lnTo>
                  <a:cubicBezTo>
                    <a:pt x="48984" y="0"/>
                    <a:pt x="47258" y="1726"/>
                    <a:pt x="47258" y="3776"/>
                  </a:cubicBezTo>
                  <a:lnTo>
                    <a:pt x="47258" y="38087"/>
                  </a:lnTo>
                  <a:lnTo>
                    <a:pt x="7768" y="38087"/>
                  </a:lnTo>
                  <a:cubicBezTo>
                    <a:pt x="3453" y="38087"/>
                    <a:pt x="0" y="41539"/>
                    <a:pt x="0" y="45855"/>
                  </a:cubicBezTo>
                  <a:lnTo>
                    <a:pt x="0" y="239094"/>
                  </a:lnTo>
                  <a:lnTo>
                    <a:pt x="325841" y="239094"/>
                  </a:lnTo>
                  <a:lnTo>
                    <a:pt x="325841" y="45855"/>
                  </a:lnTo>
                  <a:cubicBezTo>
                    <a:pt x="325841" y="41539"/>
                    <a:pt x="322388" y="38087"/>
                    <a:pt x="318073" y="38087"/>
                  </a:cubicBezTo>
                  <a:close/>
                </a:path>
              </a:pathLst>
            </a:custGeom>
            <a:noFill/>
            <a:ln w="10454" cap="flat">
              <a:solidFill>
                <a:srgbClr val="B2B2B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28573A3E-3FF1-4A62-8BFB-54BDDB59663F}"/>
                </a:ext>
              </a:extLst>
            </p:cNvPr>
            <p:cNvSpPr/>
            <p:nvPr/>
          </p:nvSpPr>
          <p:spPr>
            <a:xfrm>
              <a:off x="5068934" y="4430965"/>
              <a:ext cx="325841" cy="239093"/>
            </a:xfrm>
            <a:custGeom>
              <a:avLst/>
              <a:gdLst>
                <a:gd name="connsiteX0" fmla="*/ 317965 w 325841"/>
                <a:gd name="connsiteY0" fmla="*/ 38087 h 239093"/>
                <a:gd name="connsiteX1" fmla="*/ 192160 w 325841"/>
                <a:gd name="connsiteY1" fmla="*/ 38087 h 239093"/>
                <a:gd name="connsiteX2" fmla="*/ 192160 w 325841"/>
                <a:gd name="connsiteY2" fmla="*/ 3776 h 239093"/>
                <a:gd name="connsiteX3" fmla="*/ 188383 w 325841"/>
                <a:gd name="connsiteY3" fmla="*/ 0 h 239093"/>
                <a:gd name="connsiteX4" fmla="*/ 51034 w 325841"/>
                <a:gd name="connsiteY4" fmla="*/ 0 h 239093"/>
                <a:gd name="connsiteX5" fmla="*/ 47258 w 325841"/>
                <a:gd name="connsiteY5" fmla="*/ 3776 h 239093"/>
                <a:gd name="connsiteX6" fmla="*/ 47258 w 325841"/>
                <a:gd name="connsiteY6" fmla="*/ 38087 h 239093"/>
                <a:gd name="connsiteX7" fmla="*/ 7768 w 325841"/>
                <a:gd name="connsiteY7" fmla="*/ 38087 h 239093"/>
                <a:gd name="connsiteX8" fmla="*/ 0 w 325841"/>
                <a:gd name="connsiteY8" fmla="*/ 45855 h 239093"/>
                <a:gd name="connsiteX9" fmla="*/ 0 w 325841"/>
                <a:gd name="connsiteY9" fmla="*/ 239094 h 239093"/>
                <a:gd name="connsiteX10" fmla="*/ 325841 w 325841"/>
                <a:gd name="connsiteY10" fmla="*/ 239094 h 239093"/>
                <a:gd name="connsiteX11" fmla="*/ 325841 w 325841"/>
                <a:gd name="connsiteY11" fmla="*/ 45855 h 239093"/>
                <a:gd name="connsiteX12" fmla="*/ 318073 w 325841"/>
                <a:gd name="connsiteY12" fmla="*/ 38087 h 23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5841" h="239093">
                  <a:moveTo>
                    <a:pt x="317965" y="38087"/>
                  </a:moveTo>
                  <a:lnTo>
                    <a:pt x="192160" y="38087"/>
                  </a:lnTo>
                  <a:lnTo>
                    <a:pt x="192160" y="3776"/>
                  </a:lnTo>
                  <a:cubicBezTo>
                    <a:pt x="192160" y="1726"/>
                    <a:pt x="190434" y="0"/>
                    <a:pt x="188383" y="0"/>
                  </a:cubicBezTo>
                  <a:lnTo>
                    <a:pt x="51034" y="0"/>
                  </a:lnTo>
                  <a:cubicBezTo>
                    <a:pt x="48984" y="0"/>
                    <a:pt x="47258" y="1726"/>
                    <a:pt x="47258" y="3776"/>
                  </a:cubicBezTo>
                  <a:lnTo>
                    <a:pt x="47258" y="38087"/>
                  </a:lnTo>
                  <a:lnTo>
                    <a:pt x="7768" y="38087"/>
                  </a:lnTo>
                  <a:cubicBezTo>
                    <a:pt x="3453" y="38087"/>
                    <a:pt x="0" y="41539"/>
                    <a:pt x="0" y="45855"/>
                  </a:cubicBezTo>
                  <a:lnTo>
                    <a:pt x="0" y="239094"/>
                  </a:lnTo>
                  <a:lnTo>
                    <a:pt x="325841" y="239094"/>
                  </a:lnTo>
                  <a:lnTo>
                    <a:pt x="325841" y="45855"/>
                  </a:lnTo>
                  <a:cubicBezTo>
                    <a:pt x="325841" y="41539"/>
                    <a:pt x="322388" y="38087"/>
                    <a:pt x="318073" y="38087"/>
                  </a:cubicBezTo>
                  <a:close/>
                </a:path>
              </a:pathLst>
            </a:custGeom>
            <a:noFill/>
            <a:ln w="10454" cap="flat">
              <a:solidFill>
                <a:srgbClr val="B2B2B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6" name="Полилиния: фигура 55">
            <a:extLst>
              <a:ext uri="{FF2B5EF4-FFF2-40B4-BE49-F238E27FC236}">
                <a16:creationId xmlns:a16="http://schemas.microsoft.com/office/drawing/2014/main" id="{B6D8EF7C-0926-4B1A-A86A-B963D4C4363E}"/>
              </a:ext>
            </a:extLst>
          </p:cNvPr>
          <p:cNvSpPr/>
          <p:nvPr/>
        </p:nvSpPr>
        <p:spPr>
          <a:xfrm>
            <a:off x="4126099" y="981906"/>
            <a:ext cx="674322" cy="672334"/>
          </a:xfrm>
          <a:custGeom>
            <a:avLst/>
            <a:gdLst>
              <a:gd name="connsiteX0" fmla="*/ 662417 w 674322"/>
              <a:gd name="connsiteY0" fmla="*/ 336523 h 672334"/>
              <a:gd name="connsiteX1" fmla="*/ 617210 w 674322"/>
              <a:gd name="connsiteY1" fmla="*/ 333394 h 672334"/>
              <a:gd name="connsiteX2" fmla="*/ 612894 w 674322"/>
              <a:gd name="connsiteY2" fmla="*/ 287862 h 672334"/>
              <a:gd name="connsiteX3" fmla="*/ 656699 w 674322"/>
              <a:gd name="connsiteY3" fmla="*/ 276102 h 672334"/>
              <a:gd name="connsiteX4" fmla="*/ 665870 w 674322"/>
              <a:gd name="connsiteY4" fmla="*/ 260241 h 672334"/>
              <a:gd name="connsiteX5" fmla="*/ 660367 w 674322"/>
              <a:gd name="connsiteY5" fmla="*/ 239849 h 672334"/>
              <a:gd name="connsiteX6" fmla="*/ 644507 w 674322"/>
              <a:gd name="connsiteY6" fmla="*/ 230678 h 672334"/>
              <a:gd name="connsiteX7" fmla="*/ 600810 w 674322"/>
              <a:gd name="connsiteY7" fmla="*/ 242439 h 672334"/>
              <a:gd name="connsiteX8" fmla="*/ 581712 w 674322"/>
              <a:gd name="connsiteY8" fmla="*/ 200791 h 672334"/>
              <a:gd name="connsiteX9" fmla="*/ 619260 w 674322"/>
              <a:gd name="connsiteY9" fmla="*/ 175436 h 672334"/>
              <a:gd name="connsiteX10" fmla="*/ 622712 w 674322"/>
              <a:gd name="connsiteY10" fmla="*/ 157526 h 672334"/>
              <a:gd name="connsiteX11" fmla="*/ 610844 w 674322"/>
              <a:gd name="connsiteY11" fmla="*/ 140047 h 672334"/>
              <a:gd name="connsiteX12" fmla="*/ 592933 w 674322"/>
              <a:gd name="connsiteY12" fmla="*/ 136594 h 672334"/>
              <a:gd name="connsiteX13" fmla="*/ 555386 w 674322"/>
              <a:gd name="connsiteY13" fmla="*/ 161949 h 672334"/>
              <a:gd name="connsiteX14" fmla="*/ 523881 w 674322"/>
              <a:gd name="connsiteY14" fmla="*/ 128718 h 672334"/>
              <a:gd name="connsiteX15" fmla="*/ 551178 w 674322"/>
              <a:gd name="connsiteY15" fmla="*/ 92465 h 672334"/>
              <a:gd name="connsiteX16" fmla="*/ 548589 w 674322"/>
              <a:gd name="connsiteY16" fmla="*/ 74339 h 672334"/>
              <a:gd name="connsiteX17" fmla="*/ 531757 w 674322"/>
              <a:gd name="connsiteY17" fmla="*/ 61608 h 672334"/>
              <a:gd name="connsiteX18" fmla="*/ 513631 w 674322"/>
              <a:gd name="connsiteY18" fmla="*/ 64197 h 672334"/>
              <a:gd name="connsiteX19" fmla="*/ 486334 w 674322"/>
              <a:gd name="connsiteY19" fmla="*/ 100450 h 672334"/>
              <a:gd name="connsiteX20" fmla="*/ 445765 w 674322"/>
              <a:gd name="connsiteY20" fmla="*/ 79194 h 672334"/>
              <a:gd name="connsiteX21" fmla="*/ 459792 w 674322"/>
              <a:gd name="connsiteY21" fmla="*/ 36145 h 672334"/>
              <a:gd name="connsiteX22" fmla="*/ 451484 w 674322"/>
              <a:gd name="connsiteY22" fmla="*/ 19853 h 672334"/>
              <a:gd name="connsiteX23" fmla="*/ 431415 w 674322"/>
              <a:gd name="connsiteY23" fmla="*/ 13271 h 672334"/>
              <a:gd name="connsiteX24" fmla="*/ 415123 w 674322"/>
              <a:gd name="connsiteY24" fmla="*/ 21579 h 672334"/>
              <a:gd name="connsiteX25" fmla="*/ 401097 w 674322"/>
              <a:gd name="connsiteY25" fmla="*/ 64629 h 672334"/>
              <a:gd name="connsiteX26" fmla="*/ 360637 w 674322"/>
              <a:gd name="connsiteY26" fmla="*/ 58263 h 672334"/>
              <a:gd name="connsiteX27" fmla="*/ 360637 w 674322"/>
              <a:gd name="connsiteY27" fmla="*/ 12947 h 672334"/>
              <a:gd name="connsiteX28" fmla="*/ 347689 w 674322"/>
              <a:gd name="connsiteY28" fmla="*/ 0 h 672334"/>
              <a:gd name="connsiteX29" fmla="*/ 326542 w 674322"/>
              <a:gd name="connsiteY29" fmla="*/ 0 h 672334"/>
              <a:gd name="connsiteX30" fmla="*/ 313595 w 674322"/>
              <a:gd name="connsiteY30" fmla="*/ 12947 h 672334"/>
              <a:gd name="connsiteX31" fmla="*/ 313595 w 674322"/>
              <a:gd name="connsiteY31" fmla="*/ 58263 h 672334"/>
              <a:gd name="connsiteX32" fmla="*/ 268387 w 674322"/>
              <a:gd name="connsiteY32" fmla="*/ 65708 h 672334"/>
              <a:gd name="connsiteX33" fmla="*/ 253605 w 674322"/>
              <a:gd name="connsiteY33" fmla="*/ 22874 h 672334"/>
              <a:gd name="connsiteX34" fmla="*/ 237206 w 674322"/>
              <a:gd name="connsiteY34" fmla="*/ 14889 h 672334"/>
              <a:gd name="connsiteX35" fmla="*/ 217245 w 674322"/>
              <a:gd name="connsiteY35" fmla="*/ 21795 h 672334"/>
              <a:gd name="connsiteX36" fmla="*/ 209261 w 674322"/>
              <a:gd name="connsiteY36" fmla="*/ 38195 h 672334"/>
              <a:gd name="connsiteX37" fmla="*/ 224042 w 674322"/>
              <a:gd name="connsiteY37" fmla="*/ 81029 h 672334"/>
              <a:gd name="connsiteX38" fmla="*/ 183798 w 674322"/>
              <a:gd name="connsiteY38" fmla="*/ 102931 h 672334"/>
              <a:gd name="connsiteX39" fmla="*/ 155853 w 674322"/>
              <a:gd name="connsiteY39" fmla="*/ 67218 h 672334"/>
              <a:gd name="connsiteX40" fmla="*/ 137727 w 674322"/>
              <a:gd name="connsiteY40" fmla="*/ 64952 h 672334"/>
              <a:gd name="connsiteX41" fmla="*/ 121111 w 674322"/>
              <a:gd name="connsiteY41" fmla="*/ 78008 h 672334"/>
              <a:gd name="connsiteX42" fmla="*/ 118845 w 674322"/>
              <a:gd name="connsiteY42" fmla="*/ 96134 h 672334"/>
              <a:gd name="connsiteX43" fmla="*/ 146790 w 674322"/>
              <a:gd name="connsiteY43" fmla="*/ 131847 h 672334"/>
              <a:gd name="connsiteX44" fmla="*/ 115824 w 674322"/>
              <a:gd name="connsiteY44" fmla="*/ 165618 h 672334"/>
              <a:gd name="connsiteX45" fmla="*/ 77738 w 674322"/>
              <a:gd name="connsiteY45" fmla="*/ 140910 h 672334"/>
              <a:gd name="connsiteX46" fmla="*/ 59827 w 674322"/>
              <a:gd name="connsiteY46" fmla="*/ 144686 h 672334"/>
              <a:gd name="connsiteX47" fmla="*/ 48282 w 674322"/>
              <a:gd name="connsiteY47" fmla="*/ 162381 h 672334"/>
              <a:gd name="connsiteX48" fmla="*/ 52059 w 674322"/>
              <a:gd name="connsiteY48" fmla="*/ 180292 h 672334"/>
              <a:gd name="connsiteX49" fmla="*/ 90038 w 674322"/>
              <a:gd name="connsiteY49" fmla="*/ 204999 h 672334"/>
              <a:gd name="connsiteX50" fmla="*/ 71803 w 674322"/>
              <a:gd name="connsiteY50" fmla="*/ 246970 h 672334"/>
              <a:gd name="connsiteX51" fmla="*/ 27891 w 674322"/>
              <a:gd name="connsiteY51" fmla="*/ 235965 h 672334"/>
              <a:gd name="connsiteX52" fmla="*/ 12246 w 674322"/>
              <a:gd name="connsiteY52" fmla="*/ 245352 h 672334"/>
              <a:gd name="connsiteX53" fmla="*/ 7175 w 674322"/>
              <a:gd name="connsiteY53" fmla="*/ 265852 h 672334"/>
              <a:gd name="connsiteX54" fmla="*/ 16561 w 674322"/>
              <a:gd name="connsiteY54" fmla="*/ 281496 h 672334"/>
              <a:gd name="connsiteX55" fmla="*/ 60475 w 674322"/>
              <a:gd name="connsiteY55" fmla="*/ 292502 h 672334"/>
              <a:gd name="connsiteX56" fmla="*/ 56914 w 674322"/>
              <a:gd name="connsiteY56" fmla="*/ 337170 h 672334"/>
              <a:gd name="connsiteX57" fmla="*/ 56914 w 674322"/>
              <a:gd name="connsiteY57" fmla="*/ 338141 h 672334"/>
              <a:gd name="connsiteX58" fmla="*/ 11814 w 674322"/>
              <a:gd name="connsiteY58" fmla="*/ 342133 h 672334"/>
              <a:gd name="connsiteX59" fmla="*/ 54 w 674322"/>
              <a:gd name="connsiteY59" fmla="*/ 356159 h 672334"/>
              <a:gd name="connsiteX60" fmla="*/ 1888 w 674322"/>
              <a:gd name="connsiteY60" fmla="*/ 377199 h 672334"/>
              <a:gd name="connsiteX61" fmla="*/ 15914 w 674322"/>
              <a:gd name="connsiteY61" fmla="*/ 388959 h 672334"/>
              <a:gd name="connsiteX62" fmla="*/ 61122 w 674322"/>
              <a:gd name="connsiteY62" fmla="*/ 384967 h 672334"/>
              <a:gd name="connsiteX63" fmla="*/ 72559 w 674322"/>
              <a:gd name="connsiteY63" fmla="*/ 429312 h 672334"/>
              <a:gd name="connsiteX64" fmla="*/ 31127 w 674322"/>
              <a:gd name="connsiteY64" fmla="*/ 447762 h 672334"/>
              <a:gd name="connsiteX65" fmla="*/ 24546 w 674322"/>
              <a:gd name="connsiteY65" fmla="*/ 464809 h 672334"/>
              <a:gd name="connsiteX66" fmla="*/ 33177 w 674322"/>
              <a:gd name="connsiteY66" fmla="*/ 484122 h 672334"/>
              <a:gd name="connsiteX67" fmla="*/ 50224 w 674322"/>
              <a:gd name="connsiteY67" fmla="*/ 490704 h 672334"/>
              <a:gd name="connsiteX68" fmla="*/ 91548 w 674322"/>
              <a:gd name="connsiteY68" fmla="*/ 472254 h 672334"/>
              <a:gd name="connsiteX69" fmla="*/ 116903 w 674322"/>
              <a:gd name="connsiteY69" fmla="*/ 510340 h 672334"/>
              <a:gd name="connsiteX70" fmla="*/ 83672 w 674322"/>
              <a:gd name="connsiteY70" fmla="*/ 541306 h 672334"/>
              <a:gd name="connsiteX71" fmla="*/ 83024 w 674322"/>
              <a:gd name="connsiteY71" fmla="*/ 559540 h 672334"/>
              <a:gd name="connsiteX72" fmla="*/ 97482 w 674322"/>
              <a:gd name="connsiteY72" fmla="*/ 574969 h 672334"/>
              <a:gd name="connsiteX73" fmla="*/ 115716 w 674322"/>
              <a:gd name="connsiteY73" fmla="*/ 575616 h 672334"/>
              <a:gd name="connsiteX74" fmla="*/ 148840 w 674322"/>
              <a:gd name="connsiteY74" fmla="*/ 544759 h 672334"/>
              <a:gd name="connsiteX75" fmla="*/ 185200 w 674322"/>
              <a:gd name="connsiteY75" fmla="*/ 572595 h 672334"/>
              <a:gd name="connsiteX76" fmla="*/ 163945 w 674322"/>
              <a:gd name="connsiteY76" fmla="*/ 612624 h 672334"/>
              <a:gd name="connsiteX77" fmla="*/ 169232 w 674322"/>
              <a:gd name="connsiteY77" fmla="*/ 630103 h 672334"/>
              <a:gd name="connsiteX78" fmla="*/ 187898 w 674322"/>
              <a:gd name="connsiteY78" fmla="*/ 640029 h 672334"/>
              <a:gd name="connsiteX79" fmla="*/ 205377 w 674322"/>
              <a:gd name="connsiteY79" fmla="*/ 634743 h 672334"/>
              <a:gd name="connsiteX80" fmla="*/ 226632 w 674322"/>
              <a:gd name="connsiteY80" fmla="*/ 594822 h 672334"/>
              <a:gd name="connsiteX81" fmla="*/ 270113 w 674322"/>
              <a:gd name="connsiteY81" fmla="*/ 609280 h 672334"/>
              <a:gd name="connsiteX82" fmla="*/ 262992 w 674322"/>
              <a:gd name="connsiteY82" fmla="*/ 654056 h 672334"/>
              <a:gd name="connsiteX83" fmla="*/ 273674 w 674322"/>
              <a:gd name="connsiteY83" fmla="*/ 668837 h 672334"/>
              <a:gd name="connsiteX84" fmla="*/ 294498 w 674322"/>
              <a:gd name="connsiteY84" fmla="*/ 672182 h 672334"/>
              <a:gd name="connsiteX85" fmla="*/ 309279 w 674322"/>
              <a:gd name="connsiteY85" fmla="*/ 661500 h 672334"/>
              <a:gd name="connsiteX86" fmla="*/ 316400 w 674322"/>
              <a:gd name="connsiteY86" fmla="*/ 616724 h 672334"/>
              <a:gd name="connsiteX87" fmla="*/ 336900 w 674322"/>
              <a:gd name="connsiteY87" fmla="*/ 617587 h 672334"/>
              <a:gd name="connsiteX88" fmla="*/ 362255 w 674322"/>
              <a:gd name="connsiteY88" fmla="*/ 616401 h 672334"/>
              <a:gd name="connsiteX89" fmla="*/ 370132 w 674322"/>
              <a:gd name="connsiteY89" fmla="*/ 661069 h 672334"/>
              <a:gd name="connsiteX90" fmla="*/ 385129 w 674322"/>
              <a:gd name="connsiteY90" fmla="*/ 671535 h 672334"/>
              <a:gd name="connsiteX91" fmla="*/ 405952 w 674322"/>
              <a:gd name="connsiteY91" fmla="*/ 667866 h 672334"/>
              <a:gd name="connsiteX92" fmla="*/ 416418 w 674322"/>
              <a:gd name="connsiteY92" fmla="*/ 652869 h 672334"/>
              <a:gd name="connsiteX93" fmla="*/ 408542 w 674322"/>
              <a:gd name="connsiteY93" fmla="*/ 608308 h 672334"/>
              <a:gd name="connsiteX94" fmla="*/ 451700 w 674322"/>
              <a:gd name="connsiteY94" fmla="*/ 592987 h 672334"/>
              <a:gd name="connsiteX95" fmla="*/ 473710 w 674322"/>
              <a:gd name="connsiteY95" fmla="*/ 632585 h 672334"/>
              <a:gd name="connsiteX96" fmla="*/ 491297 w 674322"/>
              <a:gd name="connsiteY96" fmla="*/ 637656 h 672334"/>
              <a:gd name="connsiteX97" fmla="*/ 509747 w 674322"/>
              <a:gd name="connsiteY97" fmla="*/ 627406 h 672334"/>
              <a:gd name="connsiteX98" fmla="*/ 514818 w 674322"/>
              <a:gd name="connsiteY98" fmla="*/ 609819 h 672334"/>
              <a:gd name="connsiteX99" fmla="*/ 492915 w 674322"/>
              <a:gd name="connsiteY99" fmla="*/ 570222 h 672334"/>
              <a:gd name="connsiteX100" fmla="*/ 528736 w 674322"/>
              <a:gd name="connsiteY100" fmla="*/ 541630 h 672334"/>
              <a:gd name="connsiteX101" fmla="*/ 562399 w 674322"/>
              <a:gd name="connsiteY101" fmla="*/ 571948 h 672334"/>
              <a:gd name="connsiteX102" fmla="*/ 580633 w 674322"/>
              <a:gd name="connsiteY102" fmla="*/ 570977 h 672334"/>
              <a:gd name="connsiteX103" fmla="*/ 594767 w 674322"/>
              <a:gd name="connsiteY103" fmla="*/ 555224 h 672334"/>
              <a:gd name="connsiteX104" fmla="*/ 593796 w 674322"/>
              <a:gd name="connsiteY104" fmla="*/ 536990 h 672334"/>
              <a:gd name="connsiteX105" fmla="*/ 560133 w 674322"/>
              <a:gd name="connsiteY105" fmla="*/ 506672 h 672334"/>
              <a:gd name="connsiteX106" fmla="*/ 584733 w 674322"/>
              <a:gd name="connsiteY106" fmla="*/ 468046 h 672334"/>
              <a:gd name="connsiteX107" fmla="*/ 626381 w 674322"/>
              <a:gd name="connsiteY107" fmla="*/ 485740 h 672334"/>
              <a:gd name="connsiteX108" fmla="*/ 643320 w 674322"/>
              <a:gd name="connsiteY108" fmla="*/ 478943 h 672334"/>
              <a:gd name="connsiteX109" fmla="*/ 651628 w 674322"/>
              <a:gd name="connsiteY109" fmla="*/ 459522 h 672334"/>
              <a:gd name="connsiteX110" fmla="*/ 644831 w 674322"/>
              <a:gd name="connsiteY110" fmla="*/ 442583 h 672334"/>
              <a:gd name="connsiteX111" fmla="*/ 603183 w 674322"/>
              <a:gd name="connsiteY111" fmla="*/ 424888 h 672334"/>
              <a:gd name="connsiteX112" fmla="*/ 613865 w 674322"/>
              <a:gd name="connsiteY112" fmla="*/ 380328 h 672334"/>
              <a:gd name="connsiteX113" fmla="*/ 658965 w 674322"/>
              <a:gd name="connsiteY113" fmla="*/ 383457 h 672334"/>
              <a:gd name="connsiteX114" fmla="*/ 672775 w 674322"/>
              <a:gd name="connsiteY114" fmla="*/ 371480 h 672334"/>
              <a:gd name="connsiteX115" fmla="*/ 674286 w 674322"/>
              <a:gd name="connsiteY115" fmla="*/ 350441 h 672334"/>
              <a:gd name="connsiteX116" fmla="*/ 662309 w 674322"/>
              <a:gd name="connsiteY116" fmla="*/ 336630 h 672334"/>
              <a:gd name="connsiteX117" fmla="*/ 337224 w 674322"/>
              <a:gd name="connsiteY117" fmla="*/ 494480 h 672334"/>
              <a:gd name="connsiteX118" fmla="*/ 180129 w 674322"/>
              <a:gd name="connsiteY118" fmla="*/ 337386 h 672334"/>
              <a:gd name="connsiteX119" fmla="*/ 337224 w 674322"/>
              <a:gd name="connsiteY119" fmla="*/ 180292 h 672334"/>
              <a:gd name="connsiteX120" fmla="*/ 494318 w 674322"/>
              <a:gd name="connsiteY120" fmla="*/ 337386 h 672334"/>
              <a:gd name="connsiteX121" fmla="*/ 337224 w 674322"/>
              <a:gd name="connsiteY121" fmla="*/ 494480 h 672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74322" h="672334">
                <a:moveTo>
                  <a:pt x="662417" y="336523"/>
                </a:moveTo>
                <a:lnTo>
                  <a:pt x="617210" y="333394"/>
                </a:lnTo>
                <a:cubicBezTo>
                  <a:pt x="616994" y="317857"/>
                  <a:pt x="615483" y="302644"/>
                  <a:pt x="612894" y="287862"/>
                </a:cubicBezTo>
                <a:lnTo>
                  <a:pt x="656699" y="276102"/>
                </a:lnTo>
                <a:cubicBezTo>
                  <a:pt x="663604" y="274267"/>
                  <a:pt x="667704" y="267146"/>
                  <a:pt x="665870" y="260241"/>
                </a:cubicBezTo>
                <a:lnTo>
                  <a:pt x="660367" y="239849"/>
                </a:lnTo>
                <a:cubicBezTo>
                  <a:pt x="658533" y="232944"/>
                  <a:pt x="651412" y="228844"/>
                  <a:pt x="644507" y="230678"/>
                </a:cubicBezTo>
                <a:lnTo>
                  <a:pt x="600810" y="242439"/>
                </a:lnTo>
                <a:cubicBezTo>
                  <a:pt x="595631" y="227981"/>
                  <a:pt x="589157" y="214062"/>
                  <a:pt x="581712" y="200791"/>
                </a:cubicBezTo>
                <a:lnTo>
                  <a:pt x="619260" y="175436"/>
                </a:lnTo>
                <a:cubicBezTo>
                  <a:pt x="625194" y="171444"/>
                  <a:pt x="626704" y="163460"/>
                  <a:pt x="622712" y="157526"/>
                </a:cubicBezTo>
                <a:lnTo>
                  <a:pt x="610844" y="140047"/>
                </a:lnTo>
                <a:cubicBezTo>
                  <a:pt x="606852" y="134113"/>
                  <a:pt x="598867" y="132602"/>
                  <a:pt x="592933" y="136594"/>
                </a:cubicBezTo>
                <a:lnTo>
                  <a:pt x="555386" y="161949"/>
                </a:lnTo>
                <a:cubicBezTo>
                  <a:pt x="545784" y="150081"/>
                  <a:pt x="535318" y="138968"/>
                  <a:pt x="523881" y="128718"/>
                </a:cubicBezTo>
                <a:lnTo>
                  <a:pt x="551178" y="92465"/>
                </a:lnTo>
                <a:cubicBezTo>
                  <a:pt x="555494" y="86747"/>
                  <a:pt x="554307" y="78655"/>
                  <a:pt x="548589" y="74339"/>
                </a:cubicBezTo>
                <a:lnTo>
                  <a:pt x="531757" y="61608"/>
                </a:lnTo>
                <a:cubicBezTo>
                  <a:pt x="526039" y="57292"/>
                  <a:pt x="517947" y="58479"/>
                  <a:pt x="513631" y="64197"/>
                </a:cubicBezTo>
                <a:lnTo>
                  <a:pt x="486334" y="100450"/>
                </a:lnTo>
                <a:cubicBezTo>
                  <a:pt x="473494" y="92358"/>
                  <a:pt x="459899" y="85237"/>
                  <a:pt x="445765" y="79194"/>
                </a:cubicBezTo>
                <a:lnTo>
                  <a:pt x="459792" y="36145"/>
                </a:lnTo>
                <a:cubicBezTo>
                  <a:pt x="461949" y="29347"/>
                  <a:pt x="458281" y="22118"/>
                  <a:pt x="451484" y="19853"/>
                </a:cubicBezTo>
                <a:lnTo>
                  <a:pt x="431415" y="13271"/>
                </a:lnTo>
                <a:cubicBezTo>
                  <a:pt x="424618" y="11113"/>
                  <a:pt x="417389" y="14782"/>
                  <a:pt x="415123" y="21579"/>
                </a:cubicBezTo>
                <a:lnTo>
                  <a:pt x="401097" y="64629"/>
                </a:lnTo>
                <a:cubicBezTo>
                  <a:pt x="387934" y="61608"/>
                  <a:pt x="374447" y="59450"/>
                  <a:pt x="360637" y="58263"/>
                </a:cubicBezTo>
                <a:lnTo>
                  <a:pt x="360637" y="12947"/>
                </a:lnTo>
                <a:cubicBezTo>
                  <a:pt x="360637" y="5826"/>
                  <a:pt x="354810" y="0"/>
                  <a:pt x="347689" y="0"/>
                </a:cubicBezTo>
                <a:lnTo>
                  <a:pt x="326542" y="0"/>
                </a:lnTo>
                <a:cubicBezTo>
                  <a:pt x="319421" y="0"/>
                  <a:pt x="313595" y="5826"/>
                  <a:pt x="313595" y="12947"/>
                </a:cubicBezTo>
                <a:lnTo>
                  <a:pt x="313595" y="58263"/>
                </a:lnTo>
                <a:cubicBezTo>
                  <a:pt x="298166" y="59558"/>
                  <a:pt x="283061" y="62039"/>
                  <a:pt x="268387" y="65708"/>
                </a:cubicBezTo>
                <a:lnTo>
                  <a:pt x="253605" y="22874"/>
                </a:lnTo>
                <a:cubicBezTo>
                  <a:pt x="251232" y="16184"/>
                  <a:pt x="243895" y="12516"/>
                  <a:pt x="237206" y="14889"/>
                </a:cubicBezTo>
                <a:lnTo>
                  <a:pt x="217245" y="21795"/>
                </a:lnTo>
                <a:cubicBezTo>
                  <a:pt x="210556" y="24168"/>
                  <a:pt x="206887" y="31505"/>
                  <a:pt x="209261" y="38195"/>
                </a:cubicBezTo>
                <a:lnTo>
                  <a:pt x="224042" y="81029"/>
                </a:lnTo>
                <a:cubicBezTo>
                  <a:pt x="210016" y="87287"/>
                  <a:pt x="196530" y="94515"/>
                  <a:pt x="183798" y="102931"/>
                </a:cubicBezTo>
                <a:lnTo>
                  <a:pt x="155853" y="67218"/>
                </a:lnTo>
                <a:cubicBezTo>
                  <a:pt x="151429" y="61608"/>
                  <a:pt x="143337" y="60637"/>
                  <a:pt x="137727" y="64952"/>
                </a:cubicBezTo>
                <a:lnTo>
                  <a:pt x="121111" y="78008"/>
                </a:lnTo>
                <a:cubicBezTo>
                  <a:pt x="115501" y="82431"/>
                  <a:pt x="114530" y="90523"/>
                  <a:pt x="118845" y="96134"/>
                </a:cubicBezTo>
                <a:lnTo>
                  <a:pt x="146790" y="131847"/>
                </a:lnTo>
                <a:cubicBezTo>
                  <a:pt x="135569" y="142205"/>
                  <a:pt x="125211" y="153534"/>
                  <a:pt x="115824" y="165618"/>
                </a:cubicBezTo>
                <a:lnTo>
                  <a:pt x="77738" y="140910"/>
                </a:lnTo>
                <a:cubicBezTo>
                  <a:pt x="71803" y="137026"/>
                  <a:pt x="63711" y="138752"/>
                  <a:pt x="59827" y="144686"/>
                </a:cubicBezTo>
                <a:lnTo>
                  <a:pt x="48282" y="162381"/>
                </a:lnTo>
                <a:cubicBezTo>
                  <a:pt x="44398" y="168315"/>
                  <a:pt x="46125" y="176407"/>
                  <a:pt x="52059" y="180292"/>
                </a:cubicBezTo>
                <a:lnTo>
                  <a:pt x="90038" y="204999"/>
                </a:lnTo>
                <a:cubicBezTo>
                  <a:pt x="82809" y="218378"/>
                  <a:pt x="76767" y="232404"/>
                  <a:pt x="71803" y="246970"/>
                </a:cubicBezTo>
                <a:lnTo>
                  <a:pt x="27891" y="235965"/>
                </a:lnTo>
                <a:cubicBezTo>
                  <a:pt x="20985" y="234239"/>
                  <a:pt x="13972" y="238447"/>
                  <a:pt x="12246" y="245352"/>
                </a:cubicBezTo>
                <a:lnTo>
                  <a:pt x="7175" y="265852"/>
                </a:lnTo>
                <a:cubicBezTo>
                  <a:pt x="5448" y="272757"/>
                  <a:pt x="9656" y="279770"/>
                  <a:pt x="16561" y="281496"/>
                </a:cubicBezTo>
                <a:lnTo>
                  <a:pt x="60475" y="292502"/>
                </a:lnTo>
                <a:cubicBezTo>
                  <a:pt x="58101" y="307067"/>
                  <a:pt x="56914" y="321957"/>
                  <a:pt x="56914" y="337170"/>
                </a:cubicBezTo>
                <a:cubicBezTo>
                  <a:pt x="56914" y="337494"/>
                  <a:pt x="56914" y="337817"/>
                  <a:pt x="56914" y="338141"/>
                </a:cubicBezTo>
                <a:lnTo>
                  <a:pt x="11814" y="342133"/>
                </a:lnTo>
                <a:cubicBezTo>
                  <a:pt x="4693" y="342780"/>
                  <a:pt x="-594" y="349038"/>
                  <a:pt x="54" y="356159"/>
                </a:cubicBezTo>
                <a:lnTo>
                  <a:pt x="1888" y="377199"/>
                </a:lnTo>
                <a:cubicBezTo>
                  <a:pt x="2535" y="384320"/>
                  <a:pt x="8793" y="389607"/>
                  <a:pt x="15914" y="388959"/>
                </a:cubicBezTo>
                <a:lnTo>
                  <a:pt x="61122" y="384967"/>
                </a:lnTo>
                <a:cubicBezTo>
                  <a:pt x="63711" y="400180"/>
                  <a:pt x="67596" y="414962"/>
                  <a:pt x="72559" y="429312"/>
                </a:cubicBezTo>
                <a:lnTo>
                  <a:pt x="31127" y="447762"/>
                </a:lnTo>
                <a:cubicBezTo>
                  <a:pt x="24654" y="450675"/>
                  <a:pt x="21633" y="458335"/>
                  <a:pt x="24546" y="464809"/>
                </a:cubicBezTo>
                <a:lnTo>
                  <a:pt x="33177" y="484122"/>
                </a:lnTo>
                <a:cubicBezTo>
                  <a:pt x="36090" y="490596"/>
                  <a:pt x="43751" y="493617"/>
                  <a:pt x="50224" y="490704"/>
                </a:cubicBezTo>
                <a:lnTo>
                  <a:pt x="91548" y="472254"/>
                </a:lnTo>
                <a:cubicBezTo>
                  <a:pt x="98993" y="485633"/>
                  <a:pt x="107409" y="498364"/>
                  <a:pt x="116903" y="510340"/>
                </a:cubicBezTo>
                <a:lnTo>
                  <a:pt x="83672" y="541306"/>
                </a:lnTo>
                <a:cubicBezTo>
                  <a:pt x="78493" y="546161"/>
                  <a:pt x="78169" y="554361"/>
                  <a:pt x="83024" y="559540"/>
                </a:cubicBezTo>
                <a:lnTo>
                  <a:pt x="97482" y="574969"/>
                </a:lnTo>
                <a:cubicBezTo>
                  <a:pt x="102338" y="580148"/>
                  <a:pt x="110538" y="580472"/>
                  <a:pt x="115716" y="575616"/>
                </a:cubicBezTo>
                <a:lnTo>
                  <a:pt x="148840" y="544759"/>
                </a:lnTo>
                <a:cubicBezTo>
                  <a:pt x="160169" y="555009"/>
                  <a:pt x="172361" y="564288"/>
                  <a:pt x="185200" y="572595"/>
                </a:cubicBezTo>
                <a:lnTo>
                  <a:pt x="163945" y="612624"/>
                </a:lnTo>
                <a:cubicBezTo>
                  <a:pt x="160601" y="618882"/>
                  <a:pt x="162974" y="626758"/>
                  <a:pt x="169232" y="630103"/>
                </a:cubicBezTo>
                <a:lnTo>
                  <a:pt x="187898" y="640029"/>
                </a:lnTo>
                <a:cubicBezTo>
                  <a:pt x="194156" y="643374"/>
                  <a:pt x="202032" y="641000"/>
                  <a:pt x="205377" y="634743"/>
                </a:cubicBezTo>
                <a:lnTo>
                  <a:pt x="226632" y="594822"/>
                </a:lnTo>
                <a:cubicBezTo>
                  <a:pt x="240550" y="600756"/>
                  <a:pt x="255116" y="605611"/>
                  <a:pt x="270113" y="609280"/>
                </a:cubicBezTo>
                <a:lnTo>
                  <a:pt x="262992" y="654056"/>
                </a:lnTo>
                <a:cubicBezTo>
                  <a:pt x="261914" y="661069"/>
                  <a:pt x="266661" y="667758"/>
                  <a:pt x="273674" y="668837"/>
                </a:cubicBezTo>
                <a:lnTo>
                  <a:pt x="294498" y="672182"/>
                </a:lnTo>
                <a:cubicBezTo>
                  <a:pt x="301511" y="673261"/>
                  <a:pt x="308200" y="668514"/>
                  <a:pt x="309279" y="661500"/>
                </a:cubicBezTo>
                <a:lnTo>
                  <a:pt x="316400" y="616724"/>
                </a:lnTo>
                <a:cubicBezTo>
                  <a:pt x="323197" y="617264"/>
                  <a:pt x="329995" y="617587"/>
                  <a:pt x="336900" y="617587"/>
                </a:cubicBezTo>
                <a:cubicBezTo>
                  <a:pt x="345424" y="617587"/>
                  <a:pt x="353839" y="617156"/>
                  <a:pt x="362255" y="616401"/>
                </a:cubicBezTo>
                <a:lnTo>
                  <a:pt x="370132" y="661069"/>
                </a:lnTo>
                <a:cubicBezTo>
                  <a:pt x="371318" y="668082"/>
                  <a:pt x="378116" y="672829"/>
                  <a:pt x="385129" y="671535"/>
                </a:cubicBezTo>
                <a:lnTo>
                  <a:pt x="405952" y="667866"/>
                </a:lnTo>
                <a:cubicBezTo>
                  <a:pt x="412966" y="666679"/>
                  <a:pt x="417713" y="659882"/>
                  <a:pt x="416418" y="652869"/>
                </a:cubicBezTo>
                <a:lnTo>
                  <a:pt x="408542" y="608308"/>
                </a:lnTo>
                <a:cubicBezTo>
                  <a:pt x="423431" y="604424"/>
                  <a:pt x="437889" y="599245"/>
                  <a:pt x="451700" y="592987"/>
                </a:cubicBezTo>
                <a:lnTo>
                  <a:pt x="473710" y="632585"/>
                </a:lnTo>
                <a:cubicBezTo>
                  <a:pt x="477163" y="638843"/>
                  <a:pt x="485039" y="641108"/>
                  <a:pt x="491297" y="637656"/>
                </a:cubicBezTo>
                <a:lnTo>
                  <a:pt x="509747" y="627406"/>
                </a:lnTo>
                <a:cubicBezTo>
                  <a:pt x="516005" y="623953"/>
                  <a:pt x="518270" y="616077"/>
                  <a:pt x="514818" y="609819"/>
                </a:cubicBezTo>
                <a:lnTo>
                  <a:pt x="492915" y="570222"/>
                </a:lnTo>
                <a:cubicBezTo>
                  <a:pt x="505647" y="561698"/>
                  <a:pt x="517623" y="552096"/>
                  <a:pt x="528736" y="541630"/>
                </a:cubicBezTo>
                <a:lnTo>
                  <a:pt x="562399" y="571948"/>
                </a:lnTo>
                <a:cubicBezTo>
                  <a:pt x="567686" y="576695"/>
                  <a:pt x="575886" y="576264"/>
                  <a:pt x="580633" y="570977"/>
                </a:cubicBezTo>
                <a:lnTo>
                  <a:pt x="594767" y="555224"/>
                </a:lnTo>
                <a:cubicBezTo>
                  <a:pt x="599515" y="549938"/>
                  <a:pt x="599083" y="541738"/>
                  <a:pt x="593796" y="536990"/>
                </a:cubicBezTo>
                <a:lnTo>
                  <a:pt x="560133" y="506672"/>
                </a:lnTo>
                <a:cubicBezTo>
                  <a:pt x="569305" y="494588"/>
                  <a:pt x="577612" y="481640"/>
                  <a:pt x="584733" y="468046"/>
                </a:cubicBezTo>
                <a:lnTo>
                  <a:pt x="626381" y="485740"/>
                </a:lnTo>
                <a:cubicBezTo>
                  <a:pt x="632962" y="488546"/>
                  <a:pt x="640515" y="485417"/>
                  <a:pt x="643320" y="478943"/>
                </a:cubicBezTo>
                <a:lnTo>
                  <a:pt x="651628" y="459522"/>
                </a:lnTo>
                <a:cubicBezTo>
                  <a:pt x="654433" y="452941"/>
                  <a:pt x="651304" y="445388"/>
                  <a:pt x="644831" y="442583"/>
                </a:cubicBezTo>
                <a:lnTo>
                  <a:pt x="603183" y="424888"/>
                </a:lnTo>
                <a:cubicBezTo>
                  <a:pt x="607931" y="410538"/>
                  <a:pt x="611599" y="395649"/>
                  <a:pt x="613865" y="380328"/>
                </a:cubicBezTo>
                <a:lnTo>
                  <a:pt x="658965" y="383457"/>
                </a:lnTo>
                <a:cubicBezTo>
                  <a:pt x="666086" y="383996"/>
                  <a:pt x="672236" y="378601"/>
                  <a:pt x="672775" y="371480"/>
                </a:cubicBezTo>
                <a:lnTo>
                  <a:pt x="674286" y="350441"/>
                </a:lnTo>
                <a:cubicBezTo>
                  <a:pt x="674825" y="343320"/>
                  <a:pt x="669430" y="337170"/>
                  <a:pt x="662309" y="336630"/>
                </a:cubicBezTo>
                <a:close/>
                <a:moveTo>
                  <a:pt x="337224" y="494480"/>
                </a:moveTo>
                <a:cubicBezTo>
                  <a:pt x="250477" y="494480"/>
                  <a:pt x="180129" y="424133"/>
                  <a:pt x="180129" y="337386"/>
                </a:cubicBezTo>
                <a:cubicBezTo>
                  <a:pt x="180129" y="250639"/>
                  <a:pt x="250477" y="180292"/>
                  <a:pt x="337224" y="180292"/>
                </a:cubicBezTo>
                <a:cubicBezTo>
                  <a:pt x="423971" y="180292"/>
                  <a:pt x="494318" y="250639"/>
                  <a:pt x="494318" y="337386"/>
                </a:cubicBezTo>
                <a:cubicBezTo>
                  <a:pt x="494318" y="424133"/>
                  <a:pt x="423971" y="494480"/>
                  <a:pt x="337224" y="494480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57" name="Полилиния: фигура 56">
            <a:extLst>
              <a:ext uri="{FF2B5EF4-FFF2-40B4-BE49-F238E27FC236}">
                <a16:creationId xmlns:a16="http://schemas.microsoft.com/office/drawing/2014/main" id="{706FA6C6-14C1-4921-8132-DBCFF5D71B47}"/>
              </a:ext>
            </a:extLst>
          </p:cNvPr>
          <p:cNvSpPr/>
          <p:nvPr/>
        </p:nvSpPr>
        <p:spPr>
          <a:xfrm>
            <a:off x="4761182" y="1325873"/>
            <a:ext cx="441668" cy="440645"/>
          </a:xfrm>
          <a:custGeom>
            <a:avLst/>
            <a:gdLst>
              <a:gd name="connsiteX0" fmla="*/ 433556 w 441668"/>
              <a:gd name="connsiteY0" fmla="*/ 220536 h 440645"/>
              <a:gd name="connsiteX1" fmla="*/ 403885 w 441668"/>
              <a:gd name="connsiteY1" fmla="*/ 218486 h 440645"/>
              <a:gd name="connsiteX2" fmla="*/ 401080 w 441668"/>
              <a:gd name="connsiteY2" fmla="*/ 188599 h 440645"/>
              <a:gd name="connsiteX3" fmla="*/ 429780 w 441668"/>
              <a:gd name="connsiteY3" fmla="*/ 180939 h 440645"/>
              <a:gd name="connsiteX4" fmla="*/ 435714 w 441668"/>
              <a:gd name="connsiteY4" fmla="*/ 170581 h 440645"/>
              <a:gd name="connsiteX5" fmla="*/ 432153 w 441668"/>
              <a:gd name="connsiteY5" fmla="*/ 157202 h 440645"/>
              <a:gd name="connsiteX6" fmla="*/ 421796 w 441668"/>
              <a:gd name="connsiteY6" fmla="*/ 151268 h 440645"/>
              <a:gd name="connsiteX7" fmla="*/ 393096 w 441668"/>
              <a:gd name="connsiteY7" fmla="*/ 158928 h 440645"/>
              <a:gd name="connsiteX8" fmla="*/ 380580 w 441668"/>
              <a:gd name="connsiteY8" fmla="*/ 131631 h 440645"/>
              <a:gd name="connsiteX9" fmla="*/ 405180 w 441668"/>
              <a:gd name="connsiteY9" fmla="*/ 115015 h 440645"/>
              <a:gd name="connsiteX10" fmla="*/ 407445 w 441668"/>
              <a:gd name="connsiteY10" fmla="*/ 103255 h 440645"/>
              <a:gd name="connsiteX11" fmla="*/ 399677 w 441668"/>
              <a:gd name="connsiteY11" fmla="*/ 91818 h 440645"/>
              <a:gd name="connsiteX12" fmla="*/ 387917 w 441668"/>
              <a:gd name="connsiteY12" fmla="*/ 89552 h 440645"/>
              <a:gd name="connsiteX13" fmla="*/ 363317 w 441668"/>
              <a:gd name="connsiteY13" fmla="*/ 106168 h 440645"/>
              <a:gd name="connsiteX14" fmla="*/ 342709 w 441668"/>
              <a:gd name="connsiteY14" fmla="*/ 84373 h 440645"/>
              <a:gd name="connsiteX15" fmla="*/ 360619 w 441668"/>
              <a:gd name="connsiteY15" fmla="*/ 60637 h 440645"/>
              <a:gd name="connsiteX16" fmla="*/ 359001 w 441668"/>
              <a:gd name="connsiteY16" fmla="*/ 48768 h 440645"/>
              <a:gd name="connsiteX17" fmla="*/ 347996 w 441668"/>
              <a:gd name="connsiteY17" fmla="*/ 40460 h 440645"/>
              <a:gd name="connsiteX18" fmla="*/ 336127 w 441668"/>
              <a:gd name="connsiteY18" fmla="*/ 42079 h 440645"/>
              <a:gd name="connsiteX19" fmla="*/ 318217 w 441668"/>
              <a:gd name="connsiteY19" fmla="*/ 65816 h 440645"/>
              <a:gd name="connsiteX20" fmla="*/ 291675 w 441668"/>
              <a:gd name="connsiteY20" fmla="*/ 51897 h 440645"/>
              <a:gd name="connsiteX21" fmla="*/ 300846 w 441668"/>
              <a:gd name="connsiteY21" fmla="*/ 23737 h 440645"/>
              <a:gd name="connsiteX22" fmla="*/ 295451 w 441668"/>
              <a:gd name="connsiteY22" fmla="*/ 13055 h 440645"/>
              <a:gd name="connsiteX23" fmla="*/ 282288 w 441668"/>
              <a:gd name="connsiteY23" fmla="*/ 8739 h 440645"/>
              <a:gd name="connsiteX24" fmla="*/ 271606 w 441668"/>
              <a:gd name="connsiteY24" fmla="*/ 14134 h 440645"/>
              <a:gd name="connsiteX25" fmla="*/ 262436 w 441668"/>
              <a:gd name="connsiteY25" fmla="*/ 42402 h 440645"/>
              <a:gd name="connsiteX26" fmla="*/ 236001 w 441668"/>
              <a:gd name="connsiteY26" fmla="*/ 38195 h 440645"/>
              <a:gd name="connsiteX27" fmla="*/ 236001 w 441668"/>
              <a:gd name="connsiteY27" fmla="*/ 8416 h 440645"/>
              <a:gd name="connsiteX28" fmla="*/ 227586 w 441668"/>
              <a:gd name="connsiteY28" fmla="*/ 0 h 440645"/>
              <a:gd name="connsiteX29" fmla="*/ 213775 w 441668"/>
              <a:gd name="connsiteY29" fmla="*/ 0 h 440645"/>
              <a:gd name="connsiteX30" fmla="*/ 205359 w 441668"/>
              <a:gd name="connsiteY30" fmla="*/ 8416 h 440645"/>
              <a:gd name="connsiteX31" fmla="*/ 205359 w 441668"/>
              <a:gd name="connsiteY31" fmla="*/ 38195 h 440645"/>
              <a:gd name="connsiteX32" fmla="*/ 175796 w 441668"/>
              <a:gd name="connsiteY32" fmla="*/ 43050 h 440645"/>
              <a:gd name="connsiteX33" fmla="*/ 166086 w 441668"/>
              <a:gd name="connsiteY33" fmla="*/ 14997 h 440645"/>
              <a:gd name="connsiteX34" fmla="*/ 155296 w 441668"/>
              <a:gd name="connsiteY34" fmla="*/ 9711 h 440645"/>
              <a:gd name="connsiteX35" fmla="*/ 142241 w 441668"/>
              <a:gd name="connsiteY35" fmla="*/ 14242 h 440645"/>
              <a:gd name="connsiteX36" fmla="*/ 136954 w 441668"/>
              <a:gd name="connsiteY36" fmla="*/ 25031 h 440645"/>
              <a:gd name="connsiteX37" fmla="*/ 146665 w 441668"/>
              <a:gd name="connsiteY37" fmla="*/ 53084 h 440645"/>
              <a:gd name="connsiteX38" fmla="*/ 120339 w 441668"/>
              <a:gd name="connsiteY38" fmla="*/ 67434 h 440645"/>
              <a:gd name="connsiteX39" fmla="*/ 101996 w 441668"/>
              <a:gd name="connsiteY39" fmla="*/ 44021 h 440645"/>
              <a:gd name="connsiteX40" fmla="*/ 90128 w 441668"/>
              <a:gd name="connsiteY40" fmla="*/ 42510 h 440645"/>
              <a:gd name="connsiteX41" fmla="*/ 79231 w 441668"/>
              <a:gd name="connsiteY41" fmla="*/ 51034 h 440645"/>
              <a:gd name="connsiteX42" fmla="*/ 77720 w 441668"/>
              <a:gd name="connsiteY42" fmla="*/ 62902 h 440645"/>
              <a:gd name="connsiteX43" fmla="*/ 96062 w 441668"/>
              <a:gd name="connsiteY43" fmla="*/ 86315 h 440645"/>
              <a:gd name="connsiteX44" fmla="*/ 75778 w 441668"/>
              <a:gd name="connsiteY44" fmla="*/ 108434 h 440645"/>
              <a:gd name="connsiteX45" fmla="*/ 50855 w 441668"/>
              <a:gd name="connsiteY45" fmla="*/ 92250 h 440645"/>
              <a:gd name="connsiteX46" fmla="*/ 39202 w 441668"/>
              <a:gd name="connsiteY46" fmla="*/ 94731 h 440645"/>
              <a:gd name="connsiteX47" fmla="*/ 31649 w 441668"/>
              <a:gd name="connsiteY47" fmla="*/ 106384 h 440645"/>
              <a:gd name="connsiteX48" fmla="*/ 34131 w 441668"/>
              <a:gd name="connsiteY48" fmla="*/ 118144 h 440645"/>
              <a:gd name="connsiteX49" fmla="*/ 59055 w 441668"/>
              <a:gd name="connsiteY49" fmla="*/ 134329 h 440645"/>
              <a:gd name="connsiteX50" fmla="*/ 47078 w 441668"/>
              <a:gd name="connsiteY50" fmla="*/ 161842 h 440645"/>
              <a:gd name="connsiteX51" fmla="*/ 18271 w 441668"/>
              <a:gd name="connsiteY51" fmla="*/ 154613 h 440645"/>
              <a:gd name="connsiteX52" fmla="*/ 8021 w 441668"/>
              <a:gd name="connsiteY52" fmla="*/ 160763 h 440645"/>
              <a:gd name="connsiteX53" fmla="*/ 4676 w 441668"/>
              <a:gd name="connsiteY53" fmla="*/ 174249 h 440645"/>
              <a:gd name="connsiteX54" fmla="*/ 10826 w 441668"/>
              <a:gd name="connsiteY54" fmla="*/ 184499 h 440645"/>
              <a:gd name="connsiteX55" fmla="*/ 39634 w 441668"/>
              <a:gd name="connsiteY55" fmla="*/ 191728 h 440645"/>
              <a:gd name="connsiteX56" fmla="*/ 37260 w 441668"/>
              <a:gd name="connsiteY56" fmla="*/ 221076 h 440645"/>
              <a:gd name="connsiteX57" fmla="*/ 37260 w 441668"/>
              <a:gd name="connsiteY57" fmla="*/ 221723 h 440645"/>
              <a:gd name="connsiteX58" fmla="*/ 7697 w 441668"/>
              <a:gd name="connsiteY58" fmla="*/ 224312 h 440645"/>
              <a:gd name="connsiteX59" fmla="*/ 36 w 441668"/>
              <a:gd name="connsiteY59" fmla="*/ 233483 h 440645"/>
              <a:gd name="connsiteX60" fmla="*/ 1223 w 441668"/>
              <a:gd name="connsiteY60" fmla="*/ 247294 h 440645"/>
              <a:gd name="connsiteX61" fmla="*/ 10394 w 441668"/>
              <a:gd name="connsiteY61" fmla="*/ 254954 h 440645"/>
              <a:gd name="connsiteX62" fmla="*/ 39957 w 441668"/>
              <a:gd name="connsiteY62" fmla="*/ 252365 h 440645"/>
              <a:gd name="connsiteX63" fmla="*/ 47402 w 441668"/>
              <a:gd name="connsiteY63" fmla="*/ 281389 h 440645"/>
              <a:gd name="connsiteX64" fmla="*/ 20321 w 441668"/>
              <a:gd name="connsiteY64" fmla="*/ 293473 h 440645"/>
              <a:gd name="connsiteX65" fmla="*/ 16005 w 441668"/>
              <a:gd name="connsiteY65" fmla="*/ 304694 h 440645"/>
              <a:gd name="connsiteX66" fmla="*/ 21615 w 441668"/>
              <a:gd name="connsiteY66" fmla="*/ 317317 h 440645"/>
              <a:gd name="connsiteX67" fmla="*/ 32836 w 441668"/>
              <a:gd name="connsiteY67" fmla="*/ 321633 h 440645"/>
              <a:gd name="connsiteX68" fmla="*/ 59918 w 441668"/>
              <a:gd name="connsiteY68" fmla="*/ 309549 h 440645"/>
              <a:gd name="connsiteX69" fmla="*/ 76534 w 441668"/>
              <a:gd name="connsiteY69" fmla="*/ 334580 h 440645"/>
              <a:gd name="connsiteX70" fmla="*/ 54739 w 441668"/>
              <a:gd name="connsiteY70" fmla="*/ 354865 h 440645"/>
              <a:gd name="connsiteX71" fmla="*/ 54307 w 441668"/>
              <a:gd name="connsiteY71" fmla="*/ 366841 h 440645"/>
              <a:gd name="connsiteX72" fmla="*/ 63802 w 441668"/>
              <a:gd name="connsiteY72" fmla="*/ 376983 h 440645"/>
              <a:gd name="connsiteX73" fmla="*/ 75778 w 441668"/>
              <a:gd name="connsiteY73" fmla="*/ 377415 h 440645"/>
              <a:gd name="connsiteX74" fmla="*/ 97465 w 441668"/>
              <a:gd name="connsiteY74" fmla="*/ 357130 h 440645"/>
              <a:gd name="connsiteX75" fmla="*/ 121310 w 441668"/>
              <a:gd name="connsiteY75" fmla="*/ 375365 h 440645"/>
              <a:gd name="connsiteX76" fmla="*/ 107391 w 441668"/>
              <a:gd name="connsiteY76" fmla="*/ 401583 h 440645"/>
              <a:gd name="connsiteX77" fmla="*/ 110844 w 441668"/>
              <a:gd name="connsiteY77" fmla="*/ 413020 h 440645"/>
              <a:gd name="connsiteX78" fmla="*/ 123036 w 441668"/>
              <a:gd name="connsiteY78" fmla="*/ 419493 h 440645"/>
              <a:gd name="connsiteX79" fmla="*/ 134473 w 441668"/>
              <a:gd name="connsiteY79" fmla="*/ 416041 h 440645"/>
              <a:gd name="connsiteX80" fmla="*/ 148391 w 441668"/>
              <a:gd name="connsiteY80" fmla="*/ 389822 h 440645"/>
              <a:gd name="connsiteX81" fmla="*/ 176875 w 441668"/>
              <a:gd name="connsiteY81" fmla="*/ 399317 h 440645"/>
              <a:gd name="connsiteX82" fmla="*/ 172236 w 441668"/>
              <a:gd name="connsiteY82" fmla="*/ 428664 h 440645"/>
              <a:gd name="connsiteX83" fmla="*/ 179249 w 441668"/>
              <a:gd name="connsiteY83" fmla="*/ 438375 h 440645"/>
              <a:gd name="connsiteX84" fmla="*/ 192952 w 441668"/>
              <a:gd name="connsiteY84" fmla="*/ 440533 h 440645"/>
              <a:gd name="connsiteX85" fmla="*/ 202662 w 441668"/>
              <a:gd name="connsiteY85" fmla="*/ 433520 h 440645"/>
              <a:gd name="connsiteX86" fmla="*/ 207301 w 441668"/>
              <a:gd name="connsiteY86" fmla="*/ 404172 h 440645"/>
              <a:gd name="connsiteX87" fmla="*/ 220680 w 441668"/>
              <a:gd name="connsiteY87" fmla="*/ 404712 h 440645"/>
              <a:gd name="connsiteX88" fmla="*/ 237296 w 441668"/>
              <a:gd name="connsiteY88" fmla="*/ 403957 h 440645"/>
              <a:gd name="connsiteX89" fmla="*/ 242475 w 441668"/>
              <a:gd name="connsiteY89" fmla="*/ 433196 h 440645"/>
              <a:gd name="connsiteX90" fmla="*/ 252294 w 441668"/>
              <a:gd name="connsiteY90" fmla="*/ 440101 h 440645"/>
              <a:gd name="connsiteX91" fmla="*/ 265888 w 441668"/>
              <a:gd name="connsiteY91" fmla="*/ 437727 h 440645"/>
              <a:gd name="connsiteX92" fmla="*/ 272793 w 441668"/>
              <a:gd name="connsiteY92" fmla="*/ 427909 h 440645"/>
              <a:gd name="connsiteX93" fmla="*/ 267614 w 441668"/>
              <a:gd name="connsiteY93" fmla="*/ 398670 h 440645"/>
              <a:gd name="connsiteX94" fmla="*/ 295883 w 441668"/>
              <a:gd name="connsiteY94" fmla="*/ 388636 h 440645"/>
              <a:gd name="connsiteX95" fmla="*/ 310233 w 441668"/>
              <a:gd name="connsiteY95" fmla="*/ 414638 h 440645"/>
              <a:gd name="connsiteX96" fmla="*/ 321778 w 441668"/>
              <a:gd name="connsiteY96" fmla="*/ 417983 h 440645"/>
              <a:gd name="connsiteX97" fmla="*/ 333862 w 441668"/>
              <a:gd name="connsiteY97" fmla="*/ 411293 h 440645"/>
              <a:gd name="connsiteX98" fmla="*/ 337206 w 441668"/>
              <a:gd name="connsiteY98" fmla="*/ 399749 h 440645"/>
              <a:gd name="connsiteX99" fmla="*/ 322856 w 441668"/>
              <a:gd name="connsiteY99" fmla="*/ 373746 h 440645"/>
              <a:gd name="connsiteX100" fmla="*/ 346269 w 441668"/>
              <a:gd name="connsiteY100" fmla="*/ 355080 h 440645"/>
              <a:gd name="connsiteX101" fmla="*/ 368388 w 441668"/>
              <a:gd name="connsiteY101" fmla="*/ 374933 h 440645"/>
              <a:gd name="connsiteX102" fmla="*/ 380364 w 441668"/>
              <a:gd name="connsiteY102" fmla="*/ 374286 h 440645"/>
              <a:gd name="connsiteX103" fmla="*/ 389643 w 441668"/>
              <a:gd name="connsiteY103" fmla="*/ 364036 h 440645"/>
              <a:gd name="connsiteX104" fmla="*/ 388996 w 441668"/>
              <a:gd name="connsiteY104" fmla="*/ 352059 h 440645"/>
              <a:gd name="connsiteX105" fmla="*/ 366877 w 441668"/>
              <a:gd name="connsiteY105" fmla="*/ 332207 h 440645"/>
              <a:gd name="connsiteX106" fmla="*/ 383062 w 441668"/>
              <a:gd name="connsiteY106" fmla="*/ 306960 h 440645"/>
              <a:gd name="connsiteX107" fmla="*/ 410359 w 441668"/>
              <a:gd name="connsiteY107" fmla="*/ 318612 h 440645"/>
              <a:gd name="connsiteX108" fmla="*/ 421472 w 441668"/>
              <a:gd name="connsiteY108" fmla="*/ 314081 h 440645"/>
              <a:gd name="connsiteX109" fmla="*/ 426867 w 441668"/>
              <a:gd name="connsiteY109" fmla="*/ 301349 h 440645"/>
              <a:gd name="connsiteX110" fmla="*/ 422335 w 441668"/>
              <a:gd name="connsiteY110" fmla="*/ 290236 h 440645"/>
              <a:gd name="connsiteX111" fmla="*/ 395038 w 441668"/>
              <a:gd name="connsiteY111" fmla="*/ 278691 h 440645"/>
              <a:gd name="connsiteX112" fmla="*/ 402051 w 441668"/>
              <a:gd name="connsiteY112" fmla="*/ 249560 h 440645"/>
              <a:gd name="connsiteX113" fmla="*/ 431614 w 441668"/>
              <a:gd name="connsiteY113" fmla="*/ 251610 h 440645"/>
              <a:gd name="connsiteX114" fmla="*/ 440677 w 441668"/>
              <a:gd name="connsiteY114" fmla="*/ 243733 h 440645"/>
              <a:gd name="connsiteX115" fmla="*/ 441648 w 441668"/>
              <a:gd name="connsiteY115" fmla="*/ 229923 h 440645"/>
              <a:gd name="connsiteX116" fmla="*/ 433772 w 441668"/>
              <a:gd name="connsiteY116" fmla="*/ 220860 h 440645"/>
              <a:gd name="connsiteX117" fmla="*/ 220465 w 441668"/>
              <a:gd name="connsiteY117" fmla="*/ 324007 h 440645"/>
              <a:gd name="connsiteX118" fmla="*/ 117426 w 441668"/>
              <a:gd name="connsiteY118" fmla="*/ 220968 h 440645"/>
              <a:gd name="connsiteX119" fmla="*/ 220465 w 441668"/>
              <a:gd name="connsiteY119" fmla="*/ 117929 h 440645"/>
              <a:gd name="connsiteX120" fmla="*/ 323504 w 441668"/>
              <a:gd name="connsiteY120" fmla="*/ 220968 h 440645"/>
              <a:gd name="connsiteX121" fmla="*/ 220465 w 441668"/>
              <a:gd name="connsiteY121" fmla="*/ 324007 h 440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441668" h="440645">
                <a:moveTo>
                  <a:pt x="433556" y="220536"/>
                </a:moveTo>
                <a:lnTo>
                  <a:pt x="403885" y="218486"/>
                </a:lnTo>
                <a:cubicBezTo>
                  <a:pt x="403777" y="208344"/>
                  <a:pt x="402806" y="198310"/>
                  <a:pt x="401080" y="188599"/>
                </a:cubicBezTo>
                <a:lnTo>
                  <a:pt x="429780" y="180939"/>
                </a:lnTo>
                <a:cubicBezTo>
                  <a:pt x="434311" y="179752"/>
                  <a:pt x="437009" y="175113"/>
                  <a:pt x="435714" y="170581"/>
                </a:cubicBezTo>
                <a:lnTo>
                  <a:pt x="432153" y="157202"/>
                </a:lnTo>
                <a:cubicBezTo>
                  <a:pt x="430967" y="152671"/>
                  <a:pt x="426327" y="149973"/>
                  <a:pt x="421796" y="151268"/>
                </a:cubicBezTo>
                <a:lnTo>
                  <a:pt x="393096" y="158928"/>
                </a:lnTo>
                <a:cubicBezTo>
                  <a:pt x="389643" y="149434"/>
                  <a:pt x="385435" y="140371"/>
                  <a:pt x="380580" y="131631"/>
                </a:cubicBezTo>
                <a:lnTo>
                  <a:pt x="405180" y="115015"/>
                </a:lnTo>
                <a:cubicBezTo>
                  <a:pt x="409064" y="112426"/>
                  <a:pt x="410035" y="107139"/>
                  <a:pt x="407445" y="103255"/>
                </a:cubicBezTo>
                <a:lnTo>
                  <a:pt x="399677" y="91818"/>
                </a:lnTo>
                <a:cubicBezTo>
                  <a:pt x="397088" y="87934"/>
                  <a:pt x="391801" y="86963"/>
                  <a:pt x="387917" y="89552"/>
                </a:cubicBezTo>
                <a:lnTo>
                  <a:pt x="363317" y="106168"/>
                </a:lnTo>
                <a:cubicBezTo>
                  <a:pt x="357059" y="98400"/>
                  <a:pt x="350154" y="91063"/>
                  <a:pt x="342709" y="84373"/>
                </a:cubicBezTo>
                <a:lnTo>
                  <a:pt x="360619" y="60637"/>
                </a:lnTo>
                <a:cubicBezTo>
                  <a:pt x="363425" y="56860"/>
                  <a:pt x="362669" y="51574"/>
                  <a:pt x="359001" y="48768"/>
                </a:cubicBezTo>
                <a:lnTo>
                  <a:pt x="347996" y="40460"/>
                </a:lnTo>
                <a:cubicBezTo>
                  <a:pt x="344219" y="37655"/>
                  <a:pt x="338933" y="38410"/>
                  <a:pt x="336127" y="42079"/>
                </a:cubicBezTo>
                <a:lnTo>
                  <a:pt x="318217" y="65816"/>
                </a:lnTo>
                <a:cubicBezTo>
                  <a:pt x="309801" y="60529"/>
                  <a:pt x="300954" y="55781"/>
                  <a:pt x="291675" y="51897"/>
                </a:cubicBezTo>
                <a:lnTo>
                  <a:pt x="300846" y="23737"/>
                </a:lnTo>
                <a:cubicBezTo>
                  <a:pt x="302248" y="19313"/>
                  <a:pt x="299875" y="14566"/>
                  <a:pt x="295451" y="13055"/>
                </a:cubicBezTo>
                <a:lnTo>
                  <a:pt x="282288" y="8739"/>
                </a:lnTo>
                <a:cubicBezTo>
                  <a:pt x="277864" y="7337"/>
                  <a:pt x="273117" y="9711"/>
                  <a:pt x="271606" y="14134"/>
                </a:cubicBezTo>
                <a:lnTo>
                  <a:pt x="262436" y="42402"/>
                </a:lnTo>
                <a:cubicBezTo>
                  <a:pt x="253804" y="40353"/>
                  <a:pt x="244956" y="38950"/>
                  <a:pt x="236001" y="38195"/>
                </a:cubicBezTo>
                <a:lnTo>
                  <a:pt x="236001" y="8416"/>
                </a:lnTo>
                <a:cubicBezTo>
                  <a:pt x="236001" y="3776"/>
                  <a:pt x="232225" y="0"/>
                  <a:pt x="227586" y="0"/>
                </a:cubicBezTo>
                <a:lnTo>
                  <a:pt x="213775" y="0"/>
                </a:lnTo>
                <a:cubicBezTo>
                  <a:pt x="209136" y="0"/>
                  <a:pt x="205359" y="3776"/>
                  <a:pt x="205359" y="8416"/>
                </a:cubicBezTo>
                <a:lnTo>
                  <a:pt x="205359" y="38195"/>
                </a:lnTo>
                <a:cubicBezTo>
                  <a:pt x="195217" y="39058"/>
                  <a:pt x="185291" y="40676"/>
                  <a:pt x="175796" y="43050"/>
                </a:cubicBezTo>
                <a:lnTo>
                  <a:pt x="166086" y="14997"/>
                </a:lnTo>
                <a:cubicBezTo>
                  <a:pt x="164575" y="10574"/>
                  <a:pt x="159720" y="8200"/>
                  <a:pt x="155296" y="9711"/>
                </a:cubicBezTo>
                <a:lnTo>
                  <a:pt x="142241" y="14242"/>
                </a:lnTo>
                <a:cubicBezTo>
                  <a:pt x="137817" y="15753"/>
                  <a:pt x="135444" y="20608"/>
                  <a:pt x="136954" y="25031"/>
                </a:cubicBezTo>
                <a:lnTo>
                  <a:pt x="146665" y="53084"/>
                </a:lnTo>
                <a:cubicBezTo>
                  <a:pt x="137494" y="57184"/>
                  <a:pt x="128646" y="61931"/>
                  <a:pt x="120339" y="67434"/>
                </a:cubicBezTo>
                <a:lnTo>
                  <a:pt x="101996" y="44021"/>
                </a:lnTo>
                <a:cubicBezTo>
                  <a:pt x="99083" y="40353"/>
                  <a:pt x="93797" y="39705"/>
                  <a:pt x="90128" y="42510"/>
                </a:cubicBezTo>
                <a:lnTo>
                  <a:pt x="79231" y="51034"/>
                </a:lnTo>
                <a:cubicBezTo>
                  <a:pt x="75563" y="53947"/>
                  <a:pt x="74915" y="59234"/>
                  <a:pt x="77720" y="62902"/>
                </a:cubicBezTo>
                <a:lnTo>
                  <a:pt x="96062" y="86315"/>
                </a:lnTo>
                <a:cubicBezTo>
                  <a:pt x="88726" y="93113"/>
                  <a:pt x="81928" y="100558"/>
                  <a:pt x="75778" y="108434"/>
                </a:cubicBezTo>
                <a:lnTo>
                  <a:pt x="50855" y="92250"/>
                </a:lnTo>
                <a:cubicBezTo>
                  <a:pt x="46971" y="89660"/>
                  <a:pt x="41684" y="90847"/>
                  <a:pt x="39202" y="94731"/>
                </a:cubicBezTo>
                <a:lnTo>
                  <a:pt x="31649" y="106384"/>
                </a:lnTo>
                <a:cubicBezTo>
                  <a:pt x="29060" y="110268"/>
                  <a:pt x="30247" y="115555"/>
                  <a:pt x="34131" y="118144"/>
                </a:cubicBezTo>
                <a:lnTo>
                  <a:pt x="59055" y="134329"/>
                </a:lnTo>
                <a:cubicBezTo>
                  <a:pt x="54307" y="143068"/>
                  <a:pt x="50315" y="152347"/>
                  <a:pt x="47078" y="161842"/>
                </a:cubicBezTo>
                <a:lnTo>
                  <a:pt x="18271" y="154613"/>
                </a:lnTo>
                <a:cubicBezTo>
                  <a:pt x="13739" y="153534"/>
                  <a:pt x="9100" y="156231"/>
                  <a:pt x="8021" y="160763"/>
                </a:cubicBezTo>
                <a:lnTo>
                  <a:pt x="4676" y="174249"/>
                </a:lnTo>
                <a:cubicBezTo>
                  <a:pt x="3597" y="178781"/>
                  <a:pt x="6294" y="183420"/>
                  <a:pt x="10826" y="184499"/>
                </a:cubicBezTo>
                <a:lnTo>
                  <a:pt x="39634" y="191728"/>
                </a:lnTo>
                <a:cubicBezTo>
                  <a:pt x="38123" y="201223"/>
                  <a:pt x="37260" y="211041"/>
                  <a:pt x="37260" y="221076"/>
                </a:cubicBezTo>
                <a:cubicBezTo>
                  <a:pt x="37260" y="221291"/>
                  <a:pt x="37260" y="221507"/>
                  <a:pt x="37260" y="221723"/>
                </a:cubicBezTo>
                <a:lnTo>
                  <a:pt x="7697" y="224312"/>
                </a:lnTo>
                <a:cubicBezTo>
                  <a:pt x="3057" y="224744"/>
                  <a:pt x="-395" y="228844"/>
                  <a:pt x="36" y="233483"/>
                </a:cubicBezTo>
                <a:lnTo>
                  <a:pt x="1223" y="247294"/>
                </a:lnTo>
                <a:cubicBezTo>
                  <a:pt x="1655" y="251933"/>
                  <a:pt x="5755" y="255386"/>
                  <a:pt x="10394" y="254954"/>
                </a:cubicBezTo>
                <a:lnTo>
                  <a:pt x="39957" y="252365"/>
                </a:lnTo>
                <a:cubicBezTo>
                  <a:pt x="41684" y="262399"/>
                  <a:pt x="44165" y="272110"/>
                  <a:pt x="47402" y="281389"/>
                </a:cubicBezTo>
                <a:lnTo>
                  <a:pt x="20321" y="293473"/>
                </a:lnTo>
                <a:cubicBezTo>
                  <a:pt x="16005" y="295415"/>
                  <a:pt x="14171" y="300378"/>
                  <a:pt x="16005" y="304694"/>
                </a:cubicBezTo>
                <a:lnTo>
                  <a:pt x="21615" y="317317"/>
                </a:lnTo>
                <a:cubicBezTo>
                  <a:pt x="23557" y="321633"/>
                  <a:pt x="28520" y="323467"/>
                  <a:pt x="32836" y="321633"/>
                </a:cubicBezTo>
                <a:lnTo>
                  <a:pt x="59918" y="309549"/>
                </a:lnTo>
                <a:cubicBezTo>
                  <a:pt x="64773" y="318396"/>
                  <a:pt x="70383" y="326704"/>
                  <a:pt x="76534" y="334580"/>
                </a:cubicBezTo>
                <a:lnTo>
                  <a:pt x="54739" y="354865"/>
                </a:lnTo>
                <a:cubicBezTo>
                  <a:pt x="51286" y="358101"/>
                  <a:pt x="51178" y="363388"/>
                  <a:pt x="54307" y="366841"/>
                </a:cubicBezTo>
                <a:lnTo>
                  <a:pt x="63802" y="376983"/>
                </a:lnTo>
                <a:cubicBezTo>
                  <a:pt x="67039" y="380436"/>
                  <a:pt x="72325" y="380543"/>
                  <a:pt x="75778" y="377415"/>
                </a:cubicBezTo>
                <a:lnTo>
                  <a:pt x="97465" y="357130"/>
                </a:lnTo>
                <a:cubicBezTo>
                  <a:pt x="104910" y="363820"/>
                  <a:pt x="112894" y="369970"/>
                  <a:pt x="121310" y="375365"/>
                </a:cubicBezTo>
                <a:lnTo>
                  <a:pt x="107391" y="401583"/>
                </a:lnTo>
                <a:cubicBezTo>
                  <a:pt x="105233" y="405683"/>
                  <a:pt x="106744" y="410862"/>
                  <a:pt x="110844" y="413020"/>
                </a:cubicBezTo>
                <a:lnTo>
                  <a:pt x="123036" y="419493"/>
                </a:lnTo>
                <a:cubicBezTo>
                  <a:pt x="127136" y="421651"/>
                  <a:pt x="132315" y="420141"/>
                  <a:pt x="134473" y="416041"/>
                </a:cubicBezTo>
                <a:lnTo>
                  <a:pt x="148391" y="389822"/>
                </a:lnTo>
                <a:cubicBezTo>
                  <a:pt x="157562" y="393707"/>
                  <a:pt x="167057" y="396943"/>
                  <a:pt x="176875" y="399317"/>
                </a:cubicBezTo>
                <a:lnTo>
                  <a:pt x="172236" y="428664"/>
                </a:lnTo>
                <a:cubicBezTo>
                  <a:pt x="171480" y="433304"/>
                  <a:pt x="174609" y="437620"/>
                  <a:pt x="179249" y="438375"/>
                </a:cubicBezTo>
                <a:lnTo>
                  <a:pt x="192952" y="440533"/>
                </a:lnTo>
                <a:cubicBezTo>
                  <a:pt x="197591" y="441288"/>
                  <a:pt x="201907" y="438159"/>
                  <a:pt x="202662" y="433520"/>
                </a:cubicBezTo>
                <a:lnTo>
                  <a:pt x="207301" y="404172"/>
                </a:lnTo>
                <a:cubicBezTo>
                  <a:pt x="211725" y="404496"/>
                  <a:pt x="216149" y="404712"/>
                  <a:pt x="220680" y="404712"/>
                </a:cubicBezTo>
                <a:cubicBezTo>
                  <a:pt x="226291" y="404712"/>
                  <a:pt x="231793" y="404388"/>
                  <a:pt x="237296" y="403957"/>
                </a:cubicBezTo>
                <a:lnTo>
                  <a:pt x="242475" y="433196"/>
                </a:lnTo>
                <a:cubicBezTo>
                  <a:pt x="243338" y="437835"/>
                  <a:pt x="247654" y="440856"/>
                  <a:pt x="252294" y="440101"/>
                </a:cubicBezTo>
                <a:lnTo>
                  <a:pt x="265888" y="437727"/>
                </a:lnTo>
                <a:cubicBezTo>
                  <a:pt x="270528" y="436864"/>
                  <a:pt x="273549" y="432549"/>
                  <a:pt x="272793" y="427909"/>
                </a:cubicBezTo>
                <a:lnTo>
                  <a:pt x="267614" y="398670"/>
                </a:lnTo>
                <a:cubicBezTo>
                  <a:pt x="277433" y="396080"/>
                  <a:pt x="286820" y="392736"/>
                  <a:pt x="295883" y="388636"/>
                </a:cubicBezTo>
                <a:lnTo>
                  <a:pt x="310233" y="414638"/>
                </a:lnTo>
                <a:cubicBezTo>
                  <a:pt x="312498" y="418738"/>
                  <a:pt x="317678" y="420249"/>
                  <a:pt x="321778" y="417983"/>
                </a:cubicBezTo>
                <a:lnTo>
                  <a:pt x="333862" y="411293"/>
                </a:lnTo>
                <a:cubicBezTo>
                  <a:pt x="337962" y="409028"/>
                  <a:pt x="339472" y="403849"/>
                  <a:pt x="337206" y="399749"/>
                </a:cubicBezTo>
                <a:lnTo>
                  <a:pt x="322856" y="373746"/>
                </a:lnTo>
                <a:cubicBezTo>
                  <a:pt x="331164" y="368136"/>
                  <a:pt x="339040" y="361878"/>
                  <a:pt x="346269" y="355080"/>
                </a:cubicBezTo>
                <a:lnTo>
                  <a:pt x="368388" y="374933"/>
                </a:lnTo>
                <a:cubicBezTo>
                  <a:pt x="371840" y="378062"/>
                  <a:pt x="377235" y="377738"/>
                  <a:pt x="380364" y="374286"/>
                </a:cubicBezTo>
                <a:lnTo>
                  <a:pt x="389643" y="364036"/>
                </a:lnTo>
                <a:cubicBezTo>
                  <a:pt x="392772" y="360583"/>
                  <a:pt x="392448" y="355188"/>
                  <a:pt x="388996" y="352059"/>
                </a:cubicBezTo>
                <a:lnTo>
                  <a:pt x="366877" y="332207"/>
                </a:lnTo>
                <a:cubicBezTo>
                  <a:pt x="372919" y="324223"/>
                  <a:pt x="378314" y="315807"/>
                  <a:pt x="383062" y="306960"/>
                </a:cubicBezTo>
                <a:lnTo>
                  <a:pt x="410359" y="318612"/>
                </a:lnTo>
                <a:cubicBezTo>
                  <a:pt x="414674" y="320446"/>
                  <a:pt x="419638" y="318396"/>
                  <a:pt x="421472" y="314081"/>
                </a:cubicBezTo>
                <a:lnTo>
                  <a:pt x="426867" y="301349"/>
                </a:lnTo>
                <a:cubicBezTo>
                  <a:pt x="428701" y="297033"/>
                  <a:pt x="426651" y="292070"/>
                  <a:pt x="422335" y="290236"/>
                </a:cubicBezTo>
                <a:lnTo>
                  <a:pt x="395038" y="278691"/>
                </a:lnTo>
                <a:cubicBezTo>
                  <a:pt x="398167" y="269304"/>
                  <a:pt x="400540" y="259486"/>
                  <a:pt x="402051" y="249560"/>
                </a:cubicBezTo>
                <a:lnTo>
                  <a:pt x="431614" y="251610"/>
                </a:lnTo>
                <a:cubicBezTo>
                  <a:pt x="436253" y="251933"/>
                  <a:pt x="440353" y="248373"/>
                  <a:pt x="440677" y="243733"/>
                </a:cubicBezTo>
                <a:lnTo>
                  <a:pt x="441648" y="229923"/>
                </a:lnTo>
                <a:cubicBezTo>
                  <a:pt x="441972" y="225284"/>
                  <a:pt x="438411" y="221183"/>
                  <a:pt x="433772" y="220860"/>
                </a:cubicBezTo>
                <a:close/>
                <a:moveTo>
                  <a:pt x="220465" y="324007"/>
                </a:moveTo>
                <a:cubicBezTo>
                  <a:pt x="163604" y="324007"/>
                  <a:pt x="117426" y="277936"/>
                  <a:pt x="117426" y="220968"/>
                </a:cubicBezTo>
                <a:cubicBezTo>
                  <a:pt x="117426" y="163999"/>
                  <a:pt x="163496" y="117929"/>
                  <a:pt x="220465" y="117929"/>
                </a:cubicBezTo>
                <a:cubicBezTo>
                  <a:pt x="277433" y="117929"/>
                  <a:pt x="323504" y="163999"/>
                  <a:pt x="323504" y="220968"/>
                </a:cubicBezTo>
                <a:cubicBezTo>
                  <a:pt x="323504" y="277936"/>
                  <a:pt x="277433" y="324007"/>
                  <a:pt x="220465" y="324007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" name="Полилиния: фигура 59">
            <a:extLst>
              <a:ext uri="{FF2B5EF4-FFF2-40B4-BE49-F238E27FC236}">
                <a16:creationId xmlns:a16="http://schemas.microsoft.com/office/drawing/2014/main" id="{CC026488-E9D2-40AE-A7FA-06FCB1EFCA7B}"/>
              </a:ext>
            </a:extLst>
          </p:cNvPr>
          <p:cNvSpPr/>
          <p:nvPr/>
        </p:nvSpPr>
        <p:spPr>
          <a:xfrm>
            <a:off x="1224981" y="1174605"/>
            <a:ext cx="936954" cy="64520"/>
          </a:xfrm>
          <a:custGeom>
            <a:avLst/>
            <a:gdLst>
              <a:gd name="connsiteX0" fmla="*/ 904694 w 936954"/>
              <a:gd name="connsiteY0" fmla="*/ 64521 h 64520"/>
              <a:gd name="connsiteX1" fmla="*/ 32260 w 936954"/>
              <a:gd name="connsiteY1" fmla="*/ 64521 h 64520"/>
              <a:gd name="connsiteX2" fmla="*/ 0 w 936954"/>
              <a:gd name="connsiteY2" fmla="*/ 32260 h 64520"/>
              <a:gd name="connsiteX3" fmla="*/ 0 w 936954"/>
              <a:gd name="connsiteY3" fmla="*/ 32260 h 64520"/>
              <a:gd name="connsiteX4" fmla="*/ 32260 w 936954"/>
              <a:gd name="connsiteY4" fmla="*/ 0 h 64520"/>
              <a:gd name="connsiteX5" fmla="*/ 904694 w 936954"/>
              <a:gd name="connsiteY5" fmla="*/ 0 h 64520"/>
              <a:gd name="connsiteX6" fmla="*/ 936955 w 936954"/>
              <a:gd name="connsiteY6" fmla="*/ 32260 h 64520"/>
              <a:gd name="connsiteX7" fmla="*/ 936955 w 936954"/>
              <a:gd name="connsiteY7" fmla="*/ 32260 h 64520"/>
              <a:gd name="connsiteX8" fmla="*/ 904694 w 936954"/>
              <a:gd name="connsiteY8" fmla="*/ 64521 h 6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954" h="64520">
                <a:moveTo>
                  <a:pt x="904694" y="64521"/>
                </a:moveTo>
                <a:lnTo>
                  <a:pt x="32260" y="64521"/>
                </a:lnTo>
                <a:cubicBezTo>
                  <a:pt x="14458" y="64521"/>
                  <a:pt x="0" y="50063"/>
                  <a:pt x="0" y="32260"/>
                </a:cubicBezTo>
                <a:lnTo>
                  <a:pt x="0" y="32260"/>
                </a:lnTo>
                <a:cubicBezTo>
                  <a:pt x="0" y="14458"/>
                  <a:pt x="14458" y="0"/>
                  <a:pt x="32260" y="0"/>
                </a:cubicBezTo>
                <a:lnTo>
                  <a:pt x="904694" y="0"/>
                </a:lnTo>
                <a:cubicBezTo>
                  <a:pt x="922497" y="0"/>
                  <a:pt x="936955" y="14458"/>
                  <a:pt x="936955" y="32260"/>
                </a:cubicBezTo>
                <a:lnTo>
                  <a:pt x="936955" y="32260"/>
                </a:lnTo>
                <a:cubicBezTo>
                  <a:pt x="936955" y="50063"/>
                  <a:pt x="922497" y="64521"/>
                  <a:pt x="904694" y="64521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1" name="Полилиния: фигура 60">
            <a:extLst>
              <a:ext uri="{FF2B5EF4-FFF2-40B4-BE49-F238E27FC236}">
                <a16:creationId xmlns:a16="http://schemas.microsoft.com/office/drawing/2014/main" id="{0317E4C3-24F4-4420-A3FA-EB4CADB025A6}"/>
              </a:ext>
            </a:extLst>
          </p:cNvPr>
          <p:cNvSpPr/>
          <p:nvPr/>
        </p:nvSpPr>
        <p:spPr>
          <a:xfrm>
            <a:off x="1438126" y="1173850"/>
            <a:ext cx="65815" cy="65815"/>
          </a:xfrm>
          <a:custGeom>
            <a:avLst/>
            <a:gdLst>
              <a:gd name="connsiteX0" fmla="*/ 65816 w 65815"/>
              <a:gd name="connsiteY0" fmla="*/ 32908 h 65815"/>
              <a:gd name="connsiteX1" fmla="*/ 32908 w 65815"/>
              <a:gd name="connsiteY1" fmla="*/ 65816 h 65815"/>
              <a:gd name="connsiteX2" fmla="*/ 0 w 65815"/>
              <a:gd name="connsiteY2" fmla="*/ 32908 h 65815"/>
              <a:gd name="connsiteX3" fmla="*/ 32908 w 65815"/>
              <a:gd name="connsiteY3" fmla="*/ 0 h 65815"/>
              <a:gd name="connsiteX4" fmla="*/ 65816 w 65815"/>
              <a:gd name="connsiteY4" fmla="*/ 32908 h 6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15" h="65815">
                <a:moveTo>
                  <a:pt x="65816" y="32908"/>
                </a:moveTo>
                <a:cubicBezTo>
                  <a:pt x="65816" y="51082"/>
                  <a:pt x="51082" y="65816"/>
                  <a:pt x="32908" y="65816"/>
                </a:cubicBezTo>
                <a:cubicBezTo>
                  <a:pt x="14733" y="65816"/>
                  <a:pt x="0" y="51082"/>
                  <a:pt x="0" y="32908"/>
                </a:cubicBezTo>
                <a:cubicBezTo>
                  <a:pt x="0" y="14733"/>
                  <a:pt x="14733" y="0"/>
                  <a:pt x="32908" y="0"/>
                </a:cubicBezTo>
                <a:cubicBezTo>
                  <a:pt x="51082" y="0"/>
                  <a:pt x="65816" y="14733"/>
                  <a:pt x="65816" y="32908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Полилиния: фигура 62">
            <a:extLst>
              <a:ext uri="{FF2B5EF4-FFF2-40B4-BE49-F238E27FC236}">
                <a16:creationId xmlns:a16="http://schemas.microsoft.com/office/drawing/2014/main" id="{23B24FF6-3FA5-4343-B2D5-E3C2D14695A2}"/>
              </a:ext>
            </a:extLst>
          </p:cNvPr>
          <p:cNvSpPr/>
          <p:nvPr/>
        </p:nvSpPr>
        <p:spPr>
          <a:xfrm>
            <a:off x="1224981" y="1062611"/>
            <a:ext cx="936954" cy="64520"/>
          </a:xfrm>
          <a:custGeom>
            <a:avLst/>
            <a:gdLst>
              <a:gd name="connsiteX0" fmla="*/ 904694 w 936954"/>
              <a:gd name="connsiteY0" fmla="*/ 64521 h 64520"/>
              <a:gd name="connsiteX1" fmla="*/ 32260 w 936954"/>
              <a:gd name="connsiteY1" fmla="*/ 64521 h 64520"/>
              <a:gd name="connsiteX2" fmla="*/ 0 w 936954"/>
              <a:gd name="connsiteY2" fmla="*/ 32260 h 64520"/>
              <a:gd name="connsiteX3" fmla="*/ 0 w 936954"/>
              <a:gd name="connsiteY3" fmla="*/ 32260 h 64520"/>
              <a:gd name="connsiteX4" fmla="*/ 32260 w 936954"/>
              <a:gd name="connsiteY4" fmla="*/ 0 h 64520"/>
              <a:gd name="connsiteX5" fmla="*/ 904694 w 936954"/>
              <a:gd name="connsiteY5" fmla="*/ 0 h 64520"/>
              <a:gd name="connsiteX6" fmla="*/ 936955 w 936954"/>
              <a:gd name="connsiteY6" fmla="*/ 32260 h 64520"/>
              <a:gd name="connsiteX7" fmla="*/ 936955 w 936954"/>
              <a:gd name="connsiteY7" fmla="*/ 32260 h 64520"/>
              <a:gd name="connsiteX8" fmla="*/ 904694 w 936954"/>
              <a:gd name="connsiteY8" fmla="*/ 64521 h 6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6954" h="64520">
                <a:moveTo>
                  <a:pt x="904694" y="64521"/>
                </a:moveTo>
                <a:lnTo>
                  <a:pt x="32260" y="64521"/>
                </a:lnTo>
                <a:cubicBezTo>
                  <a:pt x="14458" y="64521"/>
                  <a:pt x="0" y="50063"/>
                  <a:pt x="0" y="32260"/>
                </a:cubicBezTo>
                <a:lnTo>
                  <a:pt x="0" y="32260"/>
                </a:lnTo>
                <a:cubicBezTo>
                  <a:pt x="0" y="14458"/>
                  <a:pt x="14458" y="0"/>
                  <a:pt x="32260" y="0"/>
                </a:cubicBezTo>
                <a:lnTo>
                  <a:pt x="904694" y="0"/>
                </a:lnTo>
                <a:cubicBezTo>
                  <a:pt x="922497" y="0"/>
                  <a:pt x="936955" y="14458"/>
                  <a:pt x="936955" y="32260"/>
                </a:cubicBezTo>
                <a:lnTo>
                  <a:pt x="936955" y="32260"/>
                </a:lnTo>
                <a:cubicBezTo>
                  <a:pt x="936955" y="50063"/>
                  <a:pt x="922497" y="64521"/>
                  <a:pt x="904694" y="64521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80" name="Полилиния: фигура 1279">
            <a:extLst>
              <a:ext uri="{FF2B5EF4-FFF2-40B4-BE49-F238E27FC236}">
                <a16:creationId xmlns:a16="http://schemas.microsoft.com/office/drawing/2014/main" id="{4BB3D340-59FE-4AD3-855E-C96262B55095}"/>
              </a:ext>
            </a:extLst>
          </p:cNvPr>
          <p:cNvSpPr/>
          <p:nvPr/>
        </p:nvSpPr>
        <p:spPr>
          <a:xfrm>
            <a:off x="2010560" y="1061856"/>
            <a:ext cx="65815" cy="65815"/>
          </a:xfrm>
          <a:custGeom>
            <a:avLst/>
            <a:gdLst>
              <a:gd name="connsiteX0" fmla="*/ 65816 w 65815"/>
              <a:gd name="connsiteY0" fmla="*/ 32908 h 65815"/>
              <a:gd name="connsiteX1" fmla="*/ 32908 w 65815"/>
              <a:gd name="connsiteY1" fmla="*/ 65816 h 65815"/>
              <a:gd name="connsiteX2" fmla="*/ 0 w 65815"/>
              <a:gd name="connsiteY2" fmla="*/ 32908 h 65815"/>
              <a:gd name="connsiteX3" fmla="*/ 32908 w 65815"/>
              <a:gd name="connsiteY3" fmla="*/ 0 h 65815"/>
              <a:gd name="connsiteX4" fmla="*/ 65816 w 65815"/>
              <a:gd name="connsiteY4" fmla="*/ 32908 h 6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15" h="65815">
                <a:moveTo>
                  <a:pt x="65816" y="32908"/>
                </a:moveTo>
                <a:cubicBezTo>
                  <a:pt x="65816" y="51082"/>
                  <a:pt x="51082" y="65816"/>
                  <a:pt x="32908" y="65816"/>
                </a:cubicBezTo>
                <a:cubicBezTo>
                  <a:pt x="14733" y="65816"/>
                  <a:pt x="0" y="51082"/>
                  <a:pt x="0" y="32908"/>
                </a:cubicBezTo>
                <a:cubicBezTo>
                  <a:pt x="0" y="14733"/>
                  <a:pt x="14733" y="0"/>
                  <a:pt x="32908" y="0"/>
                </a:cubicBezTo>
                <a:cubicBezTo>
                  <a:pt x="51082" y="0"/>
                  <a:pt x="65816" y="14733"/>
                  <a:pt x="65816" y="32908"/>
                </a:cubicBezTo>
                <a:close/>
              </a:path>
            </a:pathLst>
          </a:custGeom>
          <a:noFill/>
          <a:ln w="10454" cap="flat">
            <a:solidFill>
              <a:srgbClr val="B2B2B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82" name="Полилиния: фигура 1281">
            <a:extLst>
              <a:ext uri="{FF2B5EF4-FFF2-40B4-BE49-F238E27FC236}">
                <a16:creationId xmlns:a16="http://schemas.microsoft.com/office/drawing/2014/main" id="{2C241C33-CA5A-4753-8359-B02042CC8B95}"/>
              </a:ext>
            </a:extLst>
          </p:cNvPr>
          <p:cNvSpPr/>
          <p:nvPr/>
        </p:nvSpPr>
        <p:spPr>
          <a:xfrm>
            <a:off x="1322194" y="4803740"/>
            <a:ext cx="3580582" cy="285056"/>
          </a:xfrm>
          <a:custGeom>
            <a:avLst/>
            <a:gdLst>
              <a:gd name="connsiteX0" fmla="*/ 3580583 w 3580582"/>
              <a:gd name="connsiteY0" fmla="*/ 142528 h 285056"/>
              <a:gd name="connsiteX1" fmla="*/ 1790292 w 3580582"/>
              <a:gd name="connsiteY1" fmla="*/ 285057 h 285056"/>
              <a:gd name="connsiteX2" fmla="*/ 0 w 3580582"/>
              <a:gd name="connsiteY2" fmla="*/ 142528 h 285056"/>
              <a:gd name="connsiteX3" fmla="*/ 1790292 w 3580582"/>
              <a:gd name="connsiteY3" fmla="*/ 0 h 285056"/>
              <a:gd name="connsiteX4" fmla="*/ 3580583 w 3580582"/>
              <a:gd name="connsiteY4" fmla="*/ 142528 h 28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80582" h="285056">
                <a:moveTo>
                  <a:pt x="3580583" y="142528"/>
                </a:moveTo>
                <a:cubicBezTo>
                  <a:pt x="3580583" y="221245"/>
                  <a:pt x="2779042" y="285057"/>
                  <a:pt x="1790292" y="285057"/>
                </a:cubicBezTo>
                <a:cubicBezTo>
                  <a:pt x="801541" y="285057"/>
                  <a:pt x="0" y="221245"/>
                  <a:pt x="0" y="142528"/>
                </a:cubicBezTo>
                <a:cubicBezTo>
                  <a:pt x="0" y="63812"/>
                  <a:pt x="801541" y="0"/>
                  <a:pt x="1790292" y="0"/>
                </a:cubicBezTo>
                <a:cubicBezTo>
                  <a:pt x="2779042" y="0"/>
                  <a:pt x="3580583" y="63812"/>
                  <a:pt x="3580583" y="142528"/>
                </a:cubicBezTo>
                <a:close/>
              </a:path>
            </a:pathLst>
          </a:custGeom>
          <a:solidFill>
            <a:srgbClr val="263238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83" name="Полилиния: фигура 1282">
            <a:extLst>
              <a:ext uri="{FF2B5EF4-FFF2-40B4-BE49-F238E27FC236}">
                <a16:creationId xmlns:a16="http://schemas.microsoft.com/office/drawing/2014/main" id="{F4FBD07C-62F0-4F56-8FAE-F4DE8CE416FB}"/>
              </a:ext>
            </a:extLst>
          </p:cNvPr>
          <p:cNvSpPr/>
          <p:nvPr/>
        </p:nvSpPr>
        <p:spPr>
          <a:xfrm>
            <a:off x="1313670" y="1612764"/>
            <a:ext cx="3637874" cy="2098221"/>
          </a:xfrm>
          <a:custGeom>
            <a:avLst/>
            <a:gdLst>
              <a:gd name="connsiteX0" fmla="*/ 0 w 3637874"/>
              <a:gd name="connsiteY0" fmla="*/ 0 h 2098221"/>
              <a:gd name="connsiteX1" fmla="*/ 3637875 w 3637874"/>
              <a:gd name="connsiteY1" fmla="*/ 0 h 2098221"/>
              <a:gd name="connsiteX2" fmla="*/ 3637875 w 3637874"/>
              <a:gd name="connsiteY2" fmla="*/ 2098222 h 2098221"/>
              <a:gd name="connsiteX3" fmla="*/ 0 w 3637874"/>
              <a:gd name="connsiteY3" fmla="*/ 2098222 h 2098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37874" h="2098221">
                <a:moveTo>
                  <a:pt x="0" y="0"/>
                </a:moveTo>
                <a:lnTo>
                  <a:pt x="3637875" y="0"/>
                </a:lnTo>
                <a:lnTo>
                  <a:pt x="3637875" y="2098222"/>
                </a:lnTo>
                <a:lnTo>
                  <a:pt x="0" y="2098222"/>
                </a:lnTo>
                <a:close/>
              </a:path>
            </a:pathLst>
          </a:custGeom>
          <a:solidFill>
            <a:srgbClr val="006D3F"/>
          </a:solidFill>
          <a:ln w="10777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592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2880080" y="1714401"/>
            <a:ext cx="1511600" cy="958533"/>
            <a:chOff x="2880080" y="1714401"/>
            <a:chExt cx="1511600" cy="958533"/>
          </a:xfrm>
        </p:grpSpPr>
        <p:sp>
          <p:nvSpPr>
            <p:cNvPr id="1593" name="Полилиния: фигура 1592">
              <a:extLst>
                <a:ext uri="{FF2B5EF4-FFF2-40B4-BE49-F238E27FC236}">
                  <a16:creationId xmlns:a16="http://schemas.microsoft.com/office/drawing/2014/main" id="{4E63CD7B-0579-42B9-ADDD-60E89D902630}"/>
                </a:ext>
              </a:extLst>
            </p:cNvPr>
            <p:cNvSpPr/>
            <p:nvPr/>
          </p:nvSpPr>
          <p:spPr>
            <a:xfrm>
              <a:off x="2880080" y="1733822"/>
              <a:ext cx="1511600" cy="939112"/>
            </a:xfrm>
            <a:custGeom>
              <a:avLst/>
              <a:gdLst>
                <a:gd name="connsiteX0" fmla="*/ 0 w 1511600"/>
                <a:gd name="connsiteY0" fmla="*/ 0 h 939112"/>
                <a:gd name="connsiteX1" fmla="*/ 1511600 w 1511600"/>
                <a:gd name="connsiteY1" fmla="*/ 0 h 939112"/>
                <a:gd name="connsiteX2" fmla="*/ 1511600 w 1511600"/>
                <a:gd name="connsiteY2" fmla="*/ 939112 h 939112"/>
                <a:gd name="connsiteX3" fmla="*/ 0 w 1511600"/>
                <a:gd name="connsiteY3" fmla="*/ 939112 h 939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1600" h="939112">
                  <a:moveTo>
                    <a:pt x="0" y="0"/>
                  </a:moveTo>
                  <a:lnTo>
                    <a:pt x="1511600" y="0"/>
                  </a:lnTo>
                  <a:lnTo>
                    <a:pt x="1511600" y="939112"/>
                  </a:lnTo>
                  <a:lnTo>
                    <a:pt x="0" y="939112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4" name="Полилиния: фигура 1593">
              <a:extLst>
                <a:ext uri="{FF2B5EF4-FFF2-40B4-BE49-F238E27FC236}">
                  <a16:creationId xmlns:a16="http://schemas.microsoft.com/office/drawing/2014/main" id="{F5F4243B-D4C4-4842-AA1D-F6F28E705D89}"/>
                </a:ext>
              </a:extLst>
            </p:cNvPr>
            <p:cNvSpPr/>
            <p:nvPr/>
          </p:nvSpPr>
          <p:spPr>
            <a:xfrm>
              <a:off x="2880080" y="1733822"/>
              <a:ext cx="1511600" cy="871894"/>
            </a:xfrm>
            <a:custGeom>
              <a:avLst/>
              <a:gdLst>
                <a:gd name="connsiteX0" fmla="*/ 0 w 1511600"/>
                <a:gd name="connsiteY0" fmla="*/ 0 h 871894"/>
                <a:gd name="connsiteX1" fmla="*/ 1511600 w 1511600"/>
                <a:gd name="connsiteY1" fmla="*/ 0 h 871894"/>
                <a:gd name="connsiteX2" fmla="*/ 1511600 w 1511600"/>
                <a:gd name="connsiteY2" fmla="*/ 871894 h 871894"/>
                <a:gd name="connsiteX3" fmla="*/ 0 w 1511600"/>
                <a:gd name="connsiteY3" fmla="*/ 871894 h 87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1600" h="871894">
                  <a:moveTo>
                    <a:pt x="0" y="0"/>
                  </a:moveTo>
                  <a:lnTo>
                    <a:pt x="1511600" y="0"/>
                  </a:lnTo>
                  <a:lnTo>
                    <a:pt x="1511600" y="871894"/>
                  </a:lnTo>
                  <a:lnTo>
                    <a:pt x="0" y="871894"/>
                  </a:ln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95" name="Полилиния: фигура 1594">
              <a:extLst>
                <a:ext uri="{FF2B5EF4-FFF2-40B4-BE49-F238E27FC236}">
                  <a16:creationId xmlns:a16="http://schemas.microsoft.com/office/drawing/2014/main" id="{D1961180-4A56-4D9D-A83A-FD845FF85940}"/>
                </a:ext>
              </a:extLst>
            </p:cNvPr>
            <p:cNvSpPr/>
            <p:nvPr/>
          </p:nvSpPr>
          <p:spPr>
            <a:xfrm>
              <a:off x="2880080" y="1733822"/>
              <a:ext cx="353354" cy="871894"/>
            </a:xfrm>
            <a:custGeom>
              <a:avLst/>
              <a:gdLst>
                <a:gd name="connsiteX0" fmla="*/ 0 w 353354"/>
                <a:gd name="connsiteY0" fmla="*/ 0 h 871894"/>
                <a:gd name="connsiteX1" fmla="*/ 353354 w 353354"/>
                <a:gd name="connsiteY1" fmla="*/ 0 h 871894"/>
                <a:gd name="connsiteX2" fmla="*/ 353354 w 353354"/>
                <a:gd name="connsiteY2" fmla="*/ 871894 h 871894"/>
                <a:gd name="connsiteX3" fmla="*/ 0 w 353354"/>
                <a:gd name="connsiteY3" fmla="*/ 871894 h 87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3354" h="871894">
                  <a:moveTo>
                    <a:pt x="0" y="0"/>
                  </a:moveTo>
                  <a:lnTo>
                    <a:pt x="353354" y="0"/>
                  </a:lnTo>
                  <a:lnTo>
                    <a:pt x="353354" y="871894"/>
                  </a:lnTo>
                  <a:lnTo>
                    <a:pt x="0" y="871894"/>
                  </a:lnTo>
                  <a:close/>
                </a:path>
              </a:pathLst>
            </a:custGeom>
            <a:solidFill>
              <a:srgbClr val="CCCCCC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596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2880080" y="1714401"/>
              <a:ext cx="1511600" cy="244596"/>
              <a:chOff x="2880080" y="1714401"/>
              <a:chExt cx="1511600" cy="244596"/>
            </a:xfrm>
          </p:grpSpPr>
          <p:sp>
            <p:nvSpPr>
              <p:cNvPr id="1597" name="Полилиния: фигура 1596">
                <a:extLst>
                  <a:ext uri="{FF2B5EF4-FFF2-40B4-BE49-F238E27FC236}">
                    <a16:creationId xmlns:a16="http://schemas.microsoft.com/office/drawing/2014/main" id="{39ABCF0A-B0DE-4B32-B770-2A6FFCB5AADD}"/>
                  </a:ext>
                </a:extLst>
              </p:cNvPr>
              <p:cNvSpPr/>
              <p:nvPr/>
            </p:nvSpPr>
            <p:spPr>
              <a:xfrm>
                <a:off x="2880080" y="1714401"/>
                <a:ext cx="1511600" cy="244596"/>
              </a:xfrm>
              <a:custGeom>
                <a:avLst/>
                <a:gdLst>
                  <a:gd name="connsiteX0" fmla="*/ 0 w 1511600"/>
                  <a:gd name="connsiteY0" fmla="*/ 0 h 244596"/>
                  <a:gd name="connsiteX1" fmla="*/ 1511600 w 1511600"/>
                  <a:gd name="connsiteY1" fmla="*/ 0 h 244596"/>
                  <a:gd name="connsiteX2" fmla="*/ 1511600 w 1511600"/>
                  <a:gd name="connsiteY2" fmla="*/ 244597 h 244596"/>
                  <a:gd name="connsiteX3" fmla="*/ 0 w 1511600"/>
                  <a:gd name="connsiteY3" fmla="*/ 244597 h 244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1600" h="244596">
                    <a:moveTo>
                      <a:pt x="0" y="0"/>
                    </a:moveTo>
                    <a:lnTo>
                      <a:pt x="1511600" y="0"/>
                    </a:lnTo>
                    <a:lnTo>
                      <a:pt x="1511600" y="244597"/>
                    </a:lnTo>
                    <a:lnTo>
                      <a:pt x="0" y="244597"/>
                    </a:ln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598" name="Рисунок 2">
                <a:extLst>
                  <a:ext uri="{FF2B5EF4-FFF2-40B4-BE49-F238E27FC236}">
                    <a16:creationId xmlns:a16="http://schemas.microsoft.com/office/drawing/2014/main" id="{6A5E939F-2E60-48FC-B2E3-2F9F53B5A2F9}"/>
                  </a:ext>
                </a:extLst>
              </p:cNvPr>
              <p:cNvGrpSpPr/>
              <p:nvPr/>
            </p:nvGrpSpPr>
            <p:grpSpPr>
              <a:xfrm>
                <a:off x="2926691" y="1746122"/>
                <a:ext cx="160115" cy="29131"/>
                <a:chOff x="2926691" y="1746122"/>
                <a:chExt cx="160115" cy="29131"/>
              </a:xfrm>
              <a:solidFill>
                <a:srgbClr val="006D3F"/>
              </a:solidFill>
            </p:grpSpPr>
            <p:sp>
              <p:nvSpPr>
                <p:cNvPr id="1599" name="Полилиния: фигура 1598">
                  <a:extLst>
                    <a:ext uri="{FF2B5EF4-FFF2-40B4-BE49-F238E27FC236}">
                      <a16:creationId xmlns:a16="http://schemas.microsoft.com/office/drawing/2014/main" id="{9E401D2B-3D11-420B-A332-D02576C85377}"/>
                    </a:ext>
                  </a:extLst>
                </p:cNvPr>
                <p:cNvSpPr/>
                <p:nvPr/>
              </p:nvSpPr>
              <p:spPr>
                <a:xfrm>
                  <a:off x="2926691" y="1746122"/>
                  <a:ext cx="29131" cy="29131"/>
                </a:xfrm>
                <a:custGeom>
                  <a:avLst/>
                  <a:gdLst>
                    <a:gd name="connsiteX0" fmla="*/ 29132 w 29131"/>
                    <a:gd name="connsiteY0" fmla="*/ 14566 h 29131"/>
                    <a:gd name="connsiteX1" fmla="*/ 14566 w 29131"/>
                    <a:gd name="connsiteY1" fmla="*/ 29131 h 29131"/>
                    <a:gd name="connsiteX2" fmla="*/ 0 w 29131"/>
                    <a:gd name="connsiteY2" fmla="*/ 14566 h 29131"/>
                    <a:gd name="connsiteX3" fmla="*/ 14566 w 29131"/>
                    <a:gd name="connsiteY3" fmla="*/ 0 h 29131"/>
                    <a:gd name="connsiteX4" fmla="*/ 29132 w 29131"/>
                    <a:gd name="connsiteY4" fmla="*/ 14566 h 29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131" h="29131">
                      <a:moveTo>
                        <a:pt x="29132" y="14566"/>
                      </a:moveTo>
                      <a:cubicBezTo>
                        <a:pt x="29132" y="22550"/>
                        <a:pt x="22658" y="29131"/>
                        <a:pt x="14566" y="29131"/>
                      </a:cubicBezTo>
                      <a:cubicBezTo>
                        <a:pt x="6474" y="29131"/>
                        <a:pt x="0" y="22658"/>
                        <a:pt x="0" y="14566"/>
                      </a:cubicBezTo>
                      <a:cubicBezTo>
                        <a:pt x="0" y="6474"/>
                        <a:pt x="6474" y="0"/>
                        <a:pt x="14566" y="0"/>
                      </a:cubicBezTo>
                      <a:cubicBezTo>
                        <a:pt x="22658" y="0"/>
                        <a:pt x="29132" y="6474"/>
                        <a:pt x="29132" y="14566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0" name="Полилиния: фигура 799">
                  <a:extLst>
                    <a:ext uri="{FF2B5EF4-FFF2-40B4-BE49-F238E27FC236}">
                      <a16:creationId xmlns:a16="http://schemas.microsoft.com/office/drawing/2014/main" id="{8F2A6759-5BE8-4E24-9C2B-ACFA84EFA525}"/>
                    </a:ext>
                  </a:extLst>
                </p:cNvPr>
                <p:cNvSpPr/>
                <p:nvPr/>
              </p:nvSpPr>
              <p:spPr>
                <a:xfrm>
                  <a:off x="2992183" y="1746122"/>
                  <a:ext cx="29131" cy="29131"/>
                </a:xfrm>
                <a:custGeom>
                  <a:avLst/>
                  <a:gdLst>
                    <a:gd name="connsiteX0" fmla="*/ 29131 w 29131"/>
                    <a:gd name="connsiteY0" fmla="*/ 14566 h 29131"/>
                    <a:gd name="connsiteX1" fmla="*/ 14566 w 29131"/>
                    <a:gd name="connsiteY1" fmla="*/ 29131 h 29131"/>
                    <a:gd name="connsiteX2" fmla="*/ 0 w 29131"/>
                    <a:gd name="connsiteY2" fmla="*/ 14566 h 29131"/>
                    <a:gd name="connsiteX3" fmla="*/ 14566 w 29131"/>
                    <a:gd name="connsiteY3" fmla="*/ 0 h 29131"/>
                    <a:gd name="connsiteX4" fmla="*/ 29131 w 29131"/>
                    <a:gd name="connsiteY4" fmla="*/ 14566 h 29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131" h="29131">
                      <a:moveTo>
                        <a:pt x="29131" y="14566"/>
                      </a:moveTo>
                      <a:cubicBezTo>
                        <a:pt x="29131" y="22610"/>
                        <a:pt x="22610" y="29131"/>
                        <a:pt x="14566" y="29131"/>
                      </a:cubicBezTo>
                      <a:cubicBezTo>
                        <a:pt x="6521" y="29131"/>
                        <a:pt x="0" y="22610"/>
                        <a:pt x="0" y="14566"/>
                      </a:cubicBezTo>
                      <a:cubicBezTo>
                        <a:pt x="0" y="6521"/>
                        <a:pt x="6521" y="0"/>
                        <a:pt x="14566" y="0"/>
                      </a:cubicBezTo>
                      <a:cubicBezTo>
                        <a:pt x="22610" y="0"/>
                        <a:pt x="29131" y="6521"/>
                        <a:pt x="29131" y="14566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1" name="Полилиния: фигура 800">
                  <a:extLst>
                    <a:ext uri="{FF2B5EF4-FFF2-40B4-BE49-F238E27FC236}">
                      <a16:creationId xmlns:a16="http://schemas.microsoft.com/office/drawing/2014/main" id="{043980FE-A44B-4668-96E0-3CFE203F9850}"/>
                    </a:ext>
                  </a:extLst>
                </p:cNvPr>
                <p:cNvSpPr/>
                <p:nvPr/>
              </p:nvSpPr>
              <p:spPr>
                <a:xfrm>
                  <a:off x="3057675" y="1746122"/>
                  <a:ext cx="29131" cy="29131"/>
                </a:xfrm>
                <a:custGeom>
                  <a:avLst/>
                  <a:gdLst>
                    <a:gd name="connsiteX0" fmla="*/ 29132 w 29131"/>
                    <a:gd name="connsiteY0" fmla="*/ 14566 h 29131"/>
                    <a:gd name="connsiteX1" fmla="*/ 14566 w 29131"/>
                    <a:gd name="connsiteY1" fmla="*/ 29131 h 29131"/>
                    <a:gd name="connsiteX2" fmla="*/ 0 w 29131"/>
                    <a:gd name="connsiteY2" fmla="*/ 14566 h 29131"/>
                    <a:gd name="connsiteX3" fmla="*/ 14566 w 29131"/>
                    <a:gd name="connsiteY3" fmla="*/ 0 h 29131"/>
                    <a:gd name="connsiteX4" fmla="*/ 29132 w 29131"/>
                    <a:gd name="connsiteY4" fmla="*/ 14566 h 29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131" h="29131">
                      <a:moveTo>
                        <a:pt x="29132" y="14566"/>
                      </a:moveTo>
                      <a:cubicBezTo>
                        <a:pt x="29132" y="22550"/>
                        <a:pt x="22658" y="29131"/>
                        <a:pt x="14566" y="29131"/>
                      </a:cubicBezTo>
                      <a:cubicBezTo>
                        <a:pt x="6474" y="29131"/>
                        <a:pt x="0" y="22658"/>
                        <a:pt x="0" y="14566"/>
                      </a:cubicBezTo>
                      <a:cubicBezTo>
                        <a:pt x="0" y="6474"/>
                        <a:pt x="6474" y="0"/>
                        <a:pt x="14566" y="0"/>
                      </a:cubicBezTo>
                      <a:cubicBezTo>
                        <a:pt x="22658" y="0"/>
                        <a:pt x="29132" y="6474"/>
                        <a:pt x="29132" y="14566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802" name="Полилиния: фигура 801">
              <a:extLst>
                <a:ext uri="{FF2B5EF4-FFF2-40B4-BE49-F238E27FC236}">
                  <a16:creationId xmlns:a16="http://schemas.microsoft.com/office/drawing/2014/main" id="{0F065807-B609-433D-86AB-8A702E54C9FD}"/>
                </a:ext>
              </a:extLst>
            </p:cNvPr>
            <p:cNvSpPr/>
            <p:nvPr/>
          </p:nvSpPr>
          <p:spPr>
            <a:xfrm>
              <a:off x="3945861" y="1792085"/>
              <a:ext cx="401474" cy="84157"/>
            </a:xfrm>
            <a:custGeom>
              <a:avLst/>
              <a:gdLst>
                <a:gd name="connsiteX0" fmla="*/ 359396 w 401474"/>
                <a:gd name="connsiteY0" fmla="*/ 84158 h 84157"/>
                <a:gd name="connsiteX1" fmla="*/ 42079 w 401474"/>
                <a:gd name="connsiteY1" fmla="*/ 84158 h 84157"/>
                <a:gd name="connsiteX2" fmla="*/ 0 w 401474"/>
                <a:gd name="connsiteY2" fmla="*/ 42079 h 84157"/>
                <a:gd name="connsiteX3" fmla="*/ 0 w 401474"/>
                <a:gd name="connsiteY3" fmla="*/ 42079 h 84157"/>
                <a:gd name="connsiteX4" fmla="*/ 42079 w 401474"/>
                <a:gd name="connsiteY4" fmla="*/ 0 h 84157"/>
                <a:gd name="connsiteX5" fmla="*/ 359396 w 401474"/>
                <a:gd name="connsiteY5" fmla="*/ 0 h 84157"/>
                <a:gd name="connsiteX6" fmla="*/ 401475 w 401474"/>
                <a:gd name="connsiteY6" fmla="*/ 42079 h 84157"/>
                <a:gd name="connsiteX7" fmla="*/ 401475 w 401474"/>
                <a:gd name="connsiteY7" fmla="*/ 42079 h 84157"/>
                <a:gd name="connsiteX8" fmla="*/ 359396 w 401474"/>
                <a:gd name="connsiteY8" fmla="*/ 84158 h 8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1474" h="84157">
                  <a:moveTo>
                    <a:pt x="359396" y="84158"/>
                  </a:moveTo>
                  <a:lnTo>
                    <a:pt x="42079" y="84158"/>
                  </a:lnTo>
                  <a:cubicBezTo>
                    <a:pt x="18882" y="84158"/>
                    <a:pt x="0" y="65276"/>
                    <a:pt x="0" y="42079"/>
                  </a:cubicBezTo>
                  <a:lnTo>
                    <a:pt x="0" y="42079"/>
                  </a:lnTo>
                  <a:cubicBezTo>
                    <a:pt x="0" y="18882"/>
                    <a:pt x="18882" y="0"/>
                    <a:pt x="42079" y="0"/>
                  </a:cubicBezTo>
                  <a:lnTo>
                    <a:pt x="359396" y="0"/>
                  </a:lnTo>
                  <a:cubicBezTo>
                    <a:pt x="382593" y="0"/>
                    <a:pt x="401475" y="18882"/>
                    <a:pt x="401475" y="42079"/>
                  </a:cubicBezTo>
                  <a:lnTo>
                    <a:pt x="401475" y="42079"/>
                  </a:lnTo>
                  <a:cubicBezTo>
                    <a:pt x="401475" y="65276"/>
                    <a:pt x="382593" y="84158"/>
                    <a:pt x="359396" y="84158"/>
                  </a:cubicBezTo>
                  <a:close/>
                </a:path>
              </a:pathLst>
            </a:custGeom>
            <a:solidFill>
              <a:srgbClr val="FFFFFF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3" name="Полилиния: фигура 802">
              <a:extLst>
                <a:ext uri="{FF2B5EF4-FFF2-40B4-BE49-F238E27FC236}">
                  <a16:creationId xmlns:a16="http://schemas.microsoft.com/office/drawing/2014/main" id="{F2E8558A-C50E-4FA2-A518-AA6ACBAC625B}"/>
                </a:ext>
              </a:extLst>
            </p:cNvPr>
            <p:cNvSpPr/>
            <p:nvPr/>
          </p:nvSpPr>
          <p:spPr>
            <a:xfrm>
              <a:off x="3770964" y="1798558"/>
              <a:ext cx="90631" cy="64736"/>
            </a:xfrm>
            <a:custGeom>
              <a:avLst/>
              <a:gdLst>
                <a:gd name="connsiteX0" fmla="*/ 0 w 90631"/>
                <a:gd name="connsiteY0" fmla="*/ 0 h 64736"/>
                <a:gd name="connsiteX1" fmla="*/ 90631 w 90631"/>
                <a:gd name="connsiteY1" fmla="*/ 0 h 64736"/>
                <a:gd name="connsiteX2" fmla="*/ 90631 w 90631"/>
                <a:gd name="connsiteY2" fmla="*/ 64737 h 64736"/>
                <a:gd name="connsiteX3" fmla="*/ 0 w 90631"/>
                <a:gd name="connsiteY3" fmla="*/ 64737 h 6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631" h="64736">
                  <a:moveTo>
                    <a:pt x="0" y="0"/>
                  </a:moveTo>
                  <a:lnTo>
                    <a:pt x="90631" y="0"/>
                  </a:lnTo>
                  <a:lnTo>
                    <a:pt x="90631" y="64737"/>
                  </a:lnTo>
                  <a:lnTo>
                    <a:pt x="0" y="64737"/>
                  </a:lnTo>
                  <a:close/>
                </a:path>
              </a:pathLst>
            </a:custGeom>
            <a:solidFill>
              <a:srgbClr val="696969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4" name="Полилиния: фигура 803">
              <a:extLst>
                <a:ext uri="{FF2B5EF4-FFF2-40B4-BE49-F238E27FC236}">
                  <a16:creationId xmlns:a16="http://schemas.microsoft.com/office/drawing/2014/main" id="{C2203F33-E715-4D3B-8BE7-8B72CB27F65E}"/>
                </a:ext>
              </a:extLst>
            </p:cNvPr>
            <p:cNvSpPr/>
            <p:nvPr/>
          </p:nvSpPr>
          <p:spPr>
            <a:xfrm>
              <a:off x="3590565" y="1798558"/>
              <a:ext cx="90631" cy="64736"/>
            </a:xfrm>
            <a:custGeom>
              <a:avLst/>
              <a:gdLst>
                <a:gd name="connsiteX0" fmla="*/ 0 w 90631"/>
                <a:gd name="connsiteY0" fmla="*/ 0 h 64736"/>
                <a:gd name="connsiteX1" fmla="*/ 90631 w 90631"/>
                <a:gd name="connsiteY1" fmla="*/ 0 h 64736"/>
                <a:gd name="connsiteX2" fmla="*/ 90631 w 90631"/>
                <a:gd name="connsiteY2" fmla="*/ 64737 h 64736"/>
                <a:gd name="connsiteX3" fmla="*/ 0 w 90631"/>
                <a:gd name="connsiteY3" fmla="*/ 64737 h 6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631" h="64736">
                  <a:moveTo>
                    <a:pt x="0" y="0"/>
                  </a:moveTo>
                  <a:lnTo>
                    <a:pt x="90631" y="0"/>
                  </a:lnTo>
                  <a:lnTo>
                    <a:pt x="90631" y="64737"/>
                  </a:lnTo>
                  <a:lnTo>
                    <a:pt x="0" y="64737"/>
                  </a:lnTo>
                  <a:close/>
                </a:path>
              </a:pathLst>
            </a:custGeom>
            <a:solidFill>
              <a:srgbClr val="696969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5" name="Полилиния: фигура 804">
              <a:extLst>
                <a:ext uri="{FF2B5EF4-FFF2-40B4-BE49-F238E27FC236}">
                  <a16:creationId xmlns:a16="http://schemas.microsoft.com/office/drawing/2014/main" id="{864B3EFC-4B70-40A5-9127-0F9290E05EB7}"/>
                </a:ext>
              </a:extLst>
            </p:cNvPr>
            <p:cNvSpPr/>
            <p:nvPr/>
          </p:nvSpPr>
          <p:spPr>
            <a:xfrm>
              <a:off x="2916117" y="1798558"/>
              <a:ext cx="90631" cy="64736"/>
            </a:xfrm>
            <a:custGeom>
              <a:avLst/>
              <a:gdLst>
                <a:gd name="connsiteX0" fmla="*/ 0 w 90631"/>
                <a:gd name="connsiteY0" fmla="*/ 0 h 64736"/>
                <a:gd name="connsiteX1" fmla="*/ 90631 w 90631"/>
                <a:gd name="connsiteY1" fmla="*/ 0 h 64736"/>
                <a:gd name="connsiteX2" fmla="*/ 90631 w 90631"/>
                <a:gd name="connsiteY2" fmla="*/ 64737 h 64736"/>
                <a:gd name="connsiteX3" fmla="*/ 0 w 90631"/>
                <a:gd name="connsiteY3" fmla="*/ 64737 h 6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631" h="64736">
                  <a:moveTo>
                    <a:pt x="0" y="0"/>
                  </a:moveTo>
                  <a:lnTo>
                    <a:pt x="90631" y="0"/>
                  </a:lnTo>
                  <a:lnTo>
                    <a:pt x="90631" y="64737"/>
                  </a:lnTo>
                  <a:lnTo>
                    <a:pt x="0" y="64737"/>
                  </a:lnTo>
                  <a:close/>
                </a:path>
              </a:pathLst>
            </a:custGeom>
            <a:solidFill>
              <a:srgbClr val="696969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6" name="Полилиния: фигура 805">
              <a:extLst>
                <a:ext uri="{FF2B5EF4-FFF2-40B4-BE49-F238E27FC236}">
                  <a16:creationId xmlns:a16="http://schemas.microsoft.com/office/drawing/2014/main" id="{57700BA0-6CC0-4203-9588-1D1C52138777}"/>
                </a:ext>
              </a:extLst>
            </p:cNvPr>
            <p:cNvSpPr/>
            <p:nvPr/>
          </p:nvSpPr>
          <p:spPr>
            <a:xfrm>
              <a:off x="3013222" y="1798558"/>
              <a:ext cx="90631" cy="64736"/>
            </a:xfrm>
            <a:custGeom>
              <a:avLst/>
              <a:gdLst>
                <a:gd name="connsiteX0" fmla="*/ 0 w 90631"/>
                <a:gd name="connsiteY0" fmla="*/ 0 h 64736"/>
                <a:gd name="connsiteX1" fmla="*/ 90631 w 90631"/>
                <a:gd name="connsiteY1" fmla="*/ 0 h 64736"/>
                <a:gd name="connsiteX2" fmla="*/ 90631 w 90631"/>
                <a:gd name="connsiteY2" fmla="*/ 64737 h 64736"/>
                <a:gd name="connsiteX3" fmla="*/ 0 w 90631"/>
                <a:gd name="connsiteY3" fmla="*/ 64737 h 64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631" h="64736">
                  <a:moveTo>
                    <a:pt x="0" y="0"/>
                  </a:moveTo>
                  <a:lnTo>
                    <a:pt x="90631" y="0"/>
                  </a:lnTo>
                  <a:lnTo>
                    <a:pt x="90631" y="64737"/>
                  </a:lnTo>
                  <a:lnTo>
                    <a:pt x="0" y="64737"/>
                  </a:lnTo>
                  <a:close/>
                </a:path>
              </a:pathLst>
            </a:custGeom>
            <a:solidFill>
              <a:srgbClr val="696969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807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289324" y="2033121"/>
              <a:ext cx="152023" cy="111670"/>
              <a:chOff x="3289324" y="2033121"/>
              <a:chExt cx="152023" cy="111670"/>
            </a:xfrm>
            <a:solidFill>
              <a:srgbClr val="CCCCCC"/>
            </a:solidFill>
          </p:grpSpPr>
          <p:sp>
            <p:nvSpPr>
              <p:cNvPr id="808" name="Полилиния: фигура 807">
                <a:extLst>
                  <a:ext uri="{FF2B5EF4-FFF2-40B4-BE49-F238E27FC236}">
                    <a16:creationId xmlns:a16="http://schemas.microsoft.com/office/drawing/2014/main" id="{4DBF6B57-98BF-46FB-B0EE-E6BF274166E7}"/>
                  </a:ext>
                </a:extLst>
              </p:cNvPr>
              <p:cNvSpPr/>
              <p:nvPr/>
            </p:nvSpPr>
            <p:spPr>
              <a:xfrm>
                <a:off x="3289324" y="2050923"/>
                <a:ext cx="152023" cy="93868"/>
              </a:xfrm>
              <a:custGeom>
                <a:avLst/>
                <a:gdLst>
                  <a:gd name="connsiteX0" fmla="*/ 8200 w 152023"/>
                  <a:gd name="connsiteY0" fmla="*/ 0 h 93868"/>
                  <a:gd name="connsiteX1" fmla="*/ 143715 w 152023"/>
                  <a:gd name="connsiteY1" fmla="*/ 0 h 93868"/>
                  <a:gd name="connsiteX2" fmla="*/ 152023 w 152023"/>
                  <a:gd name="connsiteY2" fmla="*/ 8308 h 93868"/>
                  <a:gd name="connsiteX3" fmla="*/ 152023 w 152023"/>
                  <a:gd name="connsiteY3" fmla="*/ 93868 h 93868"/>
                  <a:gd name="connsiteX4" fmla="*/ 0 w 152023"/>
                  <a:gd name="connsiteY4" fmla="*/ 93868 h 93868"/>
                  <a:gd name="connsiteX5" fmla="*/ 0 w 152023"/>
                  <a:gd name="connsiteY5" fmla="*/ 8308 h 93868"/>
                  <a:gd name="connsiteX6" fmla="*/ 8308 w 152023"/>
                  <a:gd name="connsiteY6" fmla="*/ 0 h 9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023" h="93868">
                    <a:moveTo>
                      <a:pt x="8200" y="0"/>
                    </a:moveTo>
                    <a:lnTo>
                      <a:pt x="143715" y="0"/>
                    </a:lnTo>
                    <a:cubicBezTo>
                      <a:pt x="148247" y="0"/>
                      <a:pt x="152023" y="3668"/>
                      <a:pt x="152023" y="8308"/>
                    </a:cubicBezTo>
                    <a:lnTo>
                      <a:pt x="152023" y="93868"/>
                    </a:lnTo>
                    <a:lnTo>
                      <a:pt x="0" y="93868"/>
                    </a:lnTo>
                    <a:lnTo>
                      <a:pt x="0" y="8308"/>
                    </a:lnTo>
                    <a:cubicBezTo>
                      <a:pt x="0" y="3776"/>
                      <a:pt x="3668" y="0"/>
                      <a:pt x="8308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9" name="Полилиния: фигура 808">
                <a:extLst>
                  <a:ext uri="{FF2B5EF4-FFF2-40B4-BE49-F238E27FC236}">
                    <a16:creationId xmlns:a16="http://schemas.microsoft.com/office/drawing/2014/main" id="{BB3DE0E8-8ACC-4FAB-AEAD-153AD26766C1}"/>
                  </a:ext>
                </a:extLst>
              </p:cNvPr>
              <p:cNvSpPr/>
              <p:nvPr/>
            </p:nvSpPr>
            <p:spPr>
              <a:xfrm>
                <a:off x="3311334" y="2033121"/>
                <a:ext cx="67649" cy="35281"/>
              </a:xfrm>
              <a:custGeom>
                <a:avLst/>
                <a:gdLst>
                  <a:gd name="connsiteX0" fmla="*/ 63550 w 67649"/>
                  <a:gd name="connsiteY0" fmla="*/ 0 h 35281"/>
                  <a:gd name="connsiteX1" fmla="*/ 67650 w 67649"/>
                  <a:gd name="connsiteY1" fmla="*/ 4100 h 35281"/>
                  <a:gd name="connsiteX2" fmla="*/ 67650 w 67649"/>
                  <a:gd name="connsiteY2" fmla="*/ 31181 h 35281"/>
                  <a:gd name="connsiteX3" fmla="*/ 63550 w 67649"/>
                  <a:gd name="connsiteY3" fmla="*/ 35281 h 35281"/>
                  <a:gd name="connsiteX4" fmla="*/ 4100 w 67649"/>
                  <a:gd name="connsiteY4" fmla="*/ 35281 h 35281"/>
                  <a:gd name="connsiteX5" fmla="*/ 0 w 67649"/>
                  <a:gd name="connsiteY5" fmla="*/ 31181 h 35281"/>
                  <a:gd name="connsiteX6" fmla="*/ 0 w 67649"/>
                  <a:gd name="connsiteY6" fmla="*/ 4100 h 35281"/>
                  <a:gd name="connsiteX7" fmla="*/ 4100 w 67649"/>
                  <a:gd name="connsiteY7" fmla="*/ 0 h 35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649" h="35281">
                    <a:moveTo>
                      <a:pt x="63550" y="0"/>
                    </a:moveTo>
                    <a:cubicBezTo>
                      <a:pt x="65814" y="0"/>
                      <a:pt x="67650" y="1836"/>
                      <a:pt x="67650" y="4100"/>
                    </a:cubicBezTo>
                    <a:lnTo>
                      <a:pt x="67650" y="31181"/>
                    </a:lnTo>
                    <a:cubicBezTo>
                      <a:pt x="67650" y="33446"/>
                      <a:pt x="65814" y="35281"/>
                      <a:pt x="63550" y="35281"/>
                    </a:cubicBezTo>
                    <a:lnTo>
                      <a:pt x="4100" y="35281"/>
                    </a:lnTo>
                    <a:cubicBezTo>
                      <a:pt x="1835" y="35281"/>
                      <a:pt x="0" y="33446"/>
                      <a:pt x="0" y="31181"/>
                    </a:cubicBezTo>
                    <a:lnTo>
                      <a:pt x="0" y="4100"/>
                    </a:lnTo>
                    <a:cubicBezTo>
                      <a:pt x="0" y="1836"/>
                      <a:pt x="1835" y="0"/>
                      <a:pt x="4100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10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614841" y="2033121"/>
              <a:ext cx="152023" cy="111670"/>
              <a:chOff x="3614841" y="2033121"/>
              <a:chExt cx="152023" cy="111670"/>
            </a:xfrm>
            <a:solidFill>
              <a:srgbClr val="CCCCCC"/>
            </a:solidFill>
          </p:grpSpPr>
          <p:sp>
            <p:nvSpPr>
              <p:cNvPr id="811" name="Полилиния: фигура 810">
                <a:extLst>
                  <a:ext uri="{FF2B5EF4-FFF2-40B4-BE49-F238E27FC236}">
                    <a16:creationId xmlns:a16="http://schemas.microsoft.com/office/drawing/2014/main" id="{5F11454D-DA30-4FFF-89CE-95A5BC2B4C30}"/>
                  </a:ext>
                </a:extLst>
              </p:cNvPr>
              <p:cNvSpPr/>
              <p:nvPr/>
            </p:nvSpPr>
            <p:spPr>
              <a:xfrm>
                <a:off x="3614841" y="2050923"/>
                <a:ext cx="152023" cy="93868"/>
              </a:xfrm>
              <a:custGeom>
                <a:avLst/>
                <a:gdLst>
                  <a:gd name="connsiteX0" fmla="*/ 8200 w 152023"/>
                  <a:gd name="connsiteY0" fmla="*/ 0 h 93868"/>
                  <a:gd name="connsiteX1" fmla="*/ 143715 w 152023"/>
                  <a:gd name="connsiteY1" fmla="*/ 0 h 93868"/>
                  <a:gd name="connsiteX2" fmla="*/ 152023 w 152023"/>
                  <a:gd name="connsiteY2" fmla="*/ 8308 h 93868"/>
                  <a:gd name="connsiteX3" fmla="*/ 152023 w 152023"/>
                  <a:gd name="connsiteY3" fmla="*/ 93868 h 93868"/>
                  <a:gd name="connsiteX4" fmla="*/ 0 w 152023"/>
                  <a:gd name="connsiteY4" fmla="*/ 93868 h 93868"/>
                  <a:gd name="connsiteX5" fmla="*/ 0 w 152023"/>
                  <a:gd name="connsiteY5" fmla="*/ 8308 h 93868"/>
                  <a:gd name="connsiteX6" fmla="*/ 8308 w 152023"/>
                  <a:gd name="connsiteY6" fmla="*/ 0 h 9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023" h="93868">
                    <a:moveTo>
                      <a:pt x="8200" y="0"/>
                    </a:moveTo>
                    <a:lnTo>
                      <a:pt x="143715" y="0"/>
                    </a:lnTo>
                    <a:cubicBezTo>
                      <a:pt x="148247" y="0"/>
                      <a:pt x="152023" y="3668"/>
                      <a:pt x="152023" y="8308"/>
                    </a:cubicBezTo>
                    <a:lnTo>
                      <a:pt x="152023" y="93868"/>
                    </a:lnTo>
                    <a:lnTo>
                      <a:pt x="0" y="93868"/>
                    </a:lnTo>
                    <a:lnTo>
                      <a:pt x="0" y="8308"/>
                    </a:lnTo>
                    <a:cubicBezTo>
                      <a:pt x="0" y="3776"/>
                      <a:pt x="3668" y="0"/>
                      <a:pt x="8308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2" name="Полилиния: фигура 811">
                <a:extLst>
                  <a:ext uri="{FF2B5EF4-FFF2-40B4-BE49-F238E27FC236}">
                    <a16:creationId xmlns:a16="http://schemas.microsoft.com/office/drawing/2014/main" id="{E133E1B6-A119-499A-BC28-358FC6816986}"/>
                  </a:ext>
                </a:extLst>
              </p:cNvPr>
              <p:cNvSpPr/>
              <p:nvPr/>
            </p:nvSpPr>
            <p:spPr>
              <a:xfrm>
                <a:off x="3636744" y="2033121"/>
                <a:ext cx="67757" cy="35281"/>
              </a:xfrm>
              <a:custGeom>
                <a:avLst/>
                <a:gdLst>
                  <a:gd name="connsiteX0" fmla="*/ 4100 w 67757"/>
                  <a:gd name="connsiteY0" fmla="*/ 0 h 35281"/>
                  <a:gd name="connsiteX1" fmla="*/ 63658 w 67757"/>
                  <a:gd name="connsiteY1" fmla="*/ 0 h 35281"/>
                  <a:gd name="connsiteX2" fmla="*/ 67758 w 67757"/>
                  <a:gd name="connsiteY2" fmla="*/ 4100 h 35281"/>
                  <a:gd name="connsiteX3" fmla="*/ 67758 w 67757"/>
                  <a:gd name="connsiteY3" fmla="*/ 31181 h 35281"/>
                  <a:gd name="connsiteX4" fmla="*/ 63658 w 67757"/>
                  <a:gd name="connsiteY4" fmla="*/ 35281 h 35281"/>
                  <a:gd name="connsiteX5" fmla="*/ 4100 w 67757"/>
                  <a:gd name="connsiteY5" fmla="*/ 35281 h 35281"/>
                  <a:gd name="connsiteX6" fmla="*/ 0 w 67757"/>
                  <a:gd name="connsiteY6" fmla="*/ 31181 h 35281"/>
                  <a:gd name="connsiteX7" fmla="*/ 0 w 67757"/>
                  <a:gd name="connsiteY7" fmla="*/ 4100 h 35281"/>
                  <a:gd name="connsiteX8" fmla="*/ 4100 w 67757"/>
                  <a:gd name="connsiteY8" fmla="*/ 0 h 35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757" h="35281">
                    <a:moveTo>
                      <a:pt x="4100" y="0"/>
                    </a:moveTo>
                    <a:lnTo>
                      <a:pt x="63658" y="0"/>
                    </a:lnTo>
                    <a:cubicBezTo>
                      <a:pt x="65923" y="0"/>
                      <a:pt x="67758" y="1834"/>
                      <a:pt x="67758" y="4100"/>
                    </a:cubicBezTo>
                    <a:lnTo>
                      <a:pt x="67758" y="31181"/>
                    </a:lnTo>
                    <a:cubicBezTo>
                      <a:pt x="67758" y="33447"/>
                      <a:pt x="65923" y="35281"/>
                      <a:pt x="63658" y="35281"/>
                    </a:cubicBezTo>
                    <a:lnTo>
                      <a:pt x="4100" y="35281"/>
                    </a:lnTo>
                    <a:cubicBezTo>
                      <a:pt x="1834" y="35281"/>
                      <a:pt x="0" y="33447"/>
                      <a:pt x="0" y="31181"/>
                    </a:cubicBezTo>
                    <a:lnTo>
                      <a:pt x="0" y="4100"/>
                    </a:lnTo>
                    <a:cubicBezTo>
                      <a:pt x="0" y="1834"/>
                      <a:pt x="1834" y="0"/>
                      <a:pt x="4100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13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940251" y="2033121"/>
              <a:ext cx="152023" cy="111670"/>
              <a:chOff x="3940251" y="2033121"/>
              <a:chExt cx="152023" cy="111670"/>
            </a:xfrm>
            <a:solidFill>
              <a:srgbClr val="CCCCCC"/>
            </a:solidFill>
          </p:grpSpPr>
          <p:sp>
            <p:nvSpPr>
              <p:cNvPr id="814" name="Полилиния: фигура 813">
                <a:extLst>
                  <a:ext uri="{FF2B5EF4-FFF2-40B4-BE49-F238E27FC236}">
                    <a16:creationId xmlns:a16="http://schemas.microsoft.com/office/drawing/2014/main" id="{AC8A4F7E-5C6F-4112-AA74-941408A23D75}"/>
                  </a:ext>
                </a:extLst>
              </p:cNvPr>
              <p:cNvSpPr/>
              <p:nvPr/>
            </p:nvSpPr>
            <p:spPr>
              <a:xfrm>
                <a:off x="3940251" y="2050923"/>
                <a:ext cx="152023" cy="93868"/>
              </a:xfrm>
              <a:custGeom>
                <a:avLst/>
                <a:gdLst>
                  <a:gd name="connsiteX0" fmla="*/ 8200 w 152023"/>
                  <a:gd name="connsiteY0" fmla="*/ 0 h 93868"/>
                  <a:gd name="connsiteX1" fmla="*/ 143715 w 152023"/>
                  <a:gd name="connsiteY1" fmla="*/ 0 h 93868"/>
                  <a:gd name="connsiteX2" fmla="*/ 152023 w 152023"/>
                  <a:gd name="connsiteY2" fmla="*/ 8308 h 93868"/>
                  <a:gd name="connsiteX3" fmla="*/ 152023 w 152023"/>
                  <a:gd name="connsiteY3" fmla="*/ 93868 h 93868"/>
                  <a:gd name="connsiteX4" fmla="*/ 0 w 152023"/>
                  <a:gd name="connsiteY4" fmla="*/ 93868 h 93868"/>
                  <a:gd name="connsiteX5" fmla="*/ 0 w 152023"/>
                  <a:gd name="connsiteY5" fmla="*/ 8308 h 93868"/>
                  <a:gd name="connsiteX6" fmla="*/ 8308 w 152023"/>
                  <a:gd name="connsiteY6" fmla="*/ 0 h 9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023" h="93868">
                    <a:moveTo>
                      <a:pt x="8200" y="0"/>
                    </a:moveTo>
                    <a:lnTo>
                      <a:pt x="143715" y="0"/>
                    </a:lnTo>
                    <a:cubicBezTo>
                      <a:pt x="148247" y="0"/>
                      <a:pt x="152023" y="3668"/>
                      <a:pt x="152023" y="8308"/>
                    </a:cubicBezTo>
                    <a:lnTo>
                      <a:pt x="152023" y="93868"/>
                    </a:lnTo>
                    <a:lnTo>
                      <a:pt x="0" y="93868"/>
                    </a:lnTo>
                    <a:lnTo>
                      <a:pt x="0" y="8308"/>
                    </a:lnTo>
                    <a:cubicBezTo>
                      <a:pt x="0" y="3776"/>
                      <a:pt x="3668" y="0"/>
                      <a:pt x="8308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5" name="Полилиния: фигура 814">
                <a:extLst>
                  <a:ext uri="{FF2B5EF4-FFF2-40B4-BE49-F238E27FC236}">
                    <a16:creationId xmlns:a16="http://schemas.microsoft.com/office/drawing/2014/main" id="{7C8FEAF1-FC74-4341-AD69-71EA371BE334}"/>
                  </a:ext>
                </a:extLst>
              </p:cNvPr>
              <p:cNvSpPr/>
              <p:nvPr/>
            </p:nvSpPr>
            <p:spPr>
              <a:xfrm>
                <a:off x="3962153" y="2033121"/>
                <a:ext cx="67757" cy="35281"/>
              </a:xfrm>
              <a:custGeom>
                <a:avLst/>
                <a:gdLst>
                  <a:gd name="connsiteX0" fmla="*/ 4100 w 67757"/>
                  <a:gd name="connsiteY0" fmla="*/ 0 h 35281"/>
                  <a:gd name="connsiteX1" fmla="*/ 63658 w 67757"/>
                  <a:gd name="connsiteY1" fmla="*/ 0 h 35281"/>
                  <a:gd name="connsiteX2" fmla="*/ 67758 w 67757"/>
                  <a:gd name="connsiteY2" fmla="*/ 4100 h 35281"/>
                  <a:gd name="connsiteX3" fmla="*/ 67758 w 67757"/>
                  <a:gd name="connsiteY3" fmla="*/ 31181 h 35281"/>
                  <a:gd name="connsiteX4" fmla="*/ 63658 w 67757"/>
                  <a:gd name="connsiteY4" fmla="*/ 35281 h 35281"/>
                  <a:gd name="connsiteX5" fmla="*/ 4100 w 67757"/>
                  <a:gd name="connsiteY5" fmla="*/ 35281 h 35281"/>
                  <a:gd name="connsiteX6" fmla="*/ 0 w 67757"/>
                  <a:gd name="connsiteY6" fmla="*/ 31181 h 35281"/>
                  <a:gd name="connsiteX7" fmla="*/ 0 w 67757"/>
                  <a:gd name="connsiteY7" fmla="*/ 4100 h 35281"/>
                  <a:gd name="connsiteX8" fmla="*/ 4100 w 67757"/>
                  <a:gd name="connsiteY8" fmla="*/ 0 h 35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757" h="35281">
                    <a:moveTo>
                      <a:pt x="4100" y="0"/>
                    </a:moveTo>
                    <a:lnTo>
                      <a:pt x="63658" y="0"/>
                    </a:lnTo>
                    <a:cubicBezTo>
                      <a:pt x="65923" y="0"/>
                      <a:pt x="67758" y="1834"/>
                      <a:pt x="67758" y="4100"/>
                    </a:cubicBezTo>
                    <a:lnTo>
                      <a:pt x="67758" y="31181"/>
                    </a:lnTo>
                    <a:cubicBezTo>
                      <a:pt x="67758" y="33447"/>
                      <a:pt x="65923" y="35281"/>
                      <a:pt x="63658" y="35281"/>
                    </a:cubicBezTo>
                    <a:lnTo>
                      <a:pt x="4100" y="35281"/>
                    </a:lnTo>
                    <a:cubicBezTo>
                      <a:pt x="1834" y="35281"/>
                      <a:pt x="0" y="33447"/>
                      <a:pt x="0" y="31181"/>
                    </a:cubicBezTo>
                    <a:lnTo>
                      <a:pt x="0" y="4100"/>
                    </a:lnTo>
                    <a:cubicBezTo>
                      <a:pt x="0" y="1834"/>
                      <a:pt x="1834" y="0"/>
                      <a:pt x="4100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16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289324" y="2246859"/>
              <a:ext cx="152023" cy="111670"/>
              <a:chOff x="3289324" y="2246859"/>
              <a:chExt cx="152023" cy="111670"/>
            </a:xfrm>
            <a:solidFill>
              <a:srgbClr val="CCCCCC"/>
            </a:solidFill>
          </p:grpSpPr>
          <p:sp>
            <p:nvSpPr>
              <p:cNvPr id="818" name="Полилиния: фигура 817">
                <a:extLst>
                  <a:ext uri="{FF2B5EF4-FFF2-40B4-BE49-F238E27FC236}">
                    <a16:creationId xmlns:a16="http://schemas.microsoft.com/office/drawing/2014/main" id="{06D9190B-722A-4A88-AFDA-BE9131F35F12}"/>
                  </a:ext>
                </a:extLst>
              </p:cNvPr>
              <p:cNvSpPr/>
              <p:nvPr/>
            </p:nvSpPr>
            <p:spPr>
              <a:xfrm>
                <a:off x="3289324" y="2264662"/>
                <a:ext cx="152023" cy="93868"/>
              </a:xfrm>
              <a:custGeom>
                <a:avLst/>
                <a:gdLst>
                  <a:gd name="connsiteX0" fmla="*/ 8200 w 152023"/>
                  <a:gd name="connsiteY0" fmla="*/ 0 h 93868"/>
                  <a:gd name="connsiteX1" fmla="*/ 143715 w 152023"/>
                  <a:gd name="connsiteY1" fmla="*/ 0 h 93868"/>
                  <a:gd name="connsiteX2" fmla="*/ 152023 w 152023"/>
                  <a:gd name="connsiteY2" fmla="*/ 8308 h 93868"/>
                  <a:gd name="connsiteX3" fmla="*/ 152023 w 152023"/>
                  <a:gd name="connsiteY3" fmla="*/ 93868 h 93868"/>
                  <a:gd name="connsiteX4" fmla="*/ 0 w 152023"/>
                  <a:gd name="connsiteY4" fmla="*/ 93868 h 93868"/>
                  <a:gd name="connsiteX5" fmla="*/ 0 w 152023"/>
                  <a:gd name="connsiteY5" fmla="*/ 8308 h 93868"/>
                  <a:gd name="connsiteX6" fmla="*/ 8308 w 152023"/>
                  <a:gd name="connsiteY6" fmla="*/ 0 h 9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023" h="93868">
                    <a:moveTo>
                      <a:pt x="8200" y="0"/>
                    </a:moveTo>
                    <a:lnTo>
                      <a:pt x="143715" y="0"/>
                    </a:lnTo>
                    <a:cubicBezTo>
                      <a:pt x="148247" y="0"/>
                      <a:pt x="152023" y="3669"/>
                      <a:pt x="152023" y="8308"/>
                    </a:cubicBezTo>
                    <a:lnTo>
                      <a:pt x="152023" y="93868"/>
                    </a:lnTo>
                    <a:lnTo>
                      <a:pt x="0" y="93868"/>
                    </a:lnTo>
                    <a:lnTo>
                      <a:pt x="0" y="8308"/>
                    </a:lnTo>
                    <a:cubicBezTo>
                      <a:pt x="0" y="3776"/>
                      <a:pt x="3668" y="0"/>
                      <a:pt x="8308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9" name="Полилиния: фигура 818">
                <a:extLst>
                  <a:ext uri="{FF2B5EF4-FFF2-40B4-BE49-F238E27FC236}">
                    <a16:creationId xmlns:a16="http://schemas.microsoft.com/office/drawing/2014/main" id="{EB223173-7EDB-44A6-8D3B-A3FD8E8C8D3E}"/>
                  </a:ext>
                </a:extLst>
              </p:cNvPr>
              <p:cNvSpPr/>
              <p:nvPr/>
            </p:nvSpPr>
            <p:spPr>
              <a:xfrm>
                <a:off x="3311334" y="2246859"/>
                <a:ext cx="67649" cy="35281"/>
              </a:xfrm>
              <a:custGeom>
                <a:avLst/>
                <a:gdLst>
                  <a:gd name="connsiteX0" fmla="*/ 63550 w 67649"/>
                  <a:gd name="connsiteY0" fmla="*/ 0 h 35281"/>
                  <a:gd name="connsiteX1" fmla="*/ 67650 w 67649"/>
                  <a:gd name="connsiteY1" fmla="*/ 4100 h 35281"/>
                  <a:gd name="connsiteX2" fmla="*/ 67650 w 67649"/>
                  <a:gd name="connsiteY2" fmla="*/ 31181 h 35281"/>
                  <a:gd name="connsiteX3" fmla="*/ 63550 w 67649"/>
                  <a:gd name="connsiteY3" fmla="*/ 35281 h 35281"/>
                  <a:gd name="connsiteX4" fmla="*/ 4100 w 67649"/>
                  <a:gd name="connsiteY4" fmla="*/ 35281 h 35281"/>
                  <a:gd name="connsiteX5" fmla="*/ 0 w 67649"/>
                  <a:gd name="connsiteY5" fmla="*/ 31181 h 35281"/>
                  <a:gd name="connsiteX6" fmla="*/ 0 w 67649"/>
                  <a:gd name="connsiteY6" fmla="*/ 4100 h 35281"/>
                  <a:gd name="connsiteX7" fmla="*/ 4100 w 67649"/>
                  <a:gd name="connsiteY7" fmla="*/ 0 h 35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649" h="35281">
                    <a:moveTo>
                      <a:pt x="63550" y="0"/>
                    </a:moveTo>
                    <a:cubicBezTo>
                      <a:pt x="65814" y="0"/>
                      <a:pt x="67650" y="1836"/>
                      <a:pt x="67650" y="4100"/>
                    </a:cubicBezTo>
                    <a:lnTo>
                      <a:pt x="67650" y="31181"/>
                    </a:lnTo>
                    <a:cubicBezTo>
                      <a:pt x="67650" y="33446"/>
                      <a:pt x="65814" y="35281"/>
                      <a:pt x="63550" y="35281"/>
                    </a:cubicBezTo>
                    <a:lnTo>
                      <a:pt x="4100" y="35281"/>
                    </a:lnTo>
                    <a:cubicBezTo>
                      <a:pt x="1835" y="35281"/>
                      <a:pt x="0" y="33446"/>
                      <a:pt x="0" y="31181"/>
                    </a:cubicBezTo>
                    <a:lnTo>
                      <a:pt x="0" y="4100"/>
                    </a:lnTo>
                    <a:cubicBezTo>
                      <a:pt x="0" y="1836"/>
                      <a:pt x="1835" y="0"/>
                      <a:pt x="4100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20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614841" y="2246859"/>
              <a:ext cx="152023" cy="111670"/>
              <a:chOff x="3614841" y="2246859"/>
              <a:chExt cx="152023" cy="111670"/>
            </a:xfrm>
            <a:solidFill>
              <a:srgbClr val="CCCCCC"/>
            </a:solidFill>
          </p:grpSpPr>
          <p:sp>
            <p:nvSpPr>
              <p:cNvPr id="821" name="Полилиния: фигура 820">
                <a:extLst>
                  <a:ext uri="{FF2B5EF4-FFF2-40B4-BE49-F238E27FC236}">
                    <a16:creationId xmlns:a16="http://schemas.microsoft.com/office/drawing/2014/main" id="{4D67F42E-52FB-4134-BC40-12A59C36C517}"/>
                  </a:ext>
                </a:extLst>
              </p:cNvPr>
              <p:cNvSpPr/>
              <p:nvPr/>
            </p:nvSpPr>
            <p:spPr>
              <a:xfrm>
                <a:off x="3614841" y="2264662"/>
                <a:ext cx="152023" cy="93868"/>
              </a:xfrm>
              <a:custGeom>
                <a:avLst/>
                <a:gdLst>
                  <a:gd name="connsiteX0" fmla="*/ 8200 w 152023"/>
                  <a:gd name="connsiteY0" fmla="*/ 0 h 93868"/>
                  <a:gd name="connsiteX1" fmla="*/ 143715 w 152023"/>
                  <a:gd name="connsiteY1" fmla="*/ 0 h 93868"/>
                  <a:gd name="connsiteX2" fmla="*/ 152023 w 152023"/>
                  <a:gd name="connsiteY2" fmla="*/ 8308 h 93868"/>
                  <a:gd name="connsiteX3" fmla="*/ 152023 w 152023"/>
                  <a:gd name="connsiteY3" fmla="*/ 93868 h 93868"/>
                  <a:gd name="connsiteX4" fmla="*/ 0 w 152023"/>
                  <a:gd name="connsiteY4" fmla="*/ 93868 h 93868"/>
                  <a:gd name="connsiteX5" fmla="*/ 0 w 152023"/>
                  <a:gd name="connsiteY5" fmla="*/ 8308 h 93868"/>
                  <a:gd name="connsiteX6" fmla="*/ 8308 w 152023"/>
                  <a:gd name="connsiteY6" fmla="*/ 0 h 93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2023" h="93868">
                    <a:moveTo>
                      <a:pt x="8200" y="0"/>
                    </a:moveTo>
                    <a:lnTo>
                      <a:pt x="143715" y="0"/>
                    </a:lnTo>
                    <a:cubicBezTo>
                      <a:pt x="148247" y="0"/>
                      <a:pt x="152023" y="3669"/>
                      <a:pt x="152023" y="8308"/>
                    </a:cubicBezTo>
                    <a:lnTo>
                      <a:pt x="152023" y="93868"/>
                    </a:lnTo>
                    <a:lnTo>
                      <a:pt x="0" y="93868"/>
                    </a:lnTo>
                    <a:lnTo>
                      <a:pt x="0" y="8308"/>
                    </a:lnTo>
                    <a:cubicBezTo>
                      <a:pt x="0" y="3776"/>
                      <a:pt x="3668" y="0"/>
                      <a:pt x="8308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2" name="Полилиния: фигура 821">
                <a:extLst>
                  <a:ext uri="{FF2B5EF4-FFF2-40B4-BE49-F238E27FC236}">
                    <a16:creationId xmlns:a16="http://schemas.microsoft.com/office/drawing/2014/main" id="{8FD83008-0D9B-4415-9939-432BCF46A807}"/>
                  </a:ext>
                </a:extLst>
              </p:cNvPr>
              <p:cNvSpPr/>
              <p:nvPr/>
            </p:nvSpPr>
            <p:spPr>
              <a:xfrm>
                <a:off x="3636744" y="2246859"/>
                <a:ext cx="67649" cy="35281"/>
              </a:xfrm>
              <a:custGeom>
                <a:avLst/>
                <a:gdLst>
                  <a:gd name="connsiteX0" fmla="*/ 63550 w 67649"/>
                  <a:gd name="connsiteY0" fmla="*/ 0 h 35281"/>
                  <a:gd name="connsiteX1" fmla="*/ 67650 w 67649"/>
                  <a:gd name="connsiteY1" fmla="*/ 4100 h 35281"/>
                  <a:gd name="connsiteX2" fmla="*/ 67650 w 67649"/>
                  <a:gd name="connsiteY2" fmla="*/ 31181 h 35281"/>
                  <a:gd name="connsiteX3" fmla="*/ 63550 w 67649"/>
                  <a:gd name="connsiteY3" fmla="*/ 35281 h 35281"/>
                  <a:gd name="connsiteX4" fmla="*/ 4100 w 67649"/>
                  <a:gd name="connsiteY4" fmla="*/ 35281 h 35281"/>
                  <a:gd name="connsiteX5" fmla="*/ 0 w 67649"/>
                  <a:gd name="connsiteY5" fmla="*/ 31181 h 35281"/>
                  <a:gd name="connsiteX6" fmla="*/ 0 w 67649"/>
                  <a:gd name="connsiteY6" fmla="*/ 4100 h 35281"/>
                  <a:gd name="connsiteX7" fmla="*/ 4100 w 67649"/>
                  <a:gd name="connsiteY7" fmla="*/ 0 h 35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649" h="35281">
                    <a:moveTo>
                      <a:pt x="63550" y="0"/>
                    </a:moveTo>
                    <a:cubicBezTo>
                      <a:pt x="65814" y="0"/>
                      <a:pt x="67650" y="1836"/>
                      <a:pt x="67650" y="4100"/>
                    </a:cubicBezTo>
                    <a:lnTo>
                      <a:pt x="67650" y="31181"/>
                    </a:lnTo>
                    <a:cubicBezTo>
                      <a:pt x="67650" y="33446"/>
                      <a:pt x="65814" y="35281"/>
                      <a:pt x="63550" y="35281"/>
                    </a:cubicBezTo>
                    <a:lnTo>
                      <a:pt x="4100" y="35281"/>
                    </a:lnTo>
                    <a:cubicBezTo>
                      <a:pt x="1835" y="35281"/>
                      <a:pt x="0" y="33446"/>
                      <a:pt x="0" y="31181"/>
                    </a:cubicBezTo>
                    <a:lnTo>
                      <a:pt x="0" y="4100"/>
                    </a:lnTo>
                    <a:cubicBezTo>
                      <a:pt x="0" y="1836"/>
                      <a:pt x="1835" y="0"/>
                      <a:pt x="4100" y="0"/>
                    </a:cubicBezTo>
                    <a:close/>
                  </a:path>
                </a:pathLst>
              </a:custGeom>
              <a:solidFill>
                <a:srgbClr val="CCCCC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23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4023545" y="2625029"/>
              <a:ext cx="281820" cy="19205"/>
              <a:chOff x="4023545" y="2625029"/>
              <a:chExt cx="281820" cy="19205"/>
            </a:xfrm>
          </p:grpSpPr>
          <p:sp>
            <p:nvSpPr>
              <p:cNvPr id="824" name="Полилиния: фигура 823">
                <a:extLst>
                  <a:ext uri="{FF2B5EF4-FFF2-40B4-BE49-F238E27FC236}">
                    <a16:creationId xmlns:a16="http://schemas.microsoft.com/office/drawing/2014/main" id="{49AA654A-9B34-4C81-AE1F-C5336298B16C}"/>
                  </a:ext>
                </a:extLst>
              </p:cNvPr>
              <p:cNvSpPr/>
              <p:nvPr/>
            </p:nvSpPr>
            <p:spPr>
              <a:xfrm>
                <a:off x="4023545" y="2627403"/>
                <a:ext cx="281820" cy="14673"/>
              </a:xfrm>
              <a:custGeom>
                <a:avLst/>
                <a:gdLst>
                  <a:gd name="connsiteX0" fmla="*/ 274483 w 281820"/>
                  <a:gd name="connsiteY0" fmla="*/ 14674 h 14673"/>
                  <a:gd name="connsiteX1" fmla="*/ 7337 w 281820"/>
                  <a:gd name="connsiteY1" fmla="*/ 14674 h 14673"/>
                  <a:gd name="connsiteX2" fmla="*/ 0 w 281820"/>
                  <a:gd name="connsiteY2" fmla="*/ 7337 h 14673"/>
                  <a:gd name="connsiteX3" fmla="*/ 0 w 281820"/>
                  <a:gd name="connsiteY3" fmla="*/ 7337 h 14673"/>
                  <a:gd name="connsiteX4" fmla="*/ 7337 w 281820"/>
                  <a:gd name="connsiteY4" fmla="*/ 0 h 14673"/>
                  <a:gd name="connsiteX5" fmla="*/ 274483 w 281820"/>
                  <a:gd name="connsiteY5" fmla="*/ 0 h 14673"/>
                  <a:gd name="connsiteX6" fmla="*/ 281820 w 281820"/>
                  <a:gd name="connsiteY6" fmla="*/ 7337 h 14673"/>
                  <a:gd name="connsiteX7" fmla="*/ 281820 w 281820"/>
                  <a:gd name="connsiteY7" fmla="*/ 7337 h 14673"/>
                  <a:gd name="connsiteX8" fmla="*/ 274483 w 281820"/>
                  <a:gd name="connsiteY8" fmla="*/ 14674 h 14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1820" h="14673">
                    <a:moveTo>
                      <a:pt x="274483" y="14674"/>
                    </a:moveTo>
                    <a:lnTo>
                      <a:pt x="7337" y="14674"/>
                    </a:lnTo>
                    <a:cubicBezTo>
                      <a:pt x="3345" y="14674"/>
                      <a:pt x="0" y="11437"/>
                      <a:pt x="0" y="7337"/>
                    </a:cubicBezTo>
                    <a:lnTo>
                      <a:pt x="0" y="7337"/>
                    </a:lnTo>
                    <a:cubicBezTo>
                      <a:pt x="0" y="3345"/>
                      <a:pt x="3237" y="0"/>
                      <a:pt x="7337" y="0"/>
                    </a:cubicBezTo>
                    <a:lnTo>
                      <a:pt x="274483" y="0"/>
                    </a:lnTo>
                    <a:cubicBezTo>
                      <a:pt x="278475" y="0"/>
                      <a:pt x="281820" y="3237"/>
                      <a:pt x="281820" y="7337"/>
                    </a:cubicBezTo>
                    <a:lnTo>
                      <a:pt x="281820" y="7337"/>
                    </a:lnTo>
                    <a:cubicBezTo>
                      <a:pt x="281820" y="11329"/>
                      <a:pt x="278583" y="14674"/>
                      <a:pt x="274483" y="14674"/>
                    </a:cubicBezTo>
                    <a:close/>
                  </a:path>
                </a:pathLst>
              </a:custGeom>
              <a:solidFill>
                <a:srgbClr val="C4C4C4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5" name="Полилиния: фигура 824">
                <a:extLst>
                  <a:ext uri="{FF2B5EF4-FFF2-40B4-BE49-F238E27FC236}">
                    <a16:creationId xmlns:a16="http://schemas.microsoft.com/office/drawing/2014/main" id="{E003E72F-6F5D-4114-97F4-1993CC49653C}"/>
                  </a:ext>
                </a:extLst>
              </p:cNvPr>
              <p:cNvSpPr/>
              <p:nvPr/>
            </p:nvSpPr>
            <p:spPr>
              <a:xfrm>
                <a:off x="4070479" y="2625029"/>
                <a:ext cx="19205" cy="19205"/>
              </a:xfrm>
              <a:custGeom>
                <a:avLst/>
                <a:gdLst>
                  <a:gd name="connsiteX0" fmla="*/ 19205 w 19205"/>
                  <a:gd name="connsiteY0" fmla="*/ 9603 h 19205"/>
                  <a:gd name="connsiteX1" fmla="*/ 9603 w 19205"/>
                  <a:gd name="connsiteY1" fmla="*/ 19205 h 19205"/>
                  <a:gd name="connsiteX2" fmla="*/ 0 w 19205"/>
                  <a:gd name="connsiteY2" fmla="*/ 9603 h 19205"/>
                  <a:gd name="connsiteX3" fmla="*/ 9603 w 19205"/>
                  <a:gd name="connsiteY3" fmla="*/ 0 h 19205"/>
                  <a:gd name="connsiteX4" fmla="*/ 19205 w 19205"/>
                  <a:gd name="connsiteY4" fmla="*/ 9603 h 19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05" h="19205">
                    <a:moveTo>
                      <a:pt x="19205" y="9603"/>
                    </a:moveTo>
                    <a:cubicBezTo>
                      <a:pt x="19205" y="14889"/>
                      <a:pt x="14889" y="19205"/>
                      <a:pt x="9603" y="19205"/>
                    </a:cubicBezTo>
                    <a:cubicBezTo>
                      <a:pt x="4316" y="19205"/>
                      <a:pt x="0" y="14889"/>
                      <a:pt x="0" y="9603"/>
                    </a:cubicBezTo>
                    <a:cubicBezTo>
                      <a:pt x="0" y="4316"/>
                      <a:pt x="4316" y="0"/>
                      <a:pt x="9603" y="0"/>
                    </a:cubicBezTo>
                    <a:cubicBezTo>
                      <a:pt x="14889" y="0"/>
                      <a:pt x="19205" y="4316"/>
                      <a:pt x="19205" y="96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827" name="Полилиния: фигура 826">
            <a:extLst>
              <a:ext uri="{FF2B5EF4-FFF2-40B4-BE49-F238E27FC236}">
                <a16:creationId xmlns:a16="http://schemas.microsoft.com/office/drawing/2014/main" id="{24482691-1111-45B3-B7A2-0091B1B5965B}"/>
              </a:ext>
            </a:extLst>
          </p:cNvPr>
          <p:cNvSpPr/>
          <p:nvPr/>
        </p:nvSpPr>
        <p:spPr>
          <a:xfrm>
            <a:off x="3278372" y="2904691"/>
            <a:ext cx="1490345" cy="718792"/>
          </a:xfrm>
          <a:custGeom>
            <a:avLst/>
            <a:gdLst>
              <a:gd name="connsiteX0" fmla="*/ 0 w 1490345"/>
              <a:gd name="connsiteY0" fmla="*/ 0 h 718792"/>
              <a:gd name="connsiteX1" fmla="*/ 1490345 w 1490345"/>
              <a:gd name="connsiteY1" fmla="*/ 0 h 718792"/>
              <a:gd name="connsiteX2" fmla="*/ 1490345 w 1490345"/>
              <a:gd name="connsiteY2" fmla="*/ 718792 h 718792"/>
              <a:gd name="connsiteX3" fmla="*/ 0 w 1490345"/>
              <a:gd name="connsiteY3" fmla="*/ 718792 h 718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0345" h="718792">
                <a:moveTo>
                  <a:pt x="0" y="0"/>
                </a:moveTo>
                <a:lnTo>
                  <a:pt x="1490345" y="0"/>
                </a:lnTo>
                <a:lnTo>
                  <a:pt x="1490345" y="718792"/>
                </a:lnTo>
                <a:lnTo>
                  <a:pt x="0" y="718792"/>
                </a:lnTo>
                <a:close/>
              </a:path>
            </a:pathLst>
          </a:custGeom>
          <a:solidFill>
            <a:srgbClr val="263238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28" name="Полилиния: фигура 827">
            <a:extLst>
              <a:ext uri="{FF2B5EF4-FFF2-40B4-BE49-F238E27FC236}">
                <a16:creationId xmlns:a16="http://schemas.microsoft.com/office/drawing/2014/main" id="{63D545F4-E71D-4068-AC07-54F1DCA3BE97}"/>
              </a:ext>
            </a:extLst>
          </p:cNvPr>
          <p:cNvSpPr/>
          <p:nvPr/>
        </p:nvSpPr>
        <p:spPr>
          <a:xfrm>
            <a:off x="3278372" y="2904691"/>
            <a:ext cx="1490345" cy="652545"/>
          </a:xfrm>
          <a:custGeom>
            <a:avLst/>
            <a:gdLst>
              <a:gd name="connsiteX0" fmla="*/ 0 w 1490345"/>
              <a:gd name="connsiteY0" fmla="*/ 0 h 652545"/>
              <a:gd name="connsiteX1" fmla="*/ 1490345 w 1490345"/>
              <a:gd name="connsiteY1" fmla="*/ 0 h 652545"/>
              <a:gd name="connsiteX2" fmla="*/ 1490345 w 1490345"/>
              <a:gd name="connsiteY2" fmla="*/ 652545 h 652545"/>
              <a:gd name="connsiteX3" fmla="*/ 0 w 1490345"/>
              <a:gd name="connsiteY3" fmla="*/ 652545 h 652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90345" h="652545">
                <a:moveTo>
                  <a:pt x="0" y="0"/>
                </a:moveTo>
                <a:lnTo>
                  <a:pt x="1490345" y="0"/>
                </a:lnTo>
                <a:lnTo>
                  <a:pt x="1490345" y="652545"/>
                </a:lnTo>
                <a:lnTo>
                  <a:pt x="0" y="652545"/>
                </a:lnTo>
                <a:close/>
              </a:path>
            </a:pathLst>
          </a:custGeom>
          <a:solidFill>
            <a:srgbClr val="FFFFFF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829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3278372" y="2885594"/>
            <a:ext cx="1490345" cy="241143"/>
            <a:chOff x="3279505" y="2885594"/>
            <a:chExt cx="1490345" cy="241143"/>
          </a:xfrm>
        </p:grpSpPr>
        <p:sp>
          <p:nvSpPr>
            <p:cNvPr id="830" name="Полилиния: фигура 829">
              <a:extLst>
                <a:ext uri="{FF2B5EF4-FFF2-40B4-BE49-F238E27FC236}">
                  <a16:creationId xmlns:a16="http://schemas.microsoft.com/office/drawing/2014/main" id="{C6318074-78DF-481A-AA2E-1BC81E6CA835}"/>
                </a:ext>
              </a:extLst>
            </p:cNvPr>
            <p:cNvSpPr/>
            <p:nvPr/>
          </p:nvSpPr>
          <p:spPr>
            <a:xfrm>
              <a:off x="3279505" y="2885594"/>
              <a:ext cx="1490345" cy="241143"/>
            </a:xfrm>
            <a:custGeom>
              <a:avLst/>
              <a:gdLst>
                <a:gd name="connsiteX0" fmla="*/ 0 w 1490345"/>
                <a:gd name="connsiteY0" fmla="*/ 0 h 241143"/>
                <a:gd name="connsiteX1" fmla="*/ 1490345 w 1490345"/>
                <a:gd name="connsiteY1" fmla="*/ 0 h 241143"/>
                <a:gd name="connsiteX2" fmla="*/ 1490345 w 1490345"/>
                <a:gd name="connsiteY2" fmla="*/ 241144 h 241143"/>
                <a:gd name="connsiteX3" fmla="*/ 0 w 1490345"/>
                <a:gd name="connsiteY3" fmla="*/ 241144 h 241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345" h="241143">
                  <a:moveTo>
                    <a:pt x="0" y="0"/>
                  </a:moveTo>
                  <a:lnTo>
                    <a:pt x="1490345" y="0"/>
                  </a:lnTo>
                  <a:lnTo>
                    <a:pt x="1490345" y="241144"/>
                  </a:lnTo>
                  <a:lnTo>
                    <a:pt x="0" y="241144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831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3325468" y="2916883"/>
              <a:ext cx="157741" cy="28699"/>
              <a:chOff x="3325468" y="2916883"/>
              <a:chExt cx="157741" cy="28699"/>
            </a:xfrm>
            <a:solidFill>
              <a:srgbClr val="006D3F"/>
            </a:solidFill>
          </p:grpSpPr>
          <p:sp>
            <p:nvSpPr>
              <p:cNvPr id="1600" name="Полилиния: фигура 1599">
                <a:extLst>
                  <a:ext uri="{FF2B5EF4-FFF2-40B4-BE49-F238E27FC236}">
                    <a16:creationId xmlns:a16="http://schemas.microsoft.com/office/drawing/2014/main" id="{A96FD788-2FBC-4CE2-B60F-B12DEB30EE06}"/>
                  </a:ext>
                </a:extLst>
              </p:cNvPr>
              <p:cNvSpPr/>
              <p:nvPr/>
            </p:nvSpPr>
            <p:spPr>
              <a:xfrm>
                <a:off x="3325468" y="2916883"/>
                <a:ext cx="28699" cy="28699"/>
              </a:xfrm>
              <a:custGeom>
                <a:avLst/>
                <a:gdLst>
                  <a:gd name="connsiteX0" fmla="*/ 28700 w 28699"/>
                  <a:gd name="connsiteY0" fmla="*/ 14350 h 28699"/>
                  <a:gd name="connsiteX1" fmla="*/ 14350 w 28699"/>
                  <a:gd name="connsiteY1" fmla="*/ 28700 h 28699"/>
                  <a:gd name="connsiteX2" fmla="*/ 0 w 28699"/>
                  <a:gd name="connsiteY2" fmla="*/ 14350 h 28699"/>
                  <a:gd name="connsiteX3" fmla="*/ 14350 w 28699"/>
                  <a:gd name="connsiteY3" fmla="*/ 0 h 28699"/>
                  <a:gd name="connsiteX4" fmla="*/ 28700 w 28699"/>
                  <a:gd name="connsiteY4" fmla="*/ 14350 h 2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99" h="28699">
                    <a:moveTo>
                      <a:pt x="28700" y="14350"/>
                    </a:moveTo>
                    <a:cubicBezTo>
                      <a:pt x="28700" y="22226"/>
                      <a:pt x="22226" y="28700"/>
                      <a:pt x="14350" y="28700"/>
                    </a:cubicBezTo>
                    <a:cubicBezTo>
                      <a:pt x="6474" y="28700"/>
                      <a:pt x="0" y="22226"/>
                      <a:pt x="0" y="14350"/>
                    </a:cubicBezTo>
                    <a:cubicBezTo>
                      <a:pt x="0" y="6474"/>
                      <a:pt x="6366" y="0"/>
                      <a:pt x="14350" y="0"/>
                    </a:cubicBezTo>
                    <a:cubicBezTo>
                      <a:pt x="22334" y="0"/>
                      <a:pt x="28700" y="6474"/>
                      <a:pt x="28700" y="1435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01" name="Полилиния: фигура 1600">
                <a:extLst>
                  <a:ext uri="{FF2B5EF4-FFF2-40B4-BE49-F238E27FC236}">
                    <a16:creationId xmlns:a16="http://schemas.microsoft.com/office/drawing/2014/main" id="{75DAD641-F47B-4413-86EA-ED016BE11173}"/>
                  </a:ext>
                </a:extLst>
              </p:cNvPr>
              <p:cNvSpPr/>
              <p:nvPr/>
            </p:nvSpPr>
            <p:spPr>
              <a:xfrm>
                <a:off x="3389989" y="2916883"/>
                <a:ext cx="28699" cy="28699"/>
              </a:xfrm>
              <a:custGeom>
                <a:avLst/>
                <a:gdLst>
                  <a:gd name="connsiteX0" fmla="*/ 28700 w 28699"/>
                  <a:gd name="connsiteY0" fmla="*/ 14350 h 28699"/>
                  <a:gd name="connsiteX1" fmla="*/ 14350 w 28699"/>
                  <a:gd name="connsiteY1" fmla="*/ 28700 h 28699"/>
                  <a:gd name="connsiteX2" fmla="*/ 0 w 28699"/>
                  <a:gd name="connsiteY2" fmla="*/ 14350 h 28699"/>
                  <a:gd name="connsiteX3" fmla="*/ 14350 w 28699"/>
                  <a:gd name="connsiteY3" fmla="*/ 0 h 28699"/>
                  <a:gd name="connsiteX4" fmla="*/ 28700 w 28699"/>
                  <a:gd name="connsiteY4" fmla="*/ 14350 h 2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99" h="28699">
                    <a:moveTo>
                      <a:pt x="28700" y="14350"/>
                    </a:moveTo>
                    <a:cubicBezTo>
                      <a:pt x="28700" y="22226"/>
                      <a:pt x="22334" y="28700"/>
                      <a:pt x="14350" y="28700"/>
                    </a:cubicBezTo>
                    <a:cubicBezTo>
                      <a:pt x="6366" y="28700"/>
                      <a:pt x="0" y="22226"/>
                      <a:pt x="0" y="14350"/>
                    </a:cubicBezTo>
                    <a:cubicBezTo>
                      <a:pt x="0" y="6474"/>
                      <a:pt x="6366" y="0"/>
                      <a:pt x="14350" y="0"/>
                    </a:cubicBezTo>
                    <a:cubicBezTo>
                      <a:pt x="22334" y="0"/>
                      <a:pt x="28700" y="6474"/>
                      <a:pt x="28700" y="1435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02" name="Полилиния: фигура 1601">
                <a:extLst>
                  <a:ext uri="{FF2B5EF4-FFF2-40B4-BE49-F238E27FC236}">
                    <a16:creationId xmlns:a16="http://schemas.microsoft.com/office/drawing/2014/main" id="{807AB083-F393-434E-9D24-7D9B70E79EEB}"/>
                  </a:ext>
                </a:extLst>
              </p:cNvPr>
              <p:cNvSpPr/>
              <p:nvPr/>
            </p:nvSpPr>
            <p:spPr>
              <a:xfrm>
                <a:off x="3454510" y="2916883"/>
                <a:ext cx="28699" cy="28699"/>
              </a:xfrm>
              <a:custGeom>
                <a:avLst/>
                <a:gdLst>
                  <a:gd name="connsiteX0" fmla="*/ 28700 w 28699"/>
                  <a:gd name="connsiteY0" fmla="*/ 14350 h 28699"/>
                  <a:gd name="connsiteX1" fmla="*/ 14350 w 28699"/>
                  <a:gd name="connsiteY1" fmla="*/ 28700 h 28699"/>
                  <a:gd name="connsiteX2" fmla="*/ 0 w 28699"/>
                  <a:gd name="connsiteY2" fmla="*/ 14350 h 28699"/>
                  <a:gd name="connsiteX3" fmla="*/ 14350 w 28699"/>
                  <a:gd name="connsiteY3" fmla="*/ 0 h 28699"/>
                  <a:gd name="connsiteX4" fmla="*/ 28700 w 28699"/>
                  <a:gd name="connsiteY4" fmla="*/ 14350 h 28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99" h="28699">
                    <a:moveTo>
                      <a:pt x="28700" y="14350"/>
                    </a:moveTo>
                    <a:cubicBezTo>
                      <a:pt x="28700" y="22226"/>
                      <a:pt x="22226" y="28700"/>
                      <a:pt x="14350" y="28700"/>
                    </a:cubicBezTo>
                    <a:cubicBezTo>
                      <a:pt x="6474" y="28700"/>
                      <a:pt x="0" y="22226"/>
                      <a:pt x="0" y="14350"/>
                    </a:cubicBezTo>
                    <a:cubicBezTo>
                      <a:pt x="0" y="6474"/>
                      <a:pt x="6474" y="0"/>
                      <a:pt x="14350" y="0"/>
                    </a:cubicBezTo>
                    <a:cubicBezTo>
                      <a:pt x="22226" y="0"/>
                      <a:pt x="28700" y="6474"/>
                      <a:pt x="28700" y="1435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1603" name="Полилиния: фигура 1602">
            <a:extLst>
              <a:ext uri="{FF2B5EF4-FFF2-40B4-BE49-F238E27FC236}">
                <a16:creationId xmlns:a16="http://schemas.microsoft.com/office/drawing/2014/main" id="{D73EA529-8276-42BC-800D-69896F419C30}"/>
              </a:ext>
            </a:extLst>
          </p:cNvPr>
          <p:cNvSpPr/>
          <p:nvPr/>
        </p:nvSpPr>
        <p:spPr>
          <a:xfrm>
            <a:off x="4329156" y="2962199"/>
            <a:ext cx="395864" cy="82970"/>
          </a:xfrm>
          <a:custGeom>
            <a:avLst/>
            <a:gdLst>
              <a:gd name="connsiteX0" fmla="*/ 38626 w 395864"/>
              <a:gd name="connsiteY0" fmla="*/ 0 h 82970"/>
              <a:gd name="connsiteX1" fmla="*/ 357238 w 395864"/>
              <a:gd name="connsiteY1" fmla="*/ 0 h 82970"/>
              <a:gd name="connsiteX2" fmla="*/ 395865 w 395864"/>
              <a:gd name="connsiteY2" fmla="*/ 38626 h 82970"/>
              <a:gd name="connsiteX3" fmla="*/ 395865 w 395864"/>
              <a:gd name="connsiteY3" fmla="*/ 44345 h 82970"/>
              <a:gd name="connsiteX4" fmla="*/ 357238 w 395864"/>
              <a:gd name="connsiteY4" fmla="*/ 82971 h 82970"/>
              <a:gd name="connsiteX5" fmla="*/ 38626 w 395864"/>
              <a:gd name="connsiteY5" fmla="*/ 82971 h 82970"/>
              <a:gd name="connsiteX6" fmla="*/ 0 w 395864"/>
              <a:gd name="connsiteY6" fmla="*/ 44345 h 82970"/>
              <a:gd name="connsiteX7" fmla="*/ 0 w 395864"/>
              <a:gd name="connsiteY7" fmla="*/ 38626 h 82970"/>
              <a:gd name="connsiteX8" fmla="*/ 38626 w 395864"/>
              <a:gd name="connsiteY8" fmla="*/ 0 h 82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5864" h="82970">
                <a:moveTo>
                  <a:pt x="38626" y="0"/>
                </a:moveTo>
                <a:lnTo>
                  <a:pt x="357238" y="0"/>
                </a:lnTo>
                <a:cubicBezTo>
                  <a:pt x="378601" y="0"/>
                  <a:pt x="395865" y="17263"/>
                  <a:pt x="395865" y="38626"/>
                </a:cubicBezTo>
                <a:lnTo>
                  <a:pt x="395865" y="44345"/>
                </a:lnTo>
                <a:cubicBezTo>
                  <a:pt x="395865" y="65708"/>
                  <a:pt x="378601" y="82971"/>
                  <a:pt x="357238" y="82971"/>
                </a:cubicBezTo>
                <a:lnTo>
                  <a:pt x="38626" y="82971"/>
                </a:lnTo>
                <a:cubicBezTo>
                  <a:pt x="17263" y="82971"/>
                  <a:pt x="0" y="65708"/>
                  <a:pt x="0" y="44345"/>
                </a:cubicBezTo>
                <a:lnTo>
                  <a:pt x="0" y="38626"/>
                </a:lnTo>
                <a:cubicBezTo>
                  <a:pt x="0" y="17263"/>
                  <a:pt x="17263" y="0"/>
                  <a:pt x="38626" y="0"/>
                </a:cubicBezTo>
                <a:close/>
              </a:path>
            </a:pathLst>
          </a:custGeom>
          <a:solidFill>
            <a:srgbClr val="FFFFFF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4" name="Полилиния: фигура 1603">
            <a:extLst>
              <a:ext uri="{FF2B5EF4-FFF2-40B4-BE49-F238E27FC236}">
                <a16:creationId xmlns:a16="http://schemas.microsoft.com/office/drawing/2014/main" id="{3C29F180-7C5C-4650-AA9A-C5582456B7AC}"/>
              </a:ext>
            </a:extLst>
          </p:cNvPr>
          <p:cNvSpPr/>
          <p:nvPr/>
        </p:nvSpPr>
        <p:spPr>
          <a:xfrm>
            <a:off x="3313870" y="2968565"/>
            <a:ext cx="89444" cy="63873"/>
          </a:xfrm>
          <a:custGeom>
            <a:avLst/>
            <a:gdLst>
              <a:gd name="connsiteX0" fmla="*/ 0 w 89444"/>
              <a:gd name="connsiteY0" fmla="*/ 0 h 63873"/>
              <a:gd name="connsiteX1" fmla="*/ 89445 w 89444"/>
              <a:gd name="connsiteY1" fmla="*/ 0 h 63873"/>
              <a:gd name="connsiteX2" fmla="*/ 89445 w 89444"/>
              <a:gd name="connsiteY2" fmla="*/ 63873 h 63873"/>
              <a:gd name="connsiteX3" fmla="*/ 0 w 89444"/>
              <a:gd name="connsiteY3" fmla="*/ 63873 h 63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444" h="63873">
                <a:moveTo>
                  <a:pt x="0" y="0"/>
                </a:moveTo>
                <a:lnTo>
                  <a:pt x="89445" y="0"/>
                </a:lnTo>
                <a:lnTo>
                  <a:pt x="89445" y="63873"/>
                </a:lnTo>
                <a:lnTo>
                  <a:pt x="0" y="63873"/>
                </a:lnTo>
                <a:close/>
              </a:path>
            </a:pathLst>
          </a:custGeom>
          <a:solidFill>
            <a:srgbClr val="696969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5" name="Полилиния: фигура 1604">
            <a:extLst>
              <a:ext uri="{FF2B5EF4-FFF2-40B4-BE49-F238E27FC236}">
                <a16:creationId xmlns:a16="http://schemas.microsoft.com/office/drawing/2014/main" id="{E0FEBE0C-C28C-452D-9F6D-239DEA369609}"/>
              </a:ext>
            </a:extLst>
          </p:cNvPr>
          <p:cNvSpPr/>
          <p:nvPr/>
        </p:nvSpPr>
        <p:spPr>
          <a:xfrm>
            <a:off x="3409680" y="2968565"/>
            <a:ext cx="89444" cy="63873"/>
          </a:xfrm>
          <a:custGeom>
            <a:avLst/>
            <a:gdLst>
              <a:gd name="connsiteX0" fmla="*/ 0 w 89444"/>
              <a:gd name="connsiteY0" fmla="*/ 0 h 63873"/>
              <a:gd name="connsiteX1" fmla="*/ 89445 w 89444"/>
              <a:gd name="connsiteY1" fmla="*/ 0 h 63873"/>
              <a:gd name="connsiteX2" fmla="*/ 89445 w 89444"/>
              <a:gd name="connsiteY2" fmla="*/ 63873 h 63873"/>
              <a:gd name="connsiteX3" fmla="*/ 0 w 89444"/>
              <a:gd name="connsiteY3" fmla="*/ 63873 h 63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444" h="63873">
                <a:moveTo>
                  <a:pt x="0" y="0"/>
                </a:moveTo>
                <a:lnTo>
                  <a:pt x="89445" y="0"/>
                </a:lnTo>
                <a:lnTo>
                  <a:pt x="89445" y="63873"/>
                </a:lnTo>
                <a:lnTo>
                  <a:pt x="0" y="63873"/>
                </a:lnTo>
                <a:close/>
              </a:path>
            </a:pathLst>
          </a:custGeom>
          <a:solidFill>
            <a:srgbClr val="696969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6" name="Полилиния: фигура 1605">
            <a:extLst>
              <a:ext uri="{FF2B5EF4-FFF2-40B4-BE49-F238E27FC236}">
                <a16:creationId xmlns:a16="http://schemas.microsoft.com/office/drawing/2014/main" id="{630E20DB-D8A4-4F17-8ADA-B535031631E3}"/>
              </a:ext>
            </a:extLst>
          </p:cNvPr>
          <p:cNvSpPr/>
          <p:nvPr/>
        </p:nvSpPr>
        <p:spPr>
          <a:xfrm>
            <a:off x="3514985" y="2968565"/>
            <a:ext cx="167883" cy="63873"/>
          </a:xfrm>
          <a:custGeom>
            <a:avLst/>
            <a:gdLst>
              <a:gd name="connsiteX0" fmla="*/ 0 w 167883"/>
              <a:gd name="connsiteY0" fmla="*/ 0 h 63873"/>
              <a:gd name="connsiteX1" fmla="*/ 167884 w 167883"/>
              <a:gd name="connsiteY1" fmla="*/ 0 h 63873"/>
              <a:gd name="connsiteX2" fmla="*/ 167884 w 167883"/>
              <a:gd name="connsiteY2" fmla="*/ 63873 h 63873"/>
              <a:gd name="connsiteX3" fmla="*/ 0 w 167883"/>
              <a:gd name="connsiteY3" fmla="*/ 63873 h 63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883" h="63873">
                <a:moveTo>
                  <a:pt x="0" y="0"/>
                </a:moveTo>
                <a:lnTo>
                  <a:pt x="167884" y="0"/>
                </a:lnTo>
                <a:lnTo>
                  <a:pt x="167884" y="63873"/>
                </a:lnTo>
                <a:lnTo>
                  <a:pt x="0" y="63873"/>
                </a:lnTo>
                <a:close/>
              </a:path>
            </a:pathLst>
          </a:custGeom>
          <a:solidFill>
            <a:srgbClr val="696969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7" name="Полилиния: фигура 1606">
            <a:extLst>
              <a:ext uri="{FF2B5EF4-FFF2-40B4-BE49-F238E27FC236}">
                <a16:creationId xmlns:a16="http://schemas.microsoft.com/office/drawing/2014/main" id="{FE0767EE-D16B-46F0-8A09-BF997225E818}"/>
              </a:ext>
            </a:extLst>
          </p:cNvPr>
          <p:cNvSpPr/>
          <p:nvPr/>
        </p:nvSpPr>
        <p:spPr>
          <a:xfrm>
            <a:off x="3542714" y="3423555"/>
            <a:ext cx="129473" cy="74231"/>
          </a:xfrm>
          <a:custGeom>
            <a:avLst/>
            <a:gdLst>
              <a:gd name="connsiteX0" fmla="*/ 129473 w 129473"/>
              <a:gd name="connsiteY0" fmla="*/ 74231 h 74231"/>
              <a:gd name="connsiteX1" fmla="*/ 0 w 129473"/>
              <a:gd name="connsiteY1" fmla="*/ 74231 h 74231"/>
              <a:gd name="connsiteX2" fmla="*/ 26434 w 129473"/>
              <a:gd name="connsiteY2" fmla="*/ 35389 h 74231"/>
              <a:gd name="connsiteX3" fmla="*/ 26434 w 129473"/>
              <a:gd name="connsiteY3" fmla="*/ 0 h 74231"/>
              <a:gd name="connsiteX4" fmla="*/ 103039 w 129473"/>
              <a:gd name="connsiteY4" fmla="*/ 0 h 74231"/>
              <a:gd name="connsiteX5" fmla="*/ 103039 w 129473"/>
              <a:gd name="connsiteY5" fmla="*/ 36684 h 74231"/>
              <a:gd name="connsiteX6" fmla="*/ 129473 w 129473"/>
              <a:gd name="connsiteY6" fmla="*/ 74231 h 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9473" h="74231">
                <a:moveTo>
                  <a:pt x="129473" y="74231"/>
                </a:moveTo>
                <a:lnTo>
                  <a:pt x="0" y="74231"/>
                </a:lnTo>
                <a:lnTo>
                  <a:pt x="26434" y="35389"/>
                </a:lnTo>
                <a:lnTo>
                  <a:pt x="26434" y="0"/>
                </a:lnTo>
                <a:lnTo>
                  <a:pt x="103039" y="0"/>
                </a:lnTo>
                <a:lnTo>
                  <a:pt x="103039" y="36684"/>
                </a:lnTo>
                <a:lnTo>
                  <a:pt x="129473" y="74231"/>
                </a:lnTo>
                <a:close/>
              </a:path>
            </a:pathLst>
          </a:custGeom>
          <a:solidFill>
            <a:srgbClr val="969696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8" name="Полилиния: фигура 1607">
            <a:extLst>
              <a:ext uri="{FF2B5EF4-FFF2-40B4-BE49-F238E27FC236}">
                <a16:creationId xmlns:a16="http://schemas.microsoft.com/office/drawing/2014/main" id="{F6288563-0D49-4303-B14F-444D5F936C38}"/>
              </a:ext>
            </a:extLst>
          </p:cNvPr>
          <p:cNvSpPr/>
          <p:nvPr/>
        </p:nvSpPr>
        <p:spPr>
          <a:xfrm>
            <a:off x="3419498" y="3149180"/>
            <a:ext cx="375796" cy="301888"/>
          </a:xfrm>
          <a:custGeom>
            <a:avLst/>
            <a:gdLst>
              <a:gd name="connsiteX0" fmla="*/ 0 w 375796"/>
              <a:gd name="connsiteY0" fmla="*/ 0 h 301888"/>
              <a:gd name="connsiteX1" fmla="*/ 375796 w 375796"/>
              <a:gd name="connsiteY1" fmla="*/ 0 h 301888"/>
              <a:gd name="connsiteX2" fmla="*/ 375796 w 375796"/>
              <a:gd name="connsiteY2" fmla="*/ 301888 h 301888"/>
              <a:gd name="connsiteX3" fmla="*/ 0 w 375796"/>
              <a:gd name="connsiteY3" fmla="*/ 301888 h 301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5796" h="301888">
                <a:moveTo>
                  <a:pt x="0" y="0"/>
                </a:moveTo>
                <a:lnTo>
                  <a:pt x="375796" y="0"/>
                </a:lnTo>
                <a:lnTo>
                  <a:pt x="375796" y="301888"/>
                </a:lnTo>
                <a:lnTo>
                  <a:pt x="0" y="301888"/>
                </a:lnTo>
                <a:close/>
              </a:path>
            </a:pathLst>
          </a:custGeom>
          <a:solidFill>
            <a:srgbClr val="CCCCCC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09" name="Полилиния: фигура 1608">
            <a:extLst>
              <a:ext uri="{FF2B5EF4-FFF2-40B4-BE49-F238E27FC236}">
                <a16:creationId xmlns:a16="http://schemas.microsoft.com/office/drawing/2014/main" id="{BBA442EE-46B2-4C9D-9256-C1901A73BA61}"/>
              </a:ext>
            </a:extLst>
          </p:cNvPr>
          <p:cNvSpPr/>
          <p:nvPr/>
        </p:nvSpPr>
        <p:spPr>
          <a:xfrm>
            <a:off x="3419498" y="3149180"/>
            <a:ext cx="375796" cy="248157"/>
          </a:xfrm>
          <a:custGeom>
            <a:avLst/>
            <a:gdLst>
              <a:gd name="connsiteX0" fmla="*/ 0 w 375796"/>
              <a:gd name="connsiteY0" fmla="*/ 0 h 248157"/>
              <a:gd name="connsiteX1" fmla="*/ 375796 w 375796"/>
              <a:gd name="connsiteY1" fmla="*/ 0 h 248157"/>
              <a:gd name="connsiteX2" fmla="*/ 375796 w 375796"/>
              <a:gd name="connsiteY2" fmla="*/ 248157 h 248157"/>
              <a:gd name="connsiteX3" fmla="*/ 0 w 375796"/>
              <a:gd name="connsiteY3" fmla="*/ 248157 h 248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5796" h="248157">
                <a:moveTo>
                  <a:pt x="0" y="0"/>
                </a:moveTo>
                <a:lnTo>
                  <a:pt x="375796" y="0"/>
                </a:lnTo>
                <a:lnTo>
                  <a:pt x="375796" y="248157"/>
                </a:lnTo>
                <a:lnTo>
                  <a:pt x="0" y="248157"/>
                </a:lnTo>
                <a:close/>
              </a:path>
            </a:pathLst>
          </a:custGeom>
          <a:solidFill>
            <a:srgbClr val="263238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10" name="Полилиния: фигура 1609">
            <a:extLst>
              <a:ext uri="{FF2B5EF4-FFF2-40B4-BE49-F238E27FC236}">
                <a16:creationId xmlns:a16="http://schemas.microsoft.com/office/drawing/2014/main" id="{C12A4CD0-71B4-4B64-9CB9-6E76332C5507}"/>
              </a:ext>
            </a:extLst>
          </p:cNvPr>
          <p:cNvSpPr/>
          <p:nvPr/>
        </p:nvSpPr>
        <p:spPr>
          <a:xfrm>
            <a:off x="3441940" y="3175938"/>
            <a:ext cx="331019" cy="194533"/>
          </a:xfrm>
          <a:custGeom>
            <a:avLst/>
            <a:gdLst>
              <a:gd name="connsiteX0" fmla="*/ 0 w 331019"/>
              <a:gd name="connsiteY0" fmla="*/ 0 h 194533"/>
              <a:gd name="connsiteX1" fmla="*/ 331020 w 331019"/>
              <a:gd name="connsiteY1" fmla="*/ 0 h 194533"/>
              <a:gd name="connsiteX2" fmla="*/ 331020 w 331019"/>
              <a:gd name="connsiteY2" fmla="*/ 194534 h 194533"/>
              <a:gd name="connsiteX3" fmla="*/ 0 w 331019"/>
              <a:gd name="connsiteY3" fmla="*/ 194534 h 194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019" h="194533">
                <a:moveTo>
                  <a:pt x="0" y="0"/>
                </a:moveTo>
                <a:lnTo>
                  <a:pt x="331020" y="0"/>
                </a:lnTo>
                <a:lnTo>
                  <a:pt x="331020" y="194534"/>
                </a:lnTo>
                <a:lnTo>
                  <a:pt x="0" y="194534"/>
                </a:lnTo>
                <a:close/>
              </a:path>
            </a:pathLst>
          </a:custGeom>
          <a:solidFill>
            <a:srgbClr val="006D3F"/>
          </a:solidFill>
          <a:ln w="10777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11" name="Полилиния: фигура 1610">
            <a:extLst>
              <a:ext uri="{FF2B5EF4-FFF2-40B4-BE49-F238E27FC236}">
                <a16:creationId xmlns:a16="http://schemas.microsoft.com/office/drawing/2014/main" id="{2007970D-8AEF-416C-8416-E3BD498F2916}"/>
              </a:ext>
            </a:extLst>
          </p:cNvPr>
          <p:cNvSpPr/>
          <p:nvPr/>
        </p:nvSpPr>
        <p:spPr>
          <a:xfrm>
            <a:off x="3940520" y="3260851"/>
            <a:ext cx="727963" cy="28699"/>
          </a:xfrm>
          <a:custGeom>
            <a:avLst/>
            <a:gdLst>
              <a:gd name="connsiteX0" fmla="*/ 714584 w 727963"/>
              <a:gd name="connsiteY0" fmla="*/ 0 h 28699"/>
              <a:gd name="connsiteX1" fmla="*/ 727963 w 727963"/>
              <a:gd name="connsiteY1" fmla="*/ 13379 h 28699"/>
              <a:gd name="connsiteX2" fmla="*/ 727963 w 727963"/>
              <a:gd name="connsiteY2" fmla="*/ 15321 h 28699"/>
              <a:gd name="connsiteX3" fmla="*/ 714584 w 727963"/>
              <a:gd name="connsiteY3" fmla="*/ 28700 h 28699"/>
              <a:gd name="connsiteX4" fmla="*/ 13379 w 727963"/>
              <a:gd name="connsiteY4" fmla="*/ 28700 h 28699"/>
              <a:gd name="connsiteX5" fmla="*/ 0 w 727963"/>
              <a:gd name="connsiteY5" fmla="*/ 15321 h 28699"/>
              <a:gd name="connsiteX6" fmla="*/ 0 w 727963"/>
              <a:gd name="connsiteY6" fmla="*/ 13379 h 28699"/>
              <a:gd name="connsiteX7" fmla="*/ 13379 w 727963"/>
              <a:gd name="connsiteY7" fmla="*/ 0 h 28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7963" h="28699">
                <a:moveTo>
                  <a:pt x="714584" y="0"/>
                </a:moveTo>
                <a:cubicBezTo>
                  <a:pt x="721974" y="0"/>
                  <a:pt x="727963" y="5990"/>
                  <a:pt x="727963" y="13379"/>
                </a:cubicBezTo>
                <a:lnTo>
                  <a:pt x="727963" y="15321"/>
                </a:lnTo>
                <a:cubicBezTo>
                  <a:pt x="727963" y="22710"/>
                  <a:pt x="721973" y="28700"/>
                  <a:pt x="714584" y="28700"/>
                </a:cubicBezTo>
                <a:lnTo>
                  <a:pt x="13379" y="28700"/>
                </a:lnTo>
                <a:cubicBezTo>
                  <a:pt x="5990" y="28700"/>
                  <a:pt x="0" y="22710"/>
                  <a:pt x="0" y="15321"/>
                </a:cubicBezTo>
                <a:lnTo>
                  <a:pt x="0" y="13379"/>
                </a:lnTo>
                <a:cubicBezTo>
                  <a:pt x="0" y="5990"/>
                  <a:pt x="5990" y="0"/>
                  <a:pt x="13379" y="0"/>
                </a:cubicBezTo>
                <a:close/>
              </a:path>
            </a:pathLst>
          </a:custGeom>
          <a:solidFill>
            <a:srgbClr val="969696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12" name="Полилиния: фигура 1611">
            <a:extLst>
              <a:ext uri="{FF2B5EF4-FFF2-40B4-BE49-F238E27FC236}">
                <a16:creationId xmlns:a16="http://schemas.microsoft.com/office/drawing/2014/main" id="{DB28D746-E010-40AF-A8C5-B52469681383}"/>
              </a:ext>
            </a:extLst>
          </p:cNvPr>
          <p:cNvSpPr/>
          <p:nvPr/>
        </p:nvSpPr>
        <p:spPr>
          <a:xfrm>
            <a:off x="4505671" y="3237006"/>
            <a:ext cx="76605" cy="76604"/>
          </a:xfrm>
          <a:custGeom>
            <a:avLst/>
            <a:gdLst>
              <a:gd name="connsiteX0" fmla="*/ 76605 w 76605"/>
              <a:gd name="connsiteY0" fmla="*/ 38303 h 76604"/>
              <a:gd name="connsiteX1" fmla="*/ 38303 w 76605"/>
              <a:gd name="connsiteY1" fmla="*/ 0 h 76604"/>
              <a:gd name="connsiteX2" fmla="*/ 0 w 76605"/>
              <a:gd name="connsiteY2" fmla="*/ 38303 h 76604"/>
              <a:gd name="connsiteX3" fmla="*/ 38303 w 76605"/>
              <a:gd name="connsiteY3" fmla="*/ 76605 h 76604"/>
              <a:gd name="connsiteX4" fmla="*/ 76605 w 76605"/>
              <a:gd name="connsiteY4" fmla="*/ 38303 h 76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605" h="76604">
                <a:moveTo>
                  <a:pt x="76605" y="38303"/>
                </a:moveTo>
                <a:cubicBezTo>
                  <a:pt x="76605" y="17155"/>
                  <a:pt x="59450" y="0"/>
                  <a:pt x="38303" y="0"/>
                </a:cubicBezTo>
                <a:cubicBezTo>
                  <a:pt x="17155" y="0"/>
                  <a:pt x="0" y="17155"/>
                  <a:pt x="0" y="38303"/>
                </a:cubicBezTo>
                <a:cubicBezTo>
                  <a:pt x="0" y="59450"/>
                  <a:pt x="17155" y="76605"/>
                  <a:pt x="38303" y="76605"/>
                </a:cubicBezTo>
                <a:cubicBezTo>
                  <a:pt x="59450" y="76605"/>
                  <a:pt x="76605" y="59450"/>
                  <a:pt x="76605" y="38303"/>
                </a:cubicBezTo>
                <a:close/>
              </a:path>
            </a:pathLst>
          </a:custGeom>
          <a:solidFill>
            <a:srgbClr val="CCCCCC"/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613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1434835" y="1706740"/>
            <a:ext cx="1049164" cy="1088006"/>
            <a:chOff x="1434835" y="1706740"/>
            <a:chExt cx="1049164" cy="1088006"/>
          </a:xfrm>
        </p:grpSpPr>
        <p:sp>
          <p:nvSpPr>
            <p:cNvPr id="1614" name="Полилиния: фигура 1613">
              <a:extLst>
                <a:ext uri="{FF2B5EF4-FFF2-40B4-BE49-F238E27FC236}">
                  <a16:creationId xmlns:a16="http://schemas.microsoft.com/office/drawing/2014/main" id="{FCD04C24-F6B2-4A3E-B0AC-24AEFAB6AF51}"/>
                </a:ext>
              </a:extLst>
            </p:cNvPr>
            <p:cNvSpPr/>
            <p:nvPr/>
          </p:nvSpPr>
          <p:spPr>
            <a:xfrm>
              <a:off x="1434835" y="1706740"/>
              <a:ext cx="1049164" cy="1088006"/>
            </a:xfrm>
            <a:custGeom>
              <a:avLst/>
              <a:gdLst>
                <a:gd name="connsiteX0" fmla="*/ 0 w 1049164"/>
                <a:gd name="connsiteY0" fmla="*/ 0 h 1088006"/>
                <a:gd name="connsiteX1" fmla="*/ 1049165 w 1049164"/>
                <a:gd name="connsiteY1" fmla="*/ 0 h 1088006"/>
                <a:gd name="connsiteX2" fmla="*/ 1049165 w 1049164"/>
                <a:gd name="connsiteY2" fmla="*/ 1088007 h 1088006"/>
                <a:gd name="connsiteX3" fmla="*/ 0 w 1049164"/>
                <a:gd name="connsiteY3" fmla="*/ 1088007 h 108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9164" h="1088006">
                  <a:moveTo>
                    <a:pt x="0" y="0"/>
                  </a:moveTo>
                  <a:lnTo>
                    <a:pt x="1049165" y="0"/>
                  </a:lnTo>
                  <a:lnTo>
                    <a:pt x="1049165" y="1088007"/>
                  </a:lnTo>
                  <a:lnTo>
                    <a:pt x="0" y="1088007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5" name="Полилиния: фигура 1614">
              <a:extLst>
                <a:ext uri="{FF2B5EF4-FFF2-40B4-BE49-F238E27FC236}">
                  <a16:creationId xmlns:a16="http://schemas.microsoft.com/office/drawing/2014/main" id="{96A36DB5-2C28-4910-9593-D1B5F6CD11CD}"/>
                </a:ext>
              </a:extLst>
            </p:cNvPr>
            <p:cNvSpPr/>
            <p:nvPr/>
          </p:nvSpPr>
          <p:spPr>
            <a:xfrm>
              <a:off x="1434835" y="1706740"/>
              <a:ext cx="1049164" cy="87070"/>
            </a:xfrm>
            <a:custGeom>
              <a:avLst/>
              <a:gdLst>
                <a:gd name="connsiteX0" fmla="*/ 0 w 1049164"/>
                <a:gd name="connsiteY0" fmla="*/ 0 h 87070"/>
                <a:gd name="connsiteX1" fmla="*/ 1049165 w 1049164"/>
                <a:gd name="connsiteY1" fmla="*/ 0 h 87070"/>
                <a:gd name="connsiteX2" fmla="*/ 1049165 w 1049164"/>
                <a:gd name="connsiteY2" fmla="*/ 87071 h 87070"/>
                <a:gd name="connsiteX3" fmla="*/ 0 w 1049164"/>
                <a:gd name="connsiteY3" fmla="*/ 87071 h 87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9164" h="87070">
                  <a:moveTo>
                    <a:pt x="0" y="0"/>
                  </a:moveTo>
                  <a:lnTo>
                    <a:pt x="1049165" y="0"/>
                  </a:lnTo>
                  <a:lnTo>
                    <a:pt x="1049165" y="87071"/>
                  </a:lnTo>
                  <a:lnTo>
                    <a:pt x="0" y="87071"/>
                  </a:ln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616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493206" y="1851427"/>
              <a:ext cx="886568" cy="828628"/>
              <a:chOff x="1493206" y="1851427"/>
              <a:chExt cx="886568" cy="828628"/>
            </a:xfrm>
            <a:solidFill>
              <a:srgbClr val="006D3F"/>
            </a:solidFill>
          </p:grpSpPr>
          <p:sp>
            <p:nvSpPr>
              <p:cNvPr id="1617" name="Полилиния: фигура 1616">
                <a:extLst>
                  <a:ext uri="{FF2B5EF4-FFF2-40B4-BE49-F238E27FC236}">
                    <a16:creationId xmlns:a16="http://schemas.microsoft.com/office/drawing/2014/main" id="{B136F518-7201-4DF0-BDD1-1CE40C01DE27}"/>
                  </a:ext>
                </a:extLst>
              </p:cNvPr>
              <p:cNvSpPr/>
              <p:nvPr/>
            </p:nvSpPr>
            <p:spPr>
              <a:xfrm>
                <a:off x="1493206" y="1851427"/>
                <a:ext cx="416148" cy="261428"/>
              </a:xfrm>
              <a:custGeom>
                <a:avLst/>
                <a:gdLst>
                  <a:gd name="connsiteX0" fmla="*/ 38195 w 416148"/>
                  <a:gd name="connsiteY0" fmla="*/ 15753 h 261428"/>
                  <a:gd name="connsiteX1" fmla="*/ 7553 w 416148"/>
                  <a:gd name="connsiteY1" fmla="*/ 15753 h 261428"/>
                  <a:gd name="connsiteX2" fmla="*/ 0 w 416148"/>
                  <a:gd name="connsiteY2" fmla="*/ 8200 h 261428"/>
                  <a:gd name="connsiteX3" fmla="*/ 7553 w 416148"/>
                  <a:gd name="connsiteY3" fmla="*/ 647 h 261428"/>
                  <a:gd name="connsiteX4" fmla="*/ 38195 w 416148"/>
                  <a:gd name="connsiteY4" fmla="*/ 647 h 261428"/>
                  <a:gd name="connsiteX5" fmla="*/ 45747 w 416148"/>
                  <a:gd name="connsiteY5" fmla="*/ 8200 h 261428"/>
                  <a:gd name="connsiteX6" fmla="*/ 38195 w 416148"/>
                  <a:gd name="connsiteY6" fmla="*/ 15753 h 261428"/>
                  <a:gd name="connsiteX7" fmla="*/ 45747 w 416148"/>
                  <a:gd name="connsiteY7" fmla="*/ 43158 h 261428"/>
                  <a:gd name="connsiteX8" fmla="*/ 38195 w 416148"/>
                  <a:gd name="connsiteY8" fmla="*/ 35605 h 261428"/>
                  <a:gd name="connsiteX9" fmla="*/ 7553 w 416148"/>
                  <a:gd name="connsiteY9" fmla="*/ 35605 h 261428"/>
                  <a:gd name="connsiteX10" fmla="*/ 0 w 416148"/>
                  <a:gd name="connsiteY10" fmla="*/ 43158 h 261428"/>
                  <a:gd name="connsiteX11" fmla="*/ 7553 w 416148"/>
                  <a:gd name="connsiteY11" fmla="*/ 50710 h 261428"/>
                  <a:gd name="connsiteX12" fmla="*/ 38195 w 416148"/>
                  <a:gd name="connsiteY12" fmla="*/ 50710 h 261428"/>
                  <a:gd name="connsiteX13" fmla="*/ 45747 w 416148"/>
                  <a:gd name="connsiteY13" fmla="*/ 43158 h 261428"/>
                  <a:gd name="connsiteX14" fmla="*/ 45747 w 416148"/>
                  <a:gd name="connsiteY14" fmla="*/ 78223 h 261428"/>
                  <a:gd name="connsiteX15" fmla="*/ 38195 w 416148"/>
                  <a:gd name="connsiteY15" fmla="*/ 70671 h 261428"/>
                  <a:gd name="connsiteX16" fmla="*/ 7553 w 416148"/>
                  <a:gd name="connsiteY16" fmla="*/ 70671 h 261428"/>
                  <a:gd name="connsiteX17" fmla="*/ 0 w 416148"/>
                  <a:gd name="connsiteY17" fmla="*/ 78223 h 261428"/>
                  <a:gd name="connsiteX18" fmla="*/ 7553 w 416148"/>
                  <a:gd name="connsiteY18" fmla="*/ 85776 h 261428"/>
                  <a:gd name="connsiteX19" fmla="*/ 38195 w 416148"/>
                  <a:gd name="connsiteY19" fmla="*/ 85776 h 261428"/>
                  <a:gd name="connsiteX20" fmla="*/ 45747 w 416148"/>
                  <a:gd name="connsiteY20" fmla="*/ 78223 h 261428"/>
                  <a:gd name="connsiteX21" fmla="*/ 45747 w 416148"/>
                  <a:gd name="connsiteY21" fmla="*/ 113289 h 261428"/>
                  <a:gd name="connsiteX22" fmla="*/ 38195 w 416148"/>
                  <a:gd name="connsiteY22" fmla="*/ 105737 h 261428"/>
                  <a:gd name="connsiteX23" fmla="*/ 7553 w 416148"/>
                  <a:gd name="connsiteY23" fmla="*/ 105737 h 261428"/>
                  <a:gd name="connsiteX24" fmla="*/ 0 w 416148"/>
                  <a:gd name="connsiteY24" fmla="*/ 113289 h 261428"/>
                  <a:gd name="connsiteX25" fmla="*/ 7553 w 416148"/>
                  <a:gd name="connsiteY25" fmla="*/ 120842 h 261428"/>
                  <a:gd name="connsiteX26" fmla="*/ 38195 w 416148"/>
                  <a:gd name="connsiteY26" fmla="*/ 120842 h 261428"/>
                  <a:gd name="connsiteX27" fmla="*/ 45747 w 416148"/>
                  <a:gd name="connsiteY27" fmla="*/ 113289 h 261428"/>
                  <a:gd name="connsiteX28" fmla="*/ 45747 w 416148"/>
                  <a:gd name="connsiteY28" fmla="*/ 148355 h 261428"/>
                  <a:gd name="connsiteX29" fmla="*/ 38195 w 416148"/>
                  <a:gd name="connsiteY29" fmla="*/ 140802 h 261428"/>
                  <a:gd name="connsiteX30" fmla="*/ 7553 w 416148"/>
                  <a:gd name="connsiteY30" fmla="*/ 140802 h 261428"/>
                  <a:gd name="connsiteX31" fmla="*/ 0 w 416148"/>
                  <a:gd name="connsiteY31" fmla="*/ 148355 h 261428"/>
                  <a:gd name="connsiteX32" fmla="*/ 7553 w 416148"/>
                  <a:gd name="connsiteY32" fmla="*/ 155907 h 261428"/>
                  <a:gd name="connsiteX33" fmla="*/ 38195 w 416148"/>
                  <a:gd name="connsiteY33" fmla="*/ 155907 h 261428"/>
                  <a:gd name="connsiteX34" fmla="*/ 45747 w 416148"/>
                  <a:gd name="connsiteY34" fmla="*/ 148355 h 261428"/>
                  <a:gd name="connsiteX35" fmla="*/ 45747 w 416148"/>
                  <a:gd name="connsiteY35" fmla="*/ 183420 h 261428"/>
                  <a:gd name="connsiteX36" fmla="*/ 38195 w 416148"/>
                  <a:gd name="connsiteY36" fmla="*/ 175868 h 261428"/>
                  <a:gd name="connsiteX37" fmla="*/ 7553 w 416148"/>
                  <a:gd name="connsiteY37" fmla="*/ 175868 h 261428"/>
                  <a:gd name="connsiteX38" fmla="*/ 0 w 416148"/>
                  <a:gd name="connsiteY38" fmla="*/ 183420 h 261428"/>
                  <a:gd name="connsiteX39" fmla="*/ 7553 w 416148"/>
                  <a:gd name="connsiteY39" fmla="*/ 190973 h 261428"/>
                  <a:gd name="connsiteX40" fmla="*/ 38195 w 416148"/>
                  <a:gd name="connsiteY40" fmla="*/ 190973 h 261428"/>
                  <a:gd name="connsiteX41" fmla="*/ 45747 w 416148"/>
                  <a:gd name="connsiteY41" fmla="*/ 183420 h 261428"/>
                  <a:gd name="connsiteX42" fmla="*/ 45747 w 416148"/>
                  <a:gd name="connsiteY42" fmla="*/ 218486 h 261428"/>
                  <a:gd name="connsiteX43" fmla="*/ 38195 w 416148"/>
                  <a:gd name="connsiteY43" fmla="*/ 210934 h 261428"/>
                  <a:gd name="connsiteX44" fmla="*/ 7553 w 416148"/>
                  <a:gd name="connsiteY44" fmla="*/ 210934 h 261428"/>
                  <a:gd name="connsiteX45" fmla="*/ 0 w 416148"/>
                  <a:gd name="connsiteY45" fmla="*/ 218486 h 261428"/>
                  <a:gd name="connsiteX46" fmla="*/ 7553 w 416148"/>
                  <a:gd name="connsiteY46" fmla="*/ 226039 h 261428"/>
                  <a:gd name="connsiteX47" fmla="*/ 38195 w 416148"/>
                  <a:gd name="connsiteY47" fmla="*/ 226039 h 261428"/>
                  <a:gd name="connsiteX48" fmla="*/ 45747 w 416148"/>
                  <a:gd name="connsiteY48" fmla="*/ 218486 h 261428"/>
                  <a:gd name="connsiteX49" fmla="*/ 45747 w 416148"/>
                  <a:gd name="connsiteY49" fmla="*/ 253552 h 261428"/>
                  <a:gd name="connsiteX50" fmla="*/ 38195 w 416148"/>
                  <a:gd name="connsiteY50" fmla="*/ 245999 h 261428"/>
                  <a:gd name="connsiteX51" fmla="*/ 7553 w 416148"/>
                  <a:gd name="connsiteY51" fmla="*/ 245999 h 261428"/>
                  <a:gd name="connsiteX52" fmla="*/ 0 w 416148"/>
                  <a:gd name="connsiteY52" fmla="*/ 253552 h 261428"/>
                  <a:gd name="connsiteX53" fmla="*/ 7553 w 416148"/>
                  <a:gd name="connsiteY53" fmla="*/ 261104 h 261428"/>
                  <a:gd name="connsiteX54" fmla="*/ 38195 w 416148"/>
                  <a:gd name="connsiteY54" fmla="*/ 261104 h 261428"/>
                  <a:gd name="connsiteX55" fmla="*/ 45747 w 416148"/>
                  <a:gd name="connsiteY55" fmla="*/ 253552 h 261428"/>
                  <a:gd name="connsiteX56" fmla="*/ 160331 w 416148"/>
                  <a:gd name="connsiteY56" fmla="*/ 8416 h 261428"/>
                  <a:gd name="connsiteX57" fmla="*/ 152778 w 416148"/>
                  <a:gd name="connsiteY57" fmla="*/ 863 h 261428"/>
                  <a:gd name="connsiteX58" fmla="*/ 72397 w 416148"/>
                  <a:gd name="connsiteY58" fmla="*/ 863 h 261428"/>
                  <a:gd name="connsiteX59" fmla="*/ 64845 w 416148"/>
                  <a:gd name="connsiteY59" fmla="*/ 8416 h 261428"/>
                  <a:gd name="connsiteX60" fmla="*/ 72397 w 416148"/>
                  <a:gd name="connsiteY60" fmla="*/ 15968 h 261428"/>
                  <a:gd name="connsiteX61" fmla="*/ 152778 w 416148"/>
                  <a:gd name="connsiteY61" fmla="*/ 15968 h 261428"/>
                  <a:gd name="connsiteX62" fmla="*/ 160331 w 416148"/>
                  <a:gd name="connsiteY62" fmla="*/ 8416 h 261428"/>
                  <a:gd name="connsiteX63" fmla="*/ 160331 w 416148"/>
                  <a:gd name="connsiteY63" fmla="*/ 43481 h 261428"/>
                  <a:gd name="connsiteX64" fmla="*/ 152778 w 416148"/>
                  <a:gd name="connsiteY64" fmla="*/ 35929 h 261428"/>
                  <a:gd name="connsiteX65" fmla="*/ 72397 w 416148"/>
                  <a:gd name="connsiteY65" fmla="*/ 35929 h 261428"/>
                  <a:gd name="connsiteX66" fmla="*/ 64845 w 416148"/>
                  <a:gd name="connsiteY66" fmla="*/ 43481 h 261428"/>
                  <a:gd name="connsiteX67" fmla="*/ 72397 w 416148"/>
                  <a:gd name="connsiteY67" fmla="*/ 51034 h 261428"/>
                  <a:gd name="connsiteX68" fmla="*/ 152778 w 416148"/>
                  <a:gd name="connsiteY68" fmla="*/ 51034 h 261428"/>
                  <a:gd name="connsiteX69" fmla="*/ 160331 w 416148"/>
                  <a:gd name="connsiteY69" fmla="*/ 43481 h 261428"/>
                  <a:gd name="connsiteX70" fmla="*/ 160331 w 416148"/>
                  <a:gd name="connsiteY70" fmla="*/ 78547 h 261428"/>
                  <a:gd name="connsiteX71" fmla="*/ 152778 w 416148"/>
                  <a:gd name="connsiteY71" fmla="*/ 70995 h 261428"/>
                  <a:gd name="connsiteX72" fmla="*/ 72397 w 416148"/>
                  <a:gd name="connsiteY72" fmla="*/ 70995 h 261428"/>
                  <a:gd name="connsiteX73" fmla="*/ 64845 w 416148"/>
                  <a:gd name="connsiteY73" fmla="*/ 78547 h 261428"/>
                  <a:gd name="connsiteX74" fmla="*/ 72397 w 416148"/>
                  <a:gd name="connsiteY74" fmla="*/ 86100 h 261428"/>
                  <a:gd name="connsiteX75" fmla="*/ 152778 w 416148"/>
                  <a:gd name="connsiteY75" fmla="*/ 86100 h 261428"/>
                  <a:gd name="connsiteX76" fmla="*/ 160331 w 416148"/>
                  <a:gd name="connsiteY76" fmla="*/ 78547 h 261428"/>
                  <a:gd name="connsiteX77" fmla="*/ 160331 w 416148"/>
                  <a:gd name="connsiteY77" fmla="*/ 113613 h 261428"/>
                  <a:gd name="connsiteX78" fmla="*/ 152778 w 416148"/>
                  <a:gd name="connsiteY78" fmla="*/ 106060 h 261428"/>
                  <a:gd name="connsiteX79" fmla="*/ 72397 w 416148"/>
                  <a:gd name="connsiteY79" fmla="*/ 106060 h 261428"/>
                  <a:gd name="connsiteX80" fmla="*/ 64845 w 416148"/>
                  <a:gd name="connsiteY80" fmla="*/ 113613 h 261428"/>
                  <a:gd name="connsiteX81" fmla="*/ 72397 w 416148"/>
                  <a:gd name="connsiteY81" fmla="*/ 121165 h 261428"/>
                  <a:gd name="connsiteX82" fmla="*/ 152778 w 416148"/>
                  <a:gd name="connsiteY82" fmla="*/ 121165 h 261428"/>
                  <a:gd name="connsiteX83" fmla="*/ 160331 w 416148"/>
                  <a:gd name="connsiteY83" fmla="*/ 113613 h 261428"/>
                  <a:gd name="connsiteX84" fmla="*/ 160331 w 416148"/>
                  <a:gd name="connsiteY84" fmla="*/ 148678 h 261428"/>
                  <a:gd name="connsiteX85" fmla="*/ 152778 w 416148"/>
                  <a:gd name="connsiteY85" fmla="*/ 141126 h 261428"/>
                  <a:gd name="connsiteX86" fmla="*/ 72397 w 416148"/>
                  <a:gd name="connsiteY86" fmla="*/ 141126 h 261428"/>
                  <a:gd name="connsiteX87" fmla="*/ 64845 w 416148"/>
                  <a:gd name="connsiteY87" fmla="*/ 148678 h 261428"/>
                  <a:gd name="connsiteX88" fmla="*/ 72397 w 416148"/>
                  <a:gd name="connsiteY88" fmla="*/ 156231 h 261428"/>
                  <a:gd name="connsiteX89" fmla="*/ 152778 w 416148"/>
                  <a:gd name="connsiteY89" fmla="*/ 156231 h 261428"/>
                  <a:gd name="connsiteX90" fmla="*/ 160331 w 416148"/>
                  <a:gd name="connsiteY90" fmla="*/ 148678 h 261428"/>
                  <a:gd name="connsiteX91" fmla="*/ 256573 w 416148"/>
                  <a:gd name="connsiteY91" fmla="*/ 183744 h 261428"/>
                  <a:gd name="connsiteX92" fmla="*/ 249020 w 416148"/>
                  <a:gd name="connsiteY92" fmla="*/ 176192 h 261428"/>
                  <a:gd name="connsiteX93" fmla="*/ 168639 w 416148"/>
                  <a:gd name="connsiteY93" fmla="*/ 176192 h 261428"/>
                  <a:gd name="connsiteX94" fmla="*/ 161086 w 416148"/>
                  <a:gd name="connsiteY94" fmla="*/ 183744 h 261428"/>
                  <a:gd name="connsiteX95" fmla="*/ 168639 w 416148"/>
                  <a:gd name="connsiteY95" fmla="*/ 191297 h 261428"/>
                  <a:gd name="connsiteX96" fmla="*/ 249020 w 416148"/>
                  <a:gd name="connsiteY96" fmla="*/ 191297 h 261428"/>
                  <a:gd name="connsiteX97" fmla="*/ 256573 w 416148"/>
                  <a:gd name="connsiteY97" fmla="*/ 183744 h 261428"/>
                  <a:gd name="connsiteX98" fmla="*/ 256573 w 416148"/>
                  <a:gd name="connsiteY98" fmla="*/ 218810 h 261428"/>
                  <a:gd name="connsiteX99" fmla="*/ 249020 w 416148"/>
                  <a:gd name="connsiteY99" fmla="*/ 211257 h 261428"/>
                  <a:gd name="connsiteX100" fmla="*/ 168639 w 416148"/>
                  <a:gd name="connsiteY100" fmla="*/ 211257 h 261428"/>
                  <a:gd name="connsiteX101" fmla="*/ 161086 w 416148"/>
                  <a:gd name="connsiteY101" fmla="*/ 218810 h 261428"/>
                  <a:gd name="connsiteX102" fmla="*/ 168639 w 416148"/>
                  <a:gd name="connsiteY102" fmla="*/ 226362 h 261428"/>
                  <a:gd name="connsiteX103" fmla="*/ 249020 w 416148"/>
                  <a:gd name="connsiteY103" fmla="*/ 226362 h 261428"/>
                  <a:gd name="connsiteX104" fmla="*/ 256573 w 416148"/>
                  <a:gd name="connsiteY104" fmla="*/ 218810 h 261428"/>
                  <a:gd name="connsiteX105" fmla="*/ 256573 w 416148"/>
                  <a:gd name="connsiteY105" fmla="*/ 253875 h 261428"/>
                  <a:gd name="connsiteX106" fmla="*/ 249020 w 416148"/>
                  <a:gd name="connsiteY106" fmla="*/ 246323 h 261428"/>
                  <a:gd name="connsiteX107" fmla="*/ 168639 w 416148"/>
                  <a:gd name="connsiteY107" fmla="*/ 246323 h 261428"/>
                  <a:gd name="connsiteX108" fmla="*/ 161086 w 416148"/>
                  <a:gd name="connsiteY108" fmla="*/ 253875 h 261428"/>
                  <a:gd name="connsiteX109" fmla="*/ 168639 w 416148"/>
                  <a:gd name="connsiteY109" fmla="*/ 261428 h 261428"/>
                  <a:gd name="connsiteX110" fmla="*/ 249020 w 416148"/>
                  <a:gd name="connsiteY110" fmla="*/ 261428 h 261428"/>
                  <a:gd name="connsiteX111" fmla="*/ 256573 w 416148"/>
                  <a:gd name="connsiteY111" fmla="*/ 253875 h 261428"/>
                  <a:gd name="connsiteX112" fmla="*/ 195720 w 416148"/>
                  <a:gd name="connsiteY112" fmla="*/ 8740 h 261428"/>
                  <a:gd name="connsiteX113" fmla="*/ 186981 w 416148"/>
                  <a:gd name="connsiteY113" fmla="*/ 0 h 261428"/>
                  <a:gd name="connsiteX114" fmla="*/ 178241 w 416148"/>
                  <a:gd name="connsiteY114" fmla="*/ 8740 h 261428"/>
                  <a:gd name="connsiteX115" fmla="*/ 186981 w 416148"/>
                  <a:gd name="connsiteY115" fmla="*/ 17479 h 261428"/>
                  <a:gd name="connsiteX116" fmla="*/ 195720 w 416148"/>
                  <a:gd name="connsiteY116" fmla="*/ 8740 h 261428"/>
                  <a:gd name="connsiteX117" fmla="*/ 221939 w 416148"/>
                  <a:gd name="connsiteY117" fmla="*/ 8740 h 261428"/>
                  <a:gd name="connsiteX118" fmla="*/ 213199 w 416148"/>
                  <a:gd name="connsiteY118" fmla="*/ 0 h 261428"/>
                  <a:gd name="connsiteX119" fmla="*/ 204460 w 416148"/>
                  <a:gd name="connsiteY119" fmla="*/ 8740 h 261428"/>
                  <a:gd name="connsiteX120" fmla="*/ 213199 w 416148"/>
                  <a:gd name="connsiteY120" fmla="*/ 17479 h 261428"/>
                  <a:gd name="connsiteX121" fmla="*/ 221939 w 416148"/>
                  <a:gd name="connsiteY121" fmla="*/ 8740 h 261428"/>
                  <a:gd name="connsiteX122" fmla="*/ 248157 w 416148"/>
                  <a:gd name="connsiteY122" fmla="*/ 8740 h 261428"/>
                  <a:gd name="connsiteX123" fmla="*/ 239418 w 416148"/>
                  <a:gd name="connsiteY123" fmla="*/ 0 h 261428"/>
                  <a:gd name="connsiteX124" fmla="*/ 230678 w 416148"/>
                  <a:gd name="connsiteY124" fmla="*/ 8740 h 261428"/>
                  <a:gd name="connsiteX125" fmla="*/ 239418 w 416148"/>
                  <a:gd name="connsiteY125" fmla="*/ 17479 h 261428"/>
                  <a:gd name="connsiteX126" fmla="*/ 248157 w 416148"/>
                  <a:gd name="connsiteY126" fmla="*/ 8740 h 261428"/>
                  <a:gd name="connsiteX127" fmla="*/ 274375 w 416148"/>
                  <a:gd name="connsiteY127" fmla="*/ 8740 h 261428"/>
                  <a:gd name="connsiteX128" fmla="*/ 265636 w 416148"/>
                  <a:gd name="connsiteY128" fmla="*/ 0 h 261428"/>
                  <a:gd name="connsiteX129" fmla="*/ 256896 w 416148"/>
                  <a:gd name="connsiteY129" fmla="*/ 8740 h 261428"/>
                  <a:gd name="connsiteX130" fmla="*/ 265636 w 416148"/>
                  <a:gd name="connsiteY130" fmla="*/ 17479 h 261428"/>
                  <a:gd name="connsiteX131" fmla="*/ 274375 w 416148"/>
                  <a:gd name="connsiteY131" fmla="*/ 8740 h 261428"/>
                  <a:gd name="connsiteX132" fmla="*/ 300594 w 416148"/>
                  <a:gd name="connsiteY132" fmla="*/ 8740 h 261428"/>
                  <a:gd name="connsiteX133" fmla="*/ 291854 w 416148"/>
                  <a:gd name="connsiteY133" fmla="*/ 0 h 261428"/>
                  <a:gd name="connsiteX134" fmla="*/ 283115 w 416148"/>
                  <a:gd name="connsiteY134" fmla="*/ 8740 h 261428"/>
                  <a:gd name="connsiteX135" fmla="*/ 291854 w 416148"/>
                  <a:gd name="connsiteY135" fmla="*/ 17479 h 261428"/>
                  <a:gd name="connsiteX136" fmla="*/ 300594 w 416148"/>
                  <a:gd name="connsiteY136" fmla="*/ 8740 h 261428"/>
                  <a:gd name="connsiteX137" fmla="*/ 326812 w 416148"/>
                  <a:gd name="connsiteY137" fmla="*/ 8740 h 261428"/>
                  <a:gd name="connsiteX138" fmla="*/ 318073 w 416148"/>
                  <a:gd name="connsiteY138" fmla="*/ 0 h 261428"/>
                  <a:gd name="connsiteX139" fmla="*/ 309333 w 416148"/>
                  <a:gd name="connsiteY139" fmla="*/ 8740 h 261428"/>
                  <a:gd name="connsiteX140" fmla="*/ 318073 w 416148"/>
                  <a:gd name="connsiteY140" fmla="*/ 17479 h 261428"/>
                  <a:gd name="connsiteX141" fmla="*/ 326812 w 416148"/>
                  <a:gd name="connsiteY141" fmla="*/ 8740 h 261428"/>
                  <a:gd name="connsiteX142" fmla="*/ 195505 w 416148"/>
                  <a:gd name="connsiteY142" fmla="*/ 78763 h 261428"/>
                  <a:gd name="connsiteX143" fmla="*/ 186765 w 416148"/>
                  <a:gd name="connsiteY143" fmla="*/ 70024 h 261428"/>
                  <a:gd name="connsiteX144" fmla="*/ 178026 w 416148"/>
                  <a:gd name="connsiteY144" fmla="*/ 78763 h 261428"/>
                  <a:gd name="connsiteX145" fmla="*/ 186765 w 416148"/>
                  <a:gd name="connsiteY145" fmla="*/ 87502 h 261428"/>
                  <a:gd name="connsiteX146" fmla="*/ 195505 w 416148"/>
                  <a:gd name="connsiteY146" fmla="*/ 78763 h 261428"/>
                  <a:gd name="connsiteX147" fmla="*/ 221723 w 416148"/>
                  <a:gd name="connsiteY147" fmla="*/ 78763 h 261428"/>
                  <a:gd name="connsiteX148" fmla="*/ 212983 w 416148"/>
                  <a:gd name="connsiteY148" fmla="*/ 70024 h 261428"/>
                  <a:gd name="connsiteX149" fmla="*/ 204244 w 416148"/>
                  <a:gd name="connsiteY149" fmla="*/ 78763 h 261428"/>
                  <a:gd name="connsiteX150" fmla="*/ 212983 w 416148"/>
                  <a:gd name="connsiteY150" fmla="*/ 87502 h 261428"/>
                  <a:gd name="connsiteX151" fmla="*/ 221723 w 416148"/>
                  <a:gd name="connsiteY151" fmla="*/ 78763 h 261428"/>
                  <a:gd name="connsiteX152" fmla="*/ 247941 w 416148"/>
                  <a:gd name="connsiteY152" fmla="*/ 78763 h 261428"/>
                  <a:gd name="connsiteX153" fmla="*/ 239202 w 416148"/>
                  <a:gd name="connsiteY153" fmla="*/ 70024 h 261428"/>
                  <a:gd name="connsiteX154" fmla="*/ 230462 w 416148"/>
                  <a:gd name="connsiteY154" fmla="*/ 78763 h 261428"/>
                  <a:gd name="connsiteX155" fmla="*/ 239202 w 416148"/>
                  <a:gd name="connsiteY155" fmla="*/ 87502 h 261428"/>
                  <a:gd name="connsiteX156" fmla="*/ 247941 w 416148"/>
                  <a:gd name="connsiteY156" fmla="*/ 78763 h 261428"/>
                  <a:gd name="connsiteX157" fmla="*/ 274160 w 416148"/>
                  <a:gd name="connsiteY157" fmla="*/ 78763 h 261428"/>
                  <a:gd name="connsiteX158" fmla="*/ 265420 w 416148"/>
                  <a:gd name="connsiteY158" fmla="*/ 70024 h 261428"/>
                  <a:gd name="connsiteX159" fmla="*/ 256681 w 416148"/>
                  <a:gd name="connsiteY159" fmla="*/ 78763 h 261428"/>
                  <a:gd name="connsiteX160" fmla="*/ 265420 w 416148"/>
                  <a:gd name="connsiteY160" fmla="*/ 87502 h 261428"/>
                  <a:gd name="connsiteX161" fmla="*/ 274160 w 416148"/>
                  <a:gd name="connsiteY161" fmla="*/ 78763 h 261428"/>
                  <a:gd name="connsiteX162" fmla="*/ 300378 w 416148"/>
                  <a:gd name="connsiteY162" fmla="*/ 78763 h 261428"/>
                  <a:gd name="connsiteX163" fmla="*/ 291639 w 416148"/>
                  <a:gd name="connsiteY163" fmla="*/ 70024 h 261428"/>
                  <a:gd name="connsiteX164" fmla="*/ 282899 w 416148"/>
                  <a:gd name="connsiteY164" fmla="*/ 78763 h 261428"/>
                  <a:gd name="connsiteX165" fmla="*/ 291639 w 416148"/>
                  <a:gd name="connsiteY165" fmla="*/ 87502 h 261428"/>
                  <a:gd name="connsiteX166" fmla="*/ 300378 w 416148"/>
                  <a:gd name="connsiteY166" fmla="*/ 78763 h 261428"/>
                  <a:gd name="connsiteX167" fmla="*/ 326596 w 416148"/>
                  <a:gd name="connsiteY167" fmla="*/ 78763 h 261428"/>
                  <a:gd name="connsiteX168" fmla="*/ 317857 w 416148"/>
                  <a:gd name="connsiteY168" fmla="*/ 70024 h 261428"/>
                  <a:gd name="connsiteX169" fmla="*/ 309117 w 416148"/>
                  <a:gd name="connsiteY169" fmla="*/ 78763 h 261428"/>
                  <a:gd name="connsiteX170" fmla="*/ 317857 w 416148"/>
                  <a:gd name="connsiteY170" fmla="*/ 87502 h 261428"/>
                  <a:gd name="connsiteX171" fmla="*/ 326596 w 416148"/>
                  <a:gd name="connsiteY171" fmla="*/ 78763 h 261428"/>
                  <a:gd name="connsiteX172" fmla="*/ 285057 w 416148"/>
                  <a:gd name="connsiteY172" fmla="*/ 179428 h 261428"/>
                  <a:gd name="connsiteX173" fmla="*/ 276318 w 416148"/>
                  <a:gd name="connsiteY173" fmla="*/ 170689 h 261428"/>
                  <a:gd name="connsiteX174" fmla="*/ 267578 w 416148"/>
                  <a:gd name="connsiteY174" fmla="*/ 179428 h 261428"/>
                  <a:gd name="connsiteX175" fmla="*/ 276318 w 416148"/>
                  <a:gd name="connsiteY175" fmla="*/ 188168 h 261428"/>
                  <a:gd name="connsiteX176" fmla="*/ 285057 w 416148"/>
                  <a:gd name="connsiteY176" fmla="*/ 179428 h 261428"/>
                  <a:gd name="connsiteX177" fmla="*/ 311275 w 416148"/>
                  <a:gd name="connsiteY177" fmla="*/ 179428 h 261428"/>
                  <a:gd name="connsiteX178" fmla="*/ 302536 w 416148"/>
                  <a:gd name="connsiteY178" fmla="*/ 170689 h 261428"/>
                  <a:gd name="connsiteX179" fmla="*/ 293796 w 416148"/>
                  <a:gd name="connsiteY179" fmla="*/ 179428 h 261428"/>
                  <a:gd name="connsiteX180" fmla="*/ 302536 w 416148"/>
                  <a:gd name="connsiteY180" fmla="*/ 188168 h 261428"/>
                  <a:gd name="connsiteX181" fmla="*/ 311275 w 416148"/>
                  <a:gd name="connsiteY181" fmla="*/ 179428 h 261428"/>
                  <a:gd name="connsiteX182" fmla="*/ 337494 w 416148"/>
                  <a:gd name="connsiteY182" fmla="*/ 179428 h 261428"/>
                  <a:gd name="connsiteX183" fmla="*/ 328754 w 416148"/>
                  <a:gd name="connsiteY183" fmla="*/ 170689 h 261428"/>
                  <a:gd name="connsiteX184" fmla="*/ 320015 w 416148"/>
                  <a:gd name="connsiteY184" fmla="*/ 179428 h 261428"/>
                  <a:gd name="connsiteX185" fmla="*/ 328754 w 416148"/>
                  <a:gd name="connsiteY185" fmla="*/ 188168 h 261428"/>
                  <a:gd name="connsiteX186" fmla="*/ 337494 w 416148"/>
                  <a:gd name="connsiteY186" fmla="*/ 179428 h 261428"/>
                  <a:gd name="connsiteX187" fmla="*/ 363712 w 416148"/>
                  <a:gd name="connsiteY187" fmla="*/ 179428 h 261428"/>
                  <a:gd name="connsiteX188" fmla="*/ 354973 w 416148"/>
                  <a:gd name="connsiteY188" fmla="*/ 170689 h 261428"/>
                  <a:gd name="connsiteX189" fmla="*/ 346233 w 416148"/>
                  <a:gd name="connsiteY189" fmla="*/ 179428 h 261428"/>
                  <a:gd name="connsiteX190" fmla="*/ 354973 w 416148"/>
                  <a:gd name="connsiteY190" fmla="*/ 188168 h 261428"/>
                  <a:gd name="connsiteX191" fmla="*/ 363712 w 416148"/>
                  <a:gd name="connsiteY191" fmla="*/ 179428 h 261428"/>
                  <a:gd name="connsiteX192" fmla="*/ 389930 w 416148"/>
                  <a:gd name="connsiteY192" fmla="*/ 179428 h 261428"/>
                  <a:gd name="connsiteX193" fmla="*/ 381191 w 416148"/>
                  <a:gd name="connsiteY193" fmla="*/ 170689 h 261428"/>
                  <a:gd name="connsiteX194" fmla="*/ 372451 w 416148"/>
                  <a:gd name="connsiteY194" fmla="*/ 179428 h 261428"/>
                  <a:gd name="connsiteX195" fmla="*/ 381191 w 416148"/>
                  <a:gd name="connsiteY195" fmla="*/ 188168 h 261428"/>
                  <a:gd name="connsiteX196" fmla="*/ 389930 w 416148"/>
                  <a:gd name="connsiteY196" fmla="*/ 179428 h 261428"/>
                  <a:gd name="connsiteX197" fmla="*/ 416149 w 416148"/>
                  <a:gd name="connsiteY197" fmla="*/ 179428 h 261428"/>
                  <a:gd name="connsiteX198" fmla="*/ 407409 w 416148"/>
                  <a:gd name="connsiteY198" fmla="*/ 170689 h 261428"/>
                  <a:gd name="connsiteX199" fmla="*/ 398670 w 416148"/>
                  <a:gd name="connsiteY199" fmla="*/ 179428 h 261428"/>
                  <a:gd name="connsiteX200" fmla="*/ 407409 w 416148"/>
                  <a:gd name="connsiteY200" fmla="*/ 188168 h 261428"/>
                  <a:gd name="connsiteX201" fmla="*/ 416149 w 416148"/>
                  <a:gd name="connsiteY201" fmla="*/ 179428 h 261428"/>
                  <a:gd name="connsiteX202" fmla="*/ 284841 w 416148"/>
                  <a:gd name="connsiteY202" fmla="*/ 251610 h 261428"/>
                  <a:gd name="connsiteX203" fmla="*/ 276102 w 416148"/>
                  <a:gd name="connsiteY203" fmla="*/ 242870 h 261428"/>
                  <a:gd name="connsiteX204" fmla="*/ 267362 w 416148"/>
                  <a:gd name="connsiteY204" fmla="*/ 251610 h 261428"/>
                  <a:gd name="connsiteX205" fmla="*/ 276102 w 416148"/>
                  <a:gd name="connsiteY205" fmla="*/ 260349 h 261428"/>
                  <a:gd name="connsiteX206" fmla="*/ 284841 w 416148"/>
                  <a:gd name="connsiteY206" fmla="*/ 251610 h 261428"/>
                  <a:gd name="connsiteX207" fmla="*/ 311059 w 416148"/>
                  <a:gd name="connsiteY207" fmla="*/ 251610 h 261428"/>
                  <a:gd name="connsiteX208" fmla="*/ 302320 w 416148"/>
                  <a:gd name="connsiteY208" fmla="*/ 242870 h 261428"/>
                  <a:gd name="connsiteX209" fmla="*/ 293581 w 416148"/>
                  <a:gd name="connsiteY209" fmla="*/ 251610 h 261428"/>
                  <a:gd name="connsiteX210" fmla="*/ 302320 w 416148"/>
                  <a:gd name="connsiteY210" fmla="*/ 260349 h 261428"/>
                  <a:gd name="connsiteX211" fmla="*/ 311059 w 416148"/>
                  <a:gd name="connsiteY211" fmla="*/ 251610 h 261428"/>
                  <a:gd name="connsiteX212" fmla="*/ 337278 w 416148"/>
                  <a:gd name="connsiteY212" fmla="*/ 251610 h 261428"/>
                  <a:gd name="connsiteX213" fmla="*/ 328538 w 416148"/>
                  <a:gd name="connsiteY213" fmla="*/ 242870 h 261428"/>
                  <a:gd name="connsiteX214" fmla="*/ 319799 w 416148"/>
                  <a:gd name="connsiteY214" fmla="*/ 251610 h 261428"/>
                  <a:gd name="connsiteX215" fmla="*/ 328538 w 416148"/>
                  <a:gd name="connsiteY215" fmla="*/ 260349 h 261428"/>
                  <a:gd name="connsiteX216" fmla="*/ 337278 w 416148"/>
                  <a:gd name="connsiteY216" fmla="*/ 251610 h 261428"/>
                  <a:gd name="connsiteX217" fmla="*/ 363496 w 416148"/>
                  <a:gd name="connsiteY217" fmla="*/ 251610 h 261428"/>
                  <a:gd name="connsiteX218" fmla="*/ 354757 w 416148"/>
                  <a:gd name="connsiteY218" fmla="*/ 242870 h 261428"/>
                  <a:gd name="connsiteX219" fmla="*/ 346017 w 416148"/>
                  <a:gd name="connsiteY219" fmla="*/ 251610 h 261428"/>
                  <a:gd name="connsiteX220" fmla="*/ 354757 w 416148"/>
                  <a:gd name="connsiteY220" fmla="*/ 260349 h 261428"/>
                  <a:gd name="connsiteX221" fmla="*/ 363496 w 416148"/>
                  <a:gd name="connsiteY221" fmla="*/ 251610 h 261428"/>
                  <a:gd name="connsiteX222" fmla="*/ 389715 w 416148"/>
                  <a:gd name="connsiteY222" fmla="*/ 251610 h 261428"/>
                  <a:gd name="connsiteX223" fmla="*/ 380975 w 416148"/>
                  <a:gd name="connsiteY223" fmla="*/ 242870 h 261428"/>
                  <a:gd name="connsiteX224" fmla="*/ 372236 w 416148"/>
                  <a:gd name="connsiteY224" fmla="*/ 251610 h 261428"/>
                  <a:gd name="connsiteX225" fmla="*/ 380975 w 416148"/>
                  <a:gd name="connsiteY225" fmla="*/ 260349 h 261428"/>
                  <a:gd name="connsiteX226" fmla="*/ 389715 w 416148"/>
                  <a:gd name="connsiteY226" fmla="*/ 251610 h 261428"/>
                  <a:gd name="connsiteX227" fmla="*/ 415933 w 416148"/>
                  <a:gd name="connsiteY227" fmla="*/ 251610 h 261428"/>
                  <a:gd name="connsiteX228" fmla="*/ 407193 w 416148"/>
                  <a:gd name="connsiteY228" fmla="*/ 242870 h 261428"/>
                  <a:gd name="connsiteX229" fmla="*/ 398454 w 416148"/>
                  <a:gd name="connsiteY229" fmla="*/ 251610 h 261428"/>
                  <a:gd name="connsiteX230" fmla="*/ 407193 w 416148"/>
                  <a:gd name="connsiteY230" fmla="*/ 260349 h 261428"/>
                  <a:gd name="connsiteX231" fmla="*/ 415933 w 416148"/>
                  <a:gd name="connsiteY231" fmla="*/ 251610 h 26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416148" h="261428">
                    <a:moveTo>
                      <a:pt x="38195" y="15753"/>
                    </a:moveTo>
                    <a:lnTo>
                      <a:pt x="7553" y="15753"/>
                    </a:lnTo>
                    <a:cubicBezTo>
                      <a:pt x="3345" y="15753"/>
                      <a:pt x="0" y="12408"/>
                      <a:pt x="0" y="8200"/>
                    </a:cubicBezTo>
                    <a:cubicBezTo>
                      <a:pt x="0" y="3992"/>
                      <a:pt x="3345" y="647"/>
                      <a:pt x="7553" y="647"/>
                    </a:cubicBezTo>
                    <a:lnTo>
                      <a:pt x="38195" y="647"/>
                    </a:lnTo>
                    <a:cubicBezTo>
                      <a:pt x="42402" y="647"/>
                      <a:pt x="45747" y="3992"/>
                      <a:pt x="45747" y="8200"/>
                    </a:cubicBezTo>
                    <a:cubicBezTo>
                      <a:pt x="45747" y="12408"/>
                      <a:pt x="42402" y="15753"/>
                      <a:pt x="38195" y="15753"/>
                    </a:cubicBezTo>
                    <a:close/>
                    <a:moveTo>
                      <a:pt x="45747" y="43158"/>
                    </a:moveTo>
                    <a:cubicBezTo>
                      <a:pt x="45747" y="38950"/>
                      <a:pt x="42402" y="35605"/>
                      <a:pt x="38195" y="35605"/>
                    </a:cubicBezTo>
                    <a:lnTo>
                      <a:pt x="7553" y="35605"/>
                    </a:lnTo>
                    <a:cubicBezTo>
                      <a:pt x="3345" y="35605"/>
                      <a:pt x="0" y="38950"/>
                      <a:pt x="0" y="43158"/>
                    </a:cubicBezTo>
                    <a:cubicBezTo>
                      <a:pt x="0" y="47366"/>
                      <a:pt x="3345" y="50710"/>
                      <a:pt x="7553" y="50710"/>
                    </a:cubicBezTo>
                    <a:lnTo>
                      <a:pt x="38195" y="50710"/>
                    </a:lnTo>
                    <a:cubicBezTo>
                      <a:pt x="42402" y="50710"/>
                      <a:pt x="45747" y="47366"/>
                      <a:pt x="45747" y="43158"/>
                    </a:cubicBezTo>
                    <a:close/>
                    <a:moveTo>
                      <a:pt x="45747" y="78223"/>
                    </a:moveTo>
                    <a:cubicBezTo>
                      <a:pt x="45747" y="74016"/>
                      <a:pt x="42402" y="70671"/>
                      <a:pt x="38195" y="70671"/>
                    </a:cubicBezTo>
                    <a:lnTo>
                      <a:pt x="7553" y="70671"/>
                    </a:lnTo>
                    <a:cubicBezTo>
                      <a:pt x="3345" y="70671"/>
                      <a:pt x="0" y="74016"/>
                      <a:pt x="0" y="78223"/>
                    </a:cubicBezTo>
                    <a:cubicBezTo>
                      <a:pt x="0" y="82431"/>
                      <a:pt x="3345" y="85776"/>
                      <a:pt x="7553" y="85776"/>
                    </a:cubicBezTo>
                    <a:lnTo>
                      <a:pt x="38195" y="85776"/>
                    </a:lnTo>
                    <a:cubicBezTo>
                      <a:pt x="42402" y="85776"/>
                      <a:pt x="45747" y="82431"/>
                      <a:pt x="45747" y="78223"/>
                    </a:cubicBezTo>
                    <a:close/>
                    <a:moveTo>
                      <a:pt x="45747" y="113289"/>
                    </a:moveTo>
                    <a:cubicBezTo>
                      <a:pt x="45747" y="109081"/>
                      <a:pt x="42402" y="105737"/>
                      <a:pt x="38195" y="105737"/>
                    </a:cubicBezTo>
                    <a:lnTo>
                      <a:pt x="7553" y="105737"/>
                    </a:lnTo>
                    <a:cubicBezTo>
                      <a:pt x="3345" y="105737"/>
                      <a:pt x="0" y="109081"/>
                      <a:pt x="0" y="113289"/>
                    </a:cubicBezTo>
                    <a:cubicBezTo>
                      <a:pt x="0" y="117497"/>
                      <a:pt x="3345" y="120842"/>
                      <a:pt x="7553" y="120842"/>
                    </a:cubicBezTo>
                    <a:lnTo>
                      <a:pt x="38195" y="120842"/>
                    </a:lnTo>
                    <a:cubicBezTo>
                      <a:pt x="42402" y="120842"/>
                      <a:pt x="45747" y="117497"/>
                      <a:pt x="45747" y="113289"/>
                    </a:cubicBezTo>
                    <a:close/>
                    <a:moveTo>
                      <a:pt x="45747" y="148355"/>
                    </a:moveTo>
                    <a:cubicBezTo>
                      <a:pt x="45747" y="144147"/>
                      <a:pt x="42402" y="140802"/>
                      <a:pt x="38195" y="140802"/>
                    </a:cubicBezTo>
                    <a:lnTo>
                      <a:pt x="7553" y="140802"/>
                    </a:lnTo>
                    <a:cubicBezTo>
                      <a:pt x="3345" y="140802"/>
                      <a:pt x="0" y="144147"/>
                      <a:pt x="0" y="148355"/>
                    </a:cubicBezTo>
                    <a:cubicBezTo>
                      <a:pt x="0" y="152563"/>
                      <a:pt x="3345" y="155907"/>
                      <a:pt x="7553" y="155907"/>
                    </a:cubicBezTo>
                    <a:lnTo>
                      <a:pt x="38195" y="155907"/>
                    </a:lnTo>
                    <a:cubicBezTo>
                      <a:pt x="42402" y="155907"/>
                      <a:pt x="45747" y="152563"/>
                      <a:pt x="45747" y="148355"/>
                    </a:cubicBezTo>
                    <a:close/>
                    <a:moveTo>
                      <a:pt x="45747" y="183420"/>
                    </a:moveTo>
                    <a:cubicBezTo>
                      <a:pt x="45747" y="179213"/>
                      <a:pt x="42402" y="175868"/>
                      <a:pt x="38195" y="175868"/>
                    </a:cubicBezTo>
                    <a:lnTo>
                      <a:pt x="7553" y="175868"/>
                    </a:lnTo>
                    <a:cubicBezTo>
                      <a:pt x="3345" y="175868"/>
                      <a:pt x="0" y="179213"/>
                      <a:pt x="0" y="183420"/>
                    </a:cubicBezTo>
                    <a:cubicBezTo>
                      <a:pt x="0" y="187628"/>
                      <a:pt x="3345" y="190973"/>
                      <a:pt x="7553" y="190973"/>
                    </a:cubicBezTo>
                    <a:lnTo>
                      <a:pt x="38195" y="190973"/>
                    </a:lnTo>
                    <a:cubicBezTo>
                      <a:pt x="42402" y="190973"/>
                      <a:pt x="45747" y="187628"/>
                      <a:pt x="45747" y="183420"/>
                    </a:cubicBezTo>
                    <a:close/>
                    <a:moveTo>
                      <a:pt x="45747" y="218486"/>
                    </a:moveTo>
                    <a:cubicBezTo>
                      <a:pt x="45747" y="214278"/>
                      <a:pt x="42402" y="210934"/>
                      <a:pt x="38195" y="210934"/>
                    </a:cubicBezTo>
                    <a:lnTo>
                      <a:pt x="7553" y="210934"/>
                    </a:lnTo>
                    <a:cubicBezTo>
                      <a:pt x="3345" y="210934"/>
                      <a:pt x="0" y="214278"/>
                      <a:pt x="0" y="218486"/>
                    </a:cubicBezTo>
                    <a:cubicBezTo>
                      <a:pt x="0" y="222694"/>
                      <a:pt x="3345" y="226039"/>
                      <a:pt x="7553" y="226039"/>
                    </a:cubicBezTo>
                    <a:lnTo>
                      <a:pt x="38195" y="226039"/>
                    </a:lnTo>
                    <a:cubicBezTo>
                      <a:pt x="42402" y="226039"/>
                      <a:pt x="45747" y="222694"/>
                      <a:pt x="45747" y="218486"/>
                    </a:cubicBezTo>
                    <a:close/>
                    <a:moveTo>
                      <a:pt x="45747" y="253552"/>
                    </a:moveTo>
                    <a:cubicBezTo>
                      <a:pt x="45747" y="249344"/>
                      <a:pt x="42402" y="245999"/>
                      <a:pt x="38195" y="245999"/>
                    </a:cubicBezTo>
                    <a:lnTo>
                      <a:pt x="7553" y="245999"/>
                    </a:lnTo>
                    <a:cubicBezTo>
                      <a:pt x="3345" y="245999"/>
                      <a:pt x="0" y="249344"/>
                      <a:pt x="0" y="253552"/>
                    </a:cubicBezTo>
                    <a:cubicBezTo>
                      <a:pt x="0" y="257760"/>
                      <a:pt x="3345" y="261104"/>
                      <a:pt x="7553" y="261104"/>
                    </a:cubicBezTo>
                    <a:lnTo>
                      <a:pt x="38195" y="261104"/>
                    </a:lnTo>
                    <a:cubicBezTo>
                      <a:pt x="42402" y="261104"/>
                      <a:pt x="45747" y="257760"/>
                      <a:pt x="45747" y="253552"/>
                    </a:cubicBezTo>
                    <a:close/>
                    <a:moveTo>
                      <a:pt x="160331" y="8416"/>
                    </a:moveTo>
                    <a:cubicBezTo>
                      <a:pt x="160331" y="4208"/>
                      <a:pt x="156986" y="863"/>
                      <a:pt x="152778" y="863"/>
                    </a:cubicBezTo>
                    <a:lnTo>
                      <a:pt x="72397" y="863"/>
                    </a:lnTo>
                    <a:cubicBezTo>
                      <a:pt x="68189" y="863"/>
                      <a:pt x="64845" y="4208"/>
                      <a:pt x="64845" y="8416"/>
                    </a:cubicBezTo>
                    <a:cubicBezTo>
                      <a:pt x="64845" y="12624"/>
                      <a:pt x="68189" y="15968"/>
                      <a:pt x="72397" y="15968"/>
                    </a:cubicBezTo>
                    <a:lnTo>
                      <a:pt x="152778" y="15968"/>
                    </a:lnTo>
                    <a:cubicBezTo>
                      <a:pt x="156986" y="15968"/>
                      <a:pt x="160331" y="12624"/>
                      <a:pt x="160331" y="8416"/>
                    </a:cubicBezTo>
                    <a:close/>
                    <a:moveTo>
                      <a:pt x="160331" y="43481"/>
                    </a:moveTo>
                    <a:cubicBezTo>
                      <a:pt x="160331" y="39274"/>
                      <a:pt x="156986" y="35929"/>
                      <a:pt x="152778" y="35929"/>
                    </a:cubicBezTo>
                    <a:lnTo>
                      <a:pt x="72397" y="35929"/>
                    </a:lnTo>
                    <a:cubicBezTo>
                      <a:pt x="68189" y="35929"/>
                      <a:pt x="64845" y="39274"/>
                      <a:pt x="64845" y="43481"/>
                    </a:cubicBezTo>
                    <a:cubicBezTo>
                      <a:pt x="64845" y="47689"/>
                      <a:pt x="68189" y="51034"/>
                      <a:pt x="72397" y="51034"/>
                    </a:cubicBezTo>
                    <a:lnTo>
                      <a:pt x="152778" y="51034"/>
                    </a:lnTo>
                    <a:cubicBezTo>
                      <a:pt x="156986" y="51034"/>
                      <a:pt x="160331" y="47689"/>
                      <a:pt x="160331" y="43481"/>
                    </a:cubicBezTo>
                    <a:close/>
                    <a:moveTo>
                      <a:pt x="160331" y="78547"/>
                    </a:moveTo>
                    <a:cubicBezTo>
                      <a:pt x="160331" y="74339"/>
                      <a:pt x="156986" y="70995"/>
                      <a:pt x="152778" y="70995"/>
                    </a:cubicBezTo>
                    <a:lnTo>
                      <a:pt x="72397" y="70995"/>
                    </a:lnTo>
                    <a:cubicBezTo>
                      <a:pt x="68189" y="70995"/>
                      <a:pt x="64845" y="74339"/>
                      <a:pt x="64845" y="78547"/>
                    </a:cubicBezTo>
                    <a:cubicBezTo>
                      <a:pt x="64845" y="82755"/>
                      <a:pt x="68189" y="86100"/>
                      <a:pt x="72397" y="86100"/>
                    </a:cubicBezTo>
                    <a:lnTo>
                      <a:pt x="152778" y="86100"/>
                    </a:lnTo>
                    <a:cubicBezTo>
                      <a:pt x="156986" y="86100"/>
                      <a:pt x="160331" y="82755"/>
                      <a:pt x="160331" y="78547"/>
                    </a:cubicBezTo>
                    <a:close/>
                    <a:moveTo>
                      <a:pt x="160331" y="113613"/>
                    </a:moveTo>
                    <a:cubicBezTo>
                      <a:pt x="160331" y="109405"/>
                      <a:pt x="156986" y="106060"/>
                      <a:pt x="152778" y="106060"/>
                    </a:cubicBezTo>
                    <a:lnTo>
                      <a:pt x="72397" y="106060"/>
                    </a:lnTo>
                    <a:cubicBezTo>
                      <a:pt x="68189" y="106060"/>
                      <a:pt x="64845" y="109405"/>
                      <a:pt x="64845" y="113613"/>
                    </a:cubicBezTo>
                    <a:cubicBezTo>
                      <a:pt x="64845" y="117821"/>
                      <a:pt x="68189" y="121165"/>
                      <a:pt x="72397" y="121165"/>
                    </a:cubicBezTo>
                    <a:lnTo>
                      <a:pt x="152778" y="121165"/>
                    </a:lnTo>
                    <a:cubicBezTo>
                      <a:pt x="156986" y="121165"/>
                      <a:pt x="160331" y="117821"/>
                      <a:pt x="160331" y="113613"/>
                    </a:cubicBezTo>
                    <a:close/>
                    <a:moveTo>
                      <a:pt x="160331" y="148678"/>
                    </a:moveTo>
                    <a:cubicBezTo>
                      <a:pt x="160331" y="144471"/>
                      <a:pt x="156986" y="141126"/>
                      <a:pt x="152778" y="141126"/>
                    </a:cubicBezTo>
                    <a:lnTo>
                      <a:pt x="72397" y="141126"/>
                    </a:lnTo>
                    <a:cubicBezTo>
                      <a:pt x="68189" y="141126"/>
                      <a:pt x="64845" y="144471"/>
                      <a:pt x="64845" y="148678"/>
                    </a:cubicBezTo>
                    <a:cubicBezTo>
                      <a:pt x="64845" y="152886"/>
                      <a:pt x="68189" y="156231"/>
                      <a:pt x="72397" y="156231"/>
                    </a:cubicBezTo>
                    <a:lnTo>
                      <a:pt x="152778" y="156231"/>
                    </a:lnTo>
                    <a:cubicBezTo>
                      <a:pt x="156986" y="156231"/>
                      <a:pt x="160331" y="152886"/>
                      <a:pt x="160331" y="148678"/>
                    </a:cubicBezTo>
                    <a:close/>
                    <a:moveTo>
                      <a:pt x="256573" y="183744"/>
                    </a:moveTo>
                    <a:cubicBezTo>
                      <a:pt x="256573" y="179536"/>
                      <a:pt x="253228" y="176192"/>
                      <a:pt x="249020" y="176192"/>
                    </a:cubicBezTo>
                    <a:lnTo>
                      <a:pt x="168639" y="176192"/>
                    </a:lnTo>
                    <a:cubicBezTo>
                      <a:pt x="164431" y="176192"/>
                      <a:pt x="161086" y="179536"/>
                      <a:pt x="161086" y="183744"/>
                    </a:cubicBezTo>
                    <a:cubicBezTo>
                      <a:pt x="161086" y="187952"/>
                      <a:pt x="164431" y="191297"/>
                      <a:pt x="168639" y="191297"/>
                    </a:cubicBezTo>
                    <a:lnTo>
                      <a:pt x="249020" y="191297"/>
                    </a:lnTo>
                    <a:cubicBezTo>
                      <a:pt x="253228" y="191297"/>
                      <a:pt x="256573" y="187952"/>
                      <a:pt x="256573" y="183744"/>
                    </a:cubicBezTo>
                    <a:close/>
                    <a:moveTo>
                      <a:pt x="256573" y="218810"/>
                    </a:moveTo>
                    <a:cubicBezTo>
                      <a:pt x="256573" y="214602"/>
                      <a:pt x="253228" y="211257"/>
                      <a:pt x="249020" y="211257"/>
                    </a:cubicBezTo>
                    <a:lnTo>
                      <a:pt x="168639" y="211257"/>
                    </a:lnTo>
                    <a:cubicBezTo>
                      <a:pt x="164431" y="211257"/>
                      <a:pt x="161086" y="214602"/>
                      <a:pt x="161086" y="218810"/>
                    </a:cubicBezTo>
                    <a:cubicBezTo>
                      <a:pt x="161086" y="223018"/>
                      <a:pt x="164431" y="226362"/>
                      <a:pt x="168639" y="226362"/>
                    </a:cubicBezTo>
                    <a:lnTo>
                      <a:pt x="249020" y="226362"/>
                    </a:lnTo>
                    <a:cubicBezTo>
                      <a:pt x="253228" y="226362"/>
                      <a:pt x="256573" y="223018"/>
                      <a:pt x="256573" y="218810"/>
                    </a:cubicBezTo>
                    <a:close/>
                    <a:moveTo>
                      <a:pt x="256573" y="253875"/>
                    </a:moveTo>
                    <a:cubicBezTo>
                      <a:pt x="256573" y="249668"/>
                      <a:pt x="253228" y="246323"/>
                      <a:pt x="249020" y="246323"/>
                    </a:cubicBezTo>
                    <a:lnTo>
                      <a:pt x="168639" y="246323"/>
                    </a:lnTo>
                    <a:cubicBezTo>
                      <a:pt x="164431" y="246323"/>
                      <a:pt x="161086" y="249668"/>
                      <a:pt x="161086" y="253875"/>
                    </a:cubicBezTo>
                    <a:cubicBezTo>
                      <a:pt x="161086" y="258083"/>
                      <a:pt x="164431" y="261428"/>
                      <a:pt x="168639" y="261428"/>
                    </a:cubicBezTo>
                    <a:lnTo>
                      <a:pt x="249020" y="261428"/>
                    </a:lnTo>
                    <a:cubicBezTo>
                      <a:pt x="253228" y="261428"/>
                      <a:pt x="256573" y="258083"/>
                      <a:pt x="256573" y="253875"/>
                    </a:cubicBezTo>
                    <a:close/>
                    <a:moveTo>
                      <a:pt x="195720" y="8740"/>
                    </a:moveTo>
                    <a:cubicBezTo>
                      <a:pt x="195720" y="3884"/>
                      <a:pt x="191836" y="0"/>
                      <a:pt x="186981" y="0"/>
                    </a:cubicBezTo>
                    <a:cubicBezTo>
                      <a:pt x="182126" y="0"/>
                      <a:pt x="178241" y="3884"/>
                      <a:pt x="178241" y="8740"/>
                    </a:cubicBezTo>
                    <a:cubicBezTo>
                      <a:pt x="178241" y="13595"/>
                      <a:pt x="182126" y="17479"/>
                      <a:pt x="186981" y="17479"/>
                    </a:cubicBezTo>
                    <a:cubicBezTo>
                      <a:pt x="191836" y="17479"/>
                      <a:pt x="195720" y="13595"/>
                      <a:pt x="195720" y="8740"/>
                    </a:cubicBezTo>
                    <a:close/>
                    <a:moveTo>
                      <a:pt x="221939" y="8740"/>
                    </a:moveTo>
                    <a:cubicBezTo>
                      <a:pt x="221939" y="3884"/>
                      <a:pt x="218055" y="0"/>
                      <a:pt x="213199" y="0"/>
                    </a:cubicBezTo>
                    <a:cubicBezTo>
                      <a:pt x="208344" y="0"/>
                      <a:pt x="204460" y="3884"/>
                      <a:pt x="204460" y="8740"/>
                    </a:cubicBezTo>
                    <a:cubicBezTo>
                      <a:pt x="204460" y="13595"/>
                      <a:pt x="208344" y="17479"/>
                      <a:pt x="213199" y="17479"/>
                    </a:cubicBezTo>
                    <a:cubicBezTo>
                      <a:pt x="218055" y="17479"/>
                      <a:pt x="221939" y="13595"/>
                      <a:pt x="221939" y="8740"/>
                    </a:cubicBezTo>
                    <a:close/>
                    <a:moveTo>
                      <a:pt x="248157" y="8740"/>
                    </a:moveTo>
                    <a:cubicBezTo>
                      <a:pt x="248157" y="3884"/>
                      <a:pt x="244273" y="0"/>
                      <a:pt x="239418" y="0"/>
                    </a:cubicBezTo>
                    <a:cubicBezTo>
                      <a:pt x="234562" y="0"/>
                      <a:pt x="230678" y="3884"/>
                      <a:pt x="230678" y="8740"/>
                    </a:cubicBezTo>
                    <a:cubicBezTo>
                      <a:pt x="230678" y="13595"/>
                      <a:pt x="234562" y="17479"/>
                      <a:pt x="239418" y="17479"/>
                    </a:cubicBezTo>
                    <a:cubicBezTo>
                      <a:pt x="244273" y="17479"/>
                      <a:pt x="248157" y="13595"/>
                      <a:pt x="248157" y="8740"/>
                    </a:cubicBezTo>
                    <a:close/>
                    <a:moveTo>
                      <a:pt x="274375" y="8740"/>
                    </a:moveTo>
                    <a:cubicBezTo>
                      <a:pt x="274375" y="3884"/>
                      <a:pt x="270491" y="0"/>
                      <a:pt x="265636" y="0"/>
                    </a:cubicBezTo>
                    <a:cubicBezTo>
                      <a:pt x="260781" y="0"/>
                      <a:pt x="256896" y="3884"/>
                      <a:pt x="256896" y="8740"/>
                    </a:cubicBezTo>
                    <a:cubicBezTo>
                      <a:pt x="256896" y="13595"/>
                      <a:pt x="260781" y="17479"/>
                      <a:pt x="265636" y="17479"/>
                    </a:cubicBezTo>
                    <a:cubicBezTo>
                      <a:pt x="270491" y="17479"/>
                      <a:pt x="274375" y="13595"/>
                      <a:pt x="274375" y="8740"/>
                    </a:cubicBezTo>
                    <a:close/>
                    <a:moveTo>
                      <a:pt x="300594" y="8740"/>
                    </a:moveTo>
                    <a:cubicBezTo>
                      <a:pt x="300594" y="3884"/>
                      <a:pt x="296709" y="0"/>
                      <a:pt x="291854" y="0"/>
                    </a:cubicBezTo>
                    <a:cubicBezTo>
                      <a:pt x="286999" y="0"/>
                      <a:pt x="283115" y="3884"/>
                      <a:pt x="283115" y="8740"/>
                    </a:cubicBezTo>
                    <a:cubicBezTo>
                      <a:pt x="283115" y="13595"/>
                      <a:pt x="286999" y="17479"/>
                      <a:pt x="291854" y="17479"/>
                    </a:cubicBezTo>
                    <a:cubicBezTo>
                      <a:pt x="296709" y="17479"/>
                      <a:pt x="300594" y="13595"/>
                      <a:pt x="300594" y="8740"/>
                    </a:cubicBezTo>
                    <a:close/>
                    <a:moveTo>
                      <a:pt x="326812" y="8740"/>
                    </a:moveTo>
                    <a:cubicBezTo>
                      <a:pt x="326812" y="3884"/>
                      <a:pt x="322928" y="0"/>
                      <a:pt x="318073" y="0"/>
                    </a:cubicBezTo>
                    <a:cubicBezTo>
                      <a:pt x="313217" y="0"/>
                      <a:pt x="309333" y="3884"/>
                      <a:pt x="309333" y="8740"/>
                    </a:cubicBezTo>
                    <a:cubicBezTo>
                      <a:pt x="309333" y="13595"/>
                      <a:pt x="313217" y="17479"/>
                      <a:pt x="318073" y="17479"/>
                    </a:cubicBezTo>
                    <a:cubicBezTo>
                      <a:pt x="322928" y="17479"/>
                      <a:pt x="326812" y="13595"/>
                      <a:pt x="326812" y="8740"/>
                    </a:cubicBezTo>
                    <a:close/>
                    <a:moveTo>
                      <a:pt x="195505" y="78763"/>
                    </a:moveTo>
                    <a:cubicBezTo>
                      <a:pt x="195505" y="73908"/>
                      <a:pt x="191620" y="70024"/>
                      <a:pt x="186765" y="70024"/>
                    </a:cubicBezTo>
                    <a:cubicBezTo>
                      <a:pt x="181910" y="70024"/>
                      <a:pt x="178026" y="73908"/>
                      <a:pt x="178026" y="78763"/>
                    </a:cubicBezTo>
                    <a:cubicBezTo>
                      <a:pt x="178026" y="83618"/>
                      <a:pt x="181910" y="87502"/>
                      <a:pt x="186765" y="87502"/>
                    </a:cubicBezTo>
                    <a:cubicBezTo>
                      <a:pt x="191620" y="87502"/>
                      <a:pt x="195505" y="83618"/>
                      <a:pt x="195505" y="78763"/>
                    </a:cubicBezTo>
                    <a:close/>
                    <a:moveTo>
                      <a:pt x="221723" y="78763"/>
                    </a:moveTo>
                    <a:cubicBezTo>
                      <a:pt x="221723" y="73908"/>
                      <a:pt x="217839" y="70024"/>
                      <a:pt x="212983" y="70024"/>
                    </a:cubicBezTo>
                    <a:cubicBezTo>
                      <a:pt x="208128" y="70024"/>
                      <a:pt x="204244" y="73908"/>
                      <a:pt x="204244" y="78763"/>
                    </a:cubicBezTo>
                    <a:cubicBezTo>
                      <a:pt x="204244" y="83618"/>
                      <a:pt x="208128" y="87502"/>
                      <a:pt x="212983" y="87502"/>
                    </a:cubicBezTo>
                    <a:cubicBezTo>
                      <a:pt x="217839" y="87502"/>
                      <a:pt x="221723" y="83618"/>
                      <a:pt x="221723" y="78763"/>
                    </a:cubicBezTo>
                    <a:close/>
                    <a:moveTo>
                      <a:pt x="247941" y="78763"/>
                    </a:moveTo>
                    <a:cubicBezTo>
                      <a:pt x="247941" y="73908"/>
                      <a:pt x="244057" y="70024"/>
                      <a:pt x="239202" y="70024"/>
                    </a:cubicBezTo>
                    <a:cubicBezTo>
                      <a:pt x="234347" y="70024"/>
                      <a:pt x="230462" y="73908"/>
                      <a:pt x="230462" y="78763"/>
                    </a:cubicBezTo>
                    <a:cubicBezTo>
                      <a:pt x="230462" y="83618"/>
                      <a:pt x="234347" y="87502"/>
                      <a:pt x="239202" y="87502"/>
                    </a:cubicBezTo>
                    <a:cubicBezTo>
                      <a:pt x="244057" y="87502"/>
                      <a:pt x="247941" y="83618"/>
                      <a:pt x="247941" y="78763"/>
                    </a:cubicBezTo>
                    <a:close/>
                    <a:moveTo>
                      <a:pt x="274160" y="78763"/>
                    </a:moveTo>
                    <a:cubicBezTo>
                      <a:pt x="274160" y="73908"/>
                      <a:pt x="270275" y="70024"/>
                      <a:pt x="265420" y="70024"/>
                    </a:cubicBezTo>
                    <a:cubicBezTo>
                      <a:pt x="260565" y="70024"/>
                      <a:pt x="256681" y="73908"/>
                      <a:pt x="256681" y="78763"/>
                    </a:cubicBezTo>
                    <a:cubicBezTo>
                      <a:pt x="256681" y="83618"/>
                      <a:pt x="260565" y="87502"/>
                      <a:pt x="265420" y="87502"/>
                    </a:cubicBezTo>
                    <a:cubicBezTo>
                      <a:pt x="270275" y="87502"/>
                      <a:pt x="274160" y="83618"/>
                      <a:pt x="274160" y="78763"/>
                    </a:cubicBezTo>
                    <a:close/>
                    <a:moveTo>
                      <a:pt x="300378" y="78763"/>
                    </a:moveTo>
                    <a:cubicBezTo>
                      <a:pt x="300378" y="73908"/>
                      <a:pt x="296494" y="70024"/>
                      <a:pt x="291639" y="70024"/>
                    </a:cubicBezTo>
                    <a:cubicBezTo>
                      <a:pt x="286783" y="70024"/>
                      <a:pt x="282899" y="73908"/>
                      <a:pt x="282899" y="78763"/>
                    </a:cubicBezTo>
                    <a:cubicBezTo>
                      <a:pt x="282899" y="83618"/>
                      <a:pt x="286783" y="87502"/>
                      <a:pt x="291639" y="87502"/>
                    </a:cubicBezTo>
                    <a:cubicBezTo>
                      <a:pt x="296494" y="87502"/>
                      <a:pt x="300378" y="83618"/>
                      <a:pt x="300378" y="78763"/>
                    </a:cubicBezTo>
                    <a:close/>
                    <a:moveTo>
                      <a:pt x="326596" y="78763"/>
                    </a:moveTo>
                    <a:cubicBezTo>
                      <a:pt x="326596" y="73908"/>
                      <a:pt x="322712" y="70024"/>
                      <a:pt x="317857" y="70024"/>
                    </a:cubicBezTo>
                    <a:cubicBezTo>
                      <a:pt x="313002" y="70024"/>
                      <a:pt x="309117" y="73908"/>
                      <a:pt x="309117" y="78763"/>
                    </a:cubicBezTo>
                    <a:cubicBezTo>
                      <a:pt x="309117" y="83618"/>
                      <a:pt x="313002" y="87502"/>
                      <a:pt x="317857" y="87502"/>
                    </a:cubicBezTo>
                    <a:cubicBezTo>
                      <a:pt x="322712" y="87502"/>
                      <a:pt x="326596" y="83618"/>
                      <a:pt x="326596" y="78763"/>
                    </a:cubicBezTo>
                    <a:close/>
                    <a:moveTo>
                      <a:pt x="285057" y="179428"/>
                    </a:moveTo>
                    <a:cubicBezTo>
                      <a:pt x="285057" y="174573"/>
                      <a:pt x="281173" y="170689"/>
                      <a:pt x="276318" y="170689"/>
                    </a:cubicBezTo>
                    <a:cubicBezTo>
                      <a:pt x="271462" y="170689"/>
                      <a:pt x="267578" y="174573"/>
                      <a:pt x="267578" y="179428"/>
                    </a:cubicBezTo>
                    <a:cubicBezTo>
                      <a:pt x="267578" y="184284"/>
                      <a:pt x="271462" y="188168"/>
                      <a:pt x="276318" y="188168"/>
                    </a:cubicBezTo>
                    <a:cubicBezTo>
                      <a:pt x="281173" y="188168"/>
                      <a:pt x="285057" y="184284"/>
                      <a:pt x="285057" y="179428"/>
                    </a:cubicBezTo>
                    <a:close/>
                    <a:moveTo>
                      <a:pt x="311275" y="179428"/>
                    </a:moveTo>
                    <a:cubicBezTo>
                      <a:pt x="311275" y="174573"/>
                      <a:pt x="307391" y="170689"/>
                      <a:pt x="302536" y="170689"/>
                    </a:cubicBezTo>
                    <a:cubicBezTo>
                      <a:pt x="297681" y="170689"/>
                      <a:pt x="293796" y="174573"/>
                      <a:pt x="293796" y="179428"/>
                    </a:cubicBezTo>
                    <a:cubicBezTo>
                      <a:pt x="293796" y="184284"/>
                      <a:pt x="297681" y="188168"/>
                      <a:pt x="302536" y="188168"/>
                    </a:cubicBezTo>
                    <a:cubicBezTo>
                      <a:pt x="307391" y="188168"/>
                      <a:pt x="311275" y="184284"/>
                      <a:pt x="311275" y="179428"/>
                    </a:cubicBezTo>
                    <a:close/>
                    <a:moveTo>
                      <a:pt x="337494" y="179428"/>
                    </a:moveTo>
                    <a:cubicBezTo>
                      <a:pt x="337494" y="174573"/>
                      <a:pt x="333609" y="170689"/>
                      <a:pt x="328754" y="170689"/>
                    </a:cubicBezTo>
                    <a:cubicBezTo>
                      <a:pt x="323899" y="170689"/>
                      <a:pt x="320015" y="174573"/>
                      <a:pt x="320015" y="179428"/>
                    </a:cubicBezTo>
                    <a:cubicBezTo>
                      <a:pt x="320015" y="184284"/>
                      <a:pt x="323899" y="188168"/>
                      <a:pt x="328754" y="188168"/>
                    </a:cubicBezTo>
                    <a:cubicBezTo>
                      <a:pt x="333609" y="188168"/>
                      <a:pt x="337494" y="184284"/>
                      <a:pt x="337494" y="179428"/>
                    </a:cubicBezTo>
                    <a:close/>
                    <a:moveTo>
                      <a:pt x="363712" y="179428"/>
                    </a:moveTo>
                    <a:cubicBezTo>
                      <a:pt x="363712" y="174573"/>
                      <a:pt x="359828" y="170689"/>
                      <a:pt x="354973" y="170689"/>
                    </a:cubicBezTo>
                    <a:cubicBezTo>
                      <a:pt x="350117" y="170689"/>
                      <a:pt x="346233" y="174573"/>
                      <a:pt x="346233" y="179428"/>
                    </a:cubicBezTo>
                    <a:cubicBezTo>
                      <a:pt x="346233" y="184284"/>
                      <a:pt x="350117" y="188168"/>
                      <a:pt x="354973" y="188168"/>
                    </a:cubicBezTo>
                    <a:cubicBezTo>
                      <a:pt x="359828" y="188168"/>
                      <a:pt x="363712" y="184284"/>
                      <a:pt x="363712" y="179428"/>
                    </a:cubicBezTo>
                    <a:close/>
                    <a:moveTo>
                      <a:pt x="389930" y="179428"/>
                    </a:moveTo>
                    <a:cubicBezTo>
                      <a:pt x="389930" y="174573"/>
                      <a:pt x="386046" y="170689"/>
                      <a:pt x="381191" y="170689"/>
                    </a:cubicBezTo>
                    <a:cubicBezTo>
                      <a:pt x="376336" y="170689"/>
                      <a:pt x="372451" y="174573"/>
                      <a:pt x="372451" y="179428"/>
                    </a:cubicBezTo>
                    <a:cubicBezTo>
                      <a:pt x="372451" y="184284"/>
                      <a:pt x="376336" y="188168"/>
                      <a:pt x="381191" y="188168"/>
                    </a:cubicBezTo>
                    <a:cubicBezTo>
                      <a:pt x="386046" y="188168"/>
                      <a:pt x="389930" y="184284"/>
                      <a:pt x="389930" y="179428"/>
                    </a:cubicBezTo>
                    <a:close/>
                    <a:moveTo>
                      <a:pt x="416149" y="179428"/>
                    </a:moveTo>
                    <a:cubicBezTo>
                      <a:pt x="416149" y="174573"/>
                      <a:pt x="412264" y="170689"/>
                      <a:pt x="407409" y="170689"/>
                    </a:cubicBezTo>
                    <a:cubicBezTo>
                      <a:pt x="402554" y="170689"/>
                      <a:pt x="398670" y="174573"/>
                      <a:pt x="398670" y="179428"/>
                    </a:cubicBezTo>
                    <a:cubicBezTo>
                      <a:pt x="398670" y="184284"/>
                      <a:pt x="402554" y="188168"/>
                      <a:pt x="407409" y="188168"/>
                    </a:cubicBezTo>
                    <a:cubicBezTo>
                      <a:pt x="412264" y="188168"/>
                      <a:pt x="416149" y="184284"/>
                      <a:pt x="416149" y="179428"/>
                    </a:cubicBezTo>
                    <a:close/>
                    <a:moveTo>
                      <a:pt x="284841" y="251610"/>
                    </a:moveTo>
                    <a:cubicBezTo>
                      <a:pt x="284841" y="246754"/>
                      <a:pt x="280957" y="242870"/>
                      <a:pt x="276102" y="242870"/>
                    </a:cubicBezTo>
                    <a:cubicBezTo>
                      <a:pt x="271246" y="242870"/>
                      <a:pt x="267362" y="246754"/>
                      <a:pt x="267362" y="251610"/>
                    </a:cubicBezTo>
                    <a:cubicBezTo>
                      <a:pt x="267362" y="256465"/>
                      <a:pt x="271246" y="260349"/>
                      <a:pt x="276102" y="260349"/>
                    </a:cubicBezTo>
                    <a:cubicBezTo>
                      <a:pt x="280957" y="260349"/>
                      <a:pt x="284841" y="256465"/>
                      <a:pt x="284841" y="251610"/>
                    </a:cubicBezTo>
                    <a:close/>
                    <a:moveTo>
                      <a:pt x="311059" y="251610"/>
                    </a:moveTo>
                    <a:cubicBezTo>
                      <a:pt x="311059" y="246754"/>
                      <a:pt x="307175" y="242870"/>
                      <a:pt x="302320" y="242870"/>
                    </a:cubicBezTo>
                    <a:cubicBezTo>
                      <a:pt x="297465" y="242870"/>
                      <a:pt x="293581" y="246754"/>
                      <a:pt x="293581" y="251610"/>
                    </a:cubicBezTo>
                    <a:cubicBezTo>
                      <a:pt x="293581" y="256465"/>
                      <a:pt x="297465" y="260349"/>
                      <a:pt x="302320" y="260349"/>
                    </a:cubicBezTo>
                    <a:cubicBezTo>
                      <a:pt x="307175" y="260349"/>
                      <a:pt x="311059" y="256465"/>
                      <a:pt x="311059" y="251610"/>
                    </a:cubicBezTo>
                    <a:close/>
                    <a:moveTo>
                      <a:pt x="337278" y="251610"/>
                    </a:moveTo>
                    <a:cubicBezTo>
                      <a:pt x="337278" y="246754"/>
                      <a:pt x="333394" y="242870"/>
                      <a:pt x="328538" y="242870"/>
                    </a:cubicBezTo>
                    <a:cubicBezTo>
                      <a:pt x="323683" y="242870"/>
                      <a:pt x="319799" y="246754"/>
                      <a:pt x="319799" y="251610"/>
                    </a:cubicBezTo>
                    <a:cubicBezTo>
                      <a:pt x="319799" y="256465"/>
                      <a:pt x="323683" y="260349"/>
                      <a:pt x="328538" y="260349"/>
                    </a:cubicBezTo>
                    <a:cubicBezTo>
                      <a:pt x="333394" y="260349"/>
                      <a:pt x="337278" y="256465"/>
                      <a:pt x="337278" y="251610"/>
                    </a:cubicBezTo>
                    <a:close/>
                    <a:moveTo>
                      <a:pt x="363496" y="251610"/>
                    </a:moveTo>
                    <a:cubicBezTo>
                      <a:pt x="363496" y="246754"/>
                      <a:pt x="359612" y="242870"/>
                      <a:pt x="354757" y="242870"/>
                    </a:cubicBezTo>
                    <a:cubicBezTo>
                      <a:pt x="349901" y="242870"/>
                      <a:pt x="346017" y="246754"/>
                      <a:pt x="346017" y="251610"/>
                    </a:cubicBezTo>
                    <a:cubicBezTo>
                      <a:pt x="346017" y="256465"/>
                      <a:pt x="349901" y="260349"/>
                      <a:pt x="354757" y="260349"/>
                    </a:cubicBezTo>
                    <a:cubicBezTo>
                      <a:pt x="359612" y="260349"/>
                      <a:pt x="363496" y="256465"/>
                      <a:pt x="363496" y="251610"/>
                    </a:cubicBezTo>
                    <a:close/>
                    <a:moveTo>
                      <a:pt x="389715" y="251610"/>
                    </a:moveTo>
                    <a:cubicBezTo>
                      <a:pt x="389715" y="246754"/>
                      <a:pt x="385830" y="242870"/>
                      <a:pt x="380975" y="242870"/>
                    </a:cubicBezTo>
                    <a:cubicBezTo>
                      <a:pt x="376120" y="242870"/>
                      <a:pt x="372236" y="246754"/>
                      <a:pt x="372236" y="251610"/>
                    </a:cubicBezTo>
                    <a:cubicBezTo>
                      <a:pt x="372236" y="256465"/>
                      <a:pt x="376120" y="260349"/>
                      <a:pt x="380975" y="260349"/>
                    </a:cubicBezTo>
                    <a:cubicBezTo>
                      <a:pt x="385830" y="260349"/>
                      <a:pt x="389715" y="256465"/>
                      <a:pt x="389715" y="251610"/>
                    </a:cubicBezTo>
                    <a:close/>
                    <a:moveTo>
                      <a:pt x="415933" y="251610"/>
                    </a:moveTo>
                    <a:cubicBezTo>
                      <a:pt x="415933" y="246754"/>
                      <a:pt x="412049" y="242870"/>
                      <a:pt x="407193" y="242870"/>
                    </a:cubicBezTo>
                    <a:cubicBezTo>
                      <a:pt x="402338" y="242870"/>
                      <a:pt x="398454" y="246754"/>
                      <a:pt x="398454" y="251610"/>
                    </a:cubicBezTo>
                    <a:cubicBezTo>
                      <a:pt x="398454" y="256465"/>
                      <a:pt x="402338" y="260349"/>
                      <a:pt x="407193" y="260349"/>
                    </a:cubicBezTo>
                    <a:cubicBezTo>
                      <a:pt x="412049" y="260349"/>
                      <a:pt x="415933" y="256465"/>
                      <a:pt x="415933" y="25161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18" name="Полилиния: фигура 1617">
                <a:extLst>
                  <a:ext uri="{FF2B5EF4-FFF2-40B4-BE49-F238E27FC236}">
                    <a16:creationId xmlns:a16="http://schemas.microsoft.com/office/drawing/2014/main" id="{CD9C1092-9317-4D4B-9927-90D88D7AA600}"/>
                  </a:ext>
                </a:extLst>
              </p:cNvPr>
              <p:cNvSpPr/>
              <p:nvPr/>
            </p:nvSpPr>
            <p:spPr>
              <a:xfrm>
                <a:off x="1493206" y="2131628"/>
                <a:ext cx="416148" cy="261428"/>
              </a:xfrm>
              <a:custGeom>
                <a:avLst/>
                <a:gdLst>
                  <a:gd name="connsiteX0" fmla="*/ 38195 w 416148"/>
                  <a:gd name="connsiteY0" fmla="*/ 15753 h 261428"/>
                  <a:gd name="connsiteX1" fmla="*/ 7553 w 416148"/>
                  <a:gd name="connsiteY1" fmla="*/ 15753 h 261428"/>
                  <a:gd name="connsiteX2" fmla="*/ 0 w 416148"/>
                  <a:gd name="connsiteY2" fmla="*/ 8200 h 261428"/>
                  <a:gd name="connsiteX3" fmla="*/ 7553 w 416148"/>
                  <a:gd name="connsiteY3" fmla="*/ 647 h 261428"/>
                  <a:gd name="connsiteX4" fmla="*/ 38195 w 416148"/>
                  <a:gd name="connsiteY4" fmla="*/ 647 h 261428"/>
                  <a:gd name="connsiteX5" fmla="*/ 45747 w 416148"/>
                  <a:gd name="connsiteY5" fmla="*/ 8200 h 261428"/>
                  <a:gd name="connsiteX6" fmla="*/ 38195 w 416148"/>
                  <a:gd name="connsiteY6" fmla="*/ 15753 h 261428"/>
                  <a:gd name="connsiteX7" fmla="*/ 45747 w 416148"/>
                  <a:gd name="connsiteY7" fmla="*/ 43158 h 261428"/>
                  <a:gd name="connsiteX8" fmla="*/ 38195 w 416148"/>
                  <a:gd name="connsiteY8" fmla="*/ 35605 h 261428"/>
                  <a:gd name="connsiteX9" fmla="*/ 7553 w 416148"/>
                  <a:gd name="connsiteY9" fmla="*/ 35605 h 261428"/>
                  <a:gd name="connsiteX10" fmla="*/ 0 w 416148"/>
                  <a:gd name="connsiteY10" fmla="*/ 43158 h 261428"/>
                  <a:gd name="connsiteX11" fmla="*/ 7553 w 416148"/>
                  <a:gd name="connsiteY11" fmla="*/ 50710 h 261428"/>
                  <a:gd name="connsiteX12" fmla="*/ 38195 w 416148"/>
                  <a:gd name="connsiteY12" fmla="*/ 50710 h 261428"/>
                  <a:gd name="connsiteX13" fmla="*/ 45747 w 416148"/>
                  <a:gd name="connsiteY13" fmla="*/ 43158 h 261428"/>
                  <a:gd name="connsiteX14" fmla="*/ 45747 w 416148"/>
                  <a:gd name="connsiteY14" fmla="*/ 78224 h 261428"/>
                  <a:gd name="connsiteX15" fmla="*/ 38195 w 416148"/>
                  <a:gd name="connsiteY15" fmla="*/ 70671 h 261428"/>
                  <a:gd name="connsiteX16" fmla="*/ 7553 w 416148"/>
                  <a:gd name="connsiteY16" fmla="*/ 70671 h 261428"/>
                  <a:gd name="connsiteX17" fmla="*/ 0 w 416148"/>
                  <a:gd name="connsiteY17" fmla="*/ 78224 h 261428"/>
                  <a:gd name="connsiteX18" fmla="*/ 7553 w 416148"/>
                  <a:gd name="connsiteY18" fmla="*/ 85776 h 261428"/>
                  <a:gd name="connsiteX19" fmla="*/ 38195 w 416148"/>
                  <a:gd name="connsiteY19" fmla="*/ 85776 h 261428"/>
                  <a:gd name="connsiteX20" fmla="*/ 45747 w 416148"/>
                  <a:gd name="connsiteY20" fmla="*/ 78224 h 261428"/>
                  <a:gd name="connsiteX21" fmla="*/ 45747 w 416148"/>
                  <a:gd name="connsiteY21" fmla="*/ 113289 h 261428"/>
                  <a:gd name="connsiteX22" fmla="*/ 38195 w 416148"/>
                  <a:gd name="connsiteY22" fmla="*/ 105736 h 261428"/>
                  <a:gd name="connsiteX23" fmla="*/ 7553 w 416148"/>
                  <a:gd name="connsiteY23" fmla="*/ 105736 h 261428"/>
                  <a:gd name="connsiteX24" fmla="*/ 0 w 416148"/>
                  <a:gd name="connsiteY24" fmla="*/ 113289 h 261428"/>
                  <a:gd name="connsiteX25" fmla="*/ 7553 w 416148"/>
                  <a:gd name="connsiteY25" fmla="*/ 120842 h 261428"/>
                  <a:gd name="connsiteX26" fmla="*/ 38195 w 416148"/>
                  <a:gd name="connsiteY26" fmla="*/ 120842 h 261428"/>
                  <a:gd name="connsiteX27" fmla="*/ 45747 w 416148"/>
                  <a:gd name="connsiteY27" fmla="*/ 113289 h 261428"/>
                  <a:gd name="connsiteX28" fmla="*/ 45747 w 416148"/>
                  <a:gd name="connsiteY28" fmla="*/ 148355 h 261428"/>
                  <a:gd name="connsiteX29" fmla="*/ 38195 w 416148"/>
                  <a:gd name="connsiteY29" fmla="*/ 140802 h 261428"/>
                  <a:gd name="connsiteX30" fmla="*/ 7553 w 416148"/>
                  <a:gd name="connsiteY30" fmla="*/ 140802 h 261428"/>
                  <a:gd name="connsiteX31" fmla="*/ 0 w 416148"/>
                  <a:gd name="connsiteY31" fmla="*/ 148355 h 261428"/>
                  <a:gd name="connsiteX32" fmla="*/ 7553 w 416148"/>
                  <a:gd name="connsiteY32" fmla="*/ 155907 h 261428"/>
                  <a:gd name="connsiteX33" fmla="*/ 38195 w 416148"/>
                  <a:gd name="connsiteY33" fmla="*/ 155907 h 261428"/>
                  <a:gd name="connsiteX34" fmla="*/ 45747 w 416148"/>
                  <a:gd name="connsiteY34" fmla="*/ 148355 h 261428"/>
                  <a:gd name="connsiteX35" fmla="*/ 45747 w 416148"/>
                  <a:gd name="connsiteY35" fmla="*/ 183421 h 261428"/>
                  <a:gd name="connsiteX36" fmla="*/ 38195 w 416148"/>
                  <a:gd name="connsiteY36" fmla="*/ 175868 h 261428"/>
                  <a:gd name="connsiteX37" fmla="*/ 7553 w 416148"/>
                  <a:gd name="connsiteY37" fmla="*/ 175868 h 261428"/>
                  <a:gd name="connsiteX38" fmla="*/ 0 w 416148"/>
                  <a:gd name="connsiteY38" fmla="*/ 183421 h 261428"/>
                  <a:gd name="connsiteX39" fmla="*/ 7553 w 416148"/>
                  <a:gd name="connsiteY39" fmla="*/ 190973 h 261428"/>
                  <a:gd name="connsiteX40" fmla="*/ 38195 w 416148"/>
                  <a:gd name="connsiteY40" fmla="*/ 190973 h 261428"/>
                  <a:gd name="connsiteX41" fmla="*/ 45747 w 416148"/>
                  <a:gd name="connsiteY41" fmla="*/ 183421 h 261428"/>
                  <a:gd name="connsiteX42" fmla="*/ 45747 w 416148"/>
                  <a:gd name="connsiteY42" fmla="*/ 218486 h 261428"/>
                  <a:gd name="connsiteX43" fmla="*/ 38195 w 416148"/>
                  <a:gd name="connsiteY43" fmla="*/ 210933 h 261428"/>
                  <a:gd name="connsiteX44" fmla="*/ 7553 w 416148"/>
                  <a:gd name="connsiteY44" fmla="*/ 210933 h 261428"/>
                  <a:gd name="connsiteX45" fmla="*/ 0 w 416148"/>
                  <a:gd name="connsiteY45" fmla="*/ 218486 h 261428"/>
                  <a:gd name="connsiteX46" fmla="*/ 7553 w 416148"/>
                  <a:gd name="connsiteY46" fmla="*/ 226039 h 261428"/>
                  <a:gd name="connsiteX47" fmla="*/ 38195 w 416148"/>
                  <a:gd name="connsiteY47" fmla="*/ 226039 h 261428"/>
                  <a:gd name="connsiteX48" fmla="*/ 45747 w 416148"/>
                  <a:gd name="connsiteY48" fmla="*/ 218486 h 261428"/>
                  <a:gd name="connsiteX49" fmla="*/ 45747 w 416148"/>
                  <a:gd name="connsiteY49" fmla="*/ 253552 h 261428"/>
                  <a:gd name="connsiteX50" fmla="*/ 38195 w 416148"/>
                  <a:gd name="connsiteY50" fmla="*/ 245999 h 261428"/>
                  <a:gd name="connsiteX51" fmla="*/ 7553 w 416148"/>
                  <a:gd name="connsiteY51" fmla="*/ 245999 h 261428"/>
                  <a:gd name="connsiteX52" fmla="*/ 0 w 416148"/>
                  <a:gd name="connsiteY52" fmla="*/ 253552 h 261428"/>
                  <a:gd name="connsiteX53" fmla="*/ 7553 w 416148"/>
                  <a:gd name="connsiteY53" fmla="*/ 261104 h 261428"/>
                  <a:gd name="connsiteX54" fmla="*/ 38195 w 416148"/>
                  <a:gd name="connsiteY54" fmla="*/ 261104 h 261428"/>
                  <a:gd name="connsiteX55" fmla="*/ 45747 w 416148"/>
                  <a:gd name="connsiteY55" fmla="*/ 253552 h 261428"/>
                  <a:gd name="connsiteX56" fmla="*/ 160331 w 416148"/>
                  <a:gd name="connsiteY56" fmla="*/ 8416 h 261428"/>
                  <a:gd name="connsiteX57" fmla="*/ 152778 w 416148"/>
                  <a:gd name="connsiteY57" fmla="*/ 863 h 261428"/>
                  <a:gd name="connsiteX58" fmla="*/ 72397 w 416148"/>
                  <a:gd name="connsiteY58" fmla="*/ 863 h 261428"/>
                  <a:gd name="connsiteX59" fmla="*/ 64845 w 416148"/>
                  <a:gd name="connsiteY59" fmla="*/ 8416 h 261428"/>
                  <a:gd name="connsiteX60" fmla="*/ 72397 w 416148"/>
                  <a:gd name="connsiteY60" fmla="*/ 15968 h 261428"/>
                  <a:gd name="connsiteX61" fmla="*/ 152778 w 416148"/>
                  <a:gd name="connsiteY61" fmla="*/ 15968 h 261428"/>
                  <a:gd name="connsiteX62" fmla="*/ 160331 w 416148"/>
                  <a:gd name="connsiteY62" fmla="*/ 8416 h 261428"/>
                  <a:gd name="connsiteX63" fmla="*/ 160331 w 416148"/>
                  <a:gd name="connsiteY63" fmla="*/ 43481 h 261428"/>
                  <a:gd name="connsiteX64" fmla="*/ 152778 w 416148"/>
                  <a:gd name="connsiteY64" fmla="*/ 35929 h 261428"/>
                  <a:gd name="connsiteX65" fmla="*/ 72397 w 416148"/>
                  <a:gd name="connsiteY65" fmla="*/ 35929 h 261428"/>
                  <a:gd name="connsiteX66" fmla="*/ 64845 w 416148"/>
                  <a:gd name="connsiteY66" fmla="*/ 43481 h 261428"/>
                  <a:gd name="connsiteX67" fmla="*/ 72397 w 416148"/>
                  <a:gd name="connsiteY67" fmla="*/ 51034 h 261428"/>
                  <a:gd name="connsiteX68" fmla="*/ 152778 w 416148"/>
                  <a:gd name="connsiteY68" fmla="*/ 51034 h 261428"/>
                  <a:gd name="connsiteX69" fmla="*/ 160331 w 416148"/>
                  <a:gd name="connsiteY69" fmla="*/ 43481 h 261428"/>
                  <a:gd name="connsiteX70" fmla="*/ 160331 w 416148"/>
                  <a:gd name="connsiteY70" fmla="*/ 78547 h 261428"/>
                  <a:gd name="connsiteX71" fmla="*/ 152778 w 416148"/>
                  <a:gd name="connsiteY71" fmla="*/ 70994 h 261428"/>
                  <a:gd name="connsiteX72" fmla="*/ 72397 w 416148"/>
                  <a:gd name="connsiteY72" fmla="*/ 70994 h 261428"/>
                  <a:gd name="connsiteX73" fmla="*/ 64845 w 416148"/>
                  <a:gd name="connsiteY73" fmla="*/ 78547 h 261428"/>
                  <a:gd name="connsiteX74" fmla="*/ 72397 w 416148"/>
                  <a:gd name="connsiteY74" fmla="*/ 86100 h 261428"/>
                  <a:gd name="connsiteX75" fmla="*/ 152778 w 416148"/>
                  <a:gd name="connsiteY75" fmla="*/ 86100 h 261428"/>
                  <a:gd name="connsiteX76" fmla="*/ 160331 w 416148"/>
                  <a:gd name="connsiteY76" fmla="*/ 78547 h 261428"/>
                  <a:gd name="connsiteX77" fmla="*/ 160331 w 416148"/>
                  <a:gd name="connsiteY77" fmla="*/ 113613 h 261428"/>
                  <a:gd name="connsiteX78" fmla="*/ 152778 w 416148"/>
                  <a:gd name="connsiteY78" fmla="*/ 106060 h 261428"/>
                  <a:gd name="connsiteX79" fmla="*/ 72397 w 416148"/>
                  <a:gd name="connsiteY79" fmla="*/ 106060 h 261428"/>
                  <a:gd name="connsiteX80" fmla="*/ 64845 w 416148"/>
                  <a:gd name="connsiteY80" fmla="*/ 113613 h 261428"/>
                  <a:gd name="connsiteX81" fmla="*/ 72397 w 416148"/>
                  <a:gd name="connsiteY81" fmla="*/ 121165 h 261428"/>
                  <a:gd name="connsiteX82" fmla="*/ 152778 w 416148"/>
                  <a:gd name="connsiteY82" fmla="*/ 121165 h 261428"/>
                  <a:gd name="connsiteX83" fmla="*/ 160331 w 416148"/>
                  <a:gd name="connsiteY83" fmla="*/ 113613 h 261428"/>
                  <a:gd name="connsiteX84" fmla="*/ 160331 w 416148"/>
                  <a:gd name="connsiteY84" fmla="*/ 148679 h 261428"/>
                  <a:gd name="connsiteX85" fmla="*/ 152778 w 416148"/>
                  <a:gd name="connsiteY85" fmla="*/ 141126 h 261428"/>
                  <a:gd name="connsiteX86" fmla="*/ 72397 w 416148"/>
                  <a:gd name="connsiteY86" fmla="*/ 141126 h 261428"/>
                  <a:gd name="connsiteX87" fmla="*/ 64845 w 416148"/>
                  <a:gd name="connsiteY87" fmla="*/ 148679 h 261428"/>
                  <a:gd name="connsiteX88" fmla="*/ 72397 w 416148"/>
                  <a:gd name="connsiteY88" fmla="*/ 156231 h 261428"/>
                  <a:gd name="connsiteX89" fmla="*/ 152778 w 416148"/>
                  <a:gd name="connsiteY89" fmla="*/ 156231 h 261428"/>
                  <a:gd name="connsiteX90" fmla="*/ 160331 w 416148"/>
                  <a:gd name="connsiteY90" fmla="*/ 148679 h 261428"/>
                  <a:gd name="connsiteX91" fmla="*/ 256573 w 416148"/>
                  <a:gd name="connsiteY91" fmla="*/ 183744 h 261428"/>
                  <a:gd name="connsiteX92" fmla="*/ 249020 w 416148"/>
                  <a:gd name="connsiteY92" fmla="*/ 176191 h 261428"/>
                  <a:gd name="connsiteX93" fmla="*/ 168639 w 416148"/>
                  <a:gd name="connsiteY93" fmla="*/ 176191 h 261428"/>
                  <a:gd name="connsiteX94" fmla="*/ 161086 w 416148"/>
                  <a:gd name="connsiteY94" fmla="*/ 183744 h 261428"/>
                  <a:gd name="connsiteX95" fmla="*/ 168639 w 416148"/>
                  <a:gd name="connsiteY95" fmla="*/ 191297 h 261428"/>
                  <a:gd name="connsiteX96" fmla="*/ 249020 w 416148"/>
                  <a:gd name="connsiteY96" fmla="*/ 191297 h 261428"/>
                  <a:gd name="connsiteX97" fmla="*/ 256573 w 416148"/>
                  <a:gd name="connsiteY97" fmla="*/ 183744 h 261428"/>
                  <a:gd name="connsiteX98" fmla="*/ 256573 w 416148"/>
                  <a:gd name="connsiteY98" fmla="*/ 218810 h 261428"/>
                  <a:gd name="connsiteX99" fmla="*/ 249020 w 416148"/>
                  <a:gd name="connsiteY99" fmla="*/ 211257 h 261428"/>
                  <a:gd name="connsiteX100" fmla="*/ 168639 w 416148"/>
                  <a:gd name="connsiteY100" fmla="*/ 211257 h 261428"/>
                  <a:gd name="connsiteX101" fmla="*/ 161086 w 416148"/>
                  <a:gd name="connsiteY101" fmla="*/ 218810 h 261428"/>
                  <a:gd name="connsiteX102" fmla="*/ 168639 w 416148"/>
                  <a:gd name="connsiteY102" fmla="*/ 226362 h 261428"/>
                  <a:gd name="connsiteX103" fmla="*/ 249020 w 416148"/>
                  <a:gd name="connsiteY103" fmla="*/ 226362 h 261428"/>
                  <a:gd name="connsiteX104" fmla="*/ 256573 w 416148"/>
                  <a:gd name="connsiteY104" fmla="*/ 218810 h 261428"/>
                  <a:gd name="connsiteX105" fmla="*/ 256573 w 416148"/>
                  <a:gd name="connsiteY105" fmla="*/ 253876 h 261428"/>
                  <a:gd name="connsiteX106" fmla="*/ 249020 w 416148"/>
                  <a:gd name="connsiteY106" fmla="*/ 246323 h 261428"/>
                  <a:gd name="connsiteX107" fmla="*/ 168639 w 416148"/>
                  <a:gd name="connsiteY107" fmla="*/ 246323 h 261428"/>
                  <a:gd name="connsiteX108" fmla="*/ 161086 w 416148"/>
                  <a:gd name="connsiteY108" fmla="*/ 253876 h 261428"/>
                  <a:gd name="connsiteX109" fmla="*/ 168639 w 416148"/>
                  <a:gd name="connsiteY109" fmla="*/ 261428 h 261428"/>
                  <a:gd name="connsiteX110" fmla="*/ 249020 w 416148"/>
                  <a:gd name="connsiteY110" fmla="*/ 261428 h 261428"/>
                  <a:gd name="connsiteX111" fmla="*/ 256573 w 416148"/>
                  <a:gd name="connsiteY111" fmla="*/ 253876 h 261428"/>
                  <a:gd name="connsiteX112" fmla="*/ 195720 w 416148"/>
                  <a:gd name="connsiteY112" fmla="*/ 8739 h 261428"/>
                  <a:gd name="connsiteX113" fmla="*/ 186981 w 416148"/>
                  <a:gd name="connsiteY113" fmla="*/ 0 h 261428"/>
                  <a:gd name="connsiteX114" fmla="*/ 178241 w 416148"/>
                  <a:gd name="connsiteY114" fmla="*/ 8739 h 261428"/>
                  <a:gd name="connsiteX115" fmla="*/ 186981 w 416148"/>
                  <a:gd name="connsiteY115" fmla="*/ 17479 h 261428"/>
                  <a:gd name="connsiteX116" fmla="*/ 195720 w 416148"/>
                  <a:gd name="connsiteY116" fmla="*/ 8739 h 261428"/>
                  <a:gd name="connsiteX117" fmla="*/ 221939 w 416148"/>
                  <a:gd name="connsiteY117" fmla="*/ 8739 h 261428"/>
                  <a:gd name="connsiteX118" fmla="*/ 213199 w 416148"/>
                  <a:gd name="connsiteY118" fmla="*/ 0 h 261428"/>
                  <a:gd name="connsiteX119" fmla="*/ 204460 w 416148"/>
                  <a:gd name="connsiteY119" fmla="*/ 8739 h 261428"/>
                  <a:gd name="connsiteX120" fmla="*/ 213199 w 416148"/>
                  <a:gd name="connsiteY120" fmla="*/ 17479 h 261428"/>
                  <a:gd name="connsiteX121" fmla="*/ 221939 w 416148"/>
                  <a:gd name="connsiteY121" fmla="*/ 8739 h 261428"/>
                  <a:gd name="connsiteX122" fmla="*/ 248157 w 416148"/>
                  <a:gd name="connsiteY122" fmla="*/ 8739 h 261428"/>
                  <a:gd name="connsiteX123" fmla="*/ 239418 w 416148"/>
                  <a:gd name="connsiteY123" fmla="*/ 0 h 261428"/>
                  <a:gd name="connsiteX124" fmla="*/ 230678 w 416148"/>
                  <a:gd name="connsiteY124" fmla="*/ 8739 h 261428"/>
                  <a:gd name="connsiteX125" fmla="*/ 239418 w 416148"/>
                  <a:gd name="connsiteY125" fmla="*/ 17479 h 261428"/>
                  <a:gd name="connsiteX126" fmla="*/ 248157 w 416148"/>
                  <a:gd name="connsiteY126" fmla="*/ 8739 h 261428"/>
                  <a:gd name="connsiteX127" fmla="*/ 274375 w 416148"/>
                  <a:gd name="connsiteY127" fmla="*/ 8739 h 261428"/>
                  <a:gd name="connsiteX128" fmla="*/ 265636 w 416148"/>
                  <a:gd name="connsiteY128" fmla="*/ 0 h 261428"/>
                  <a:gd name="connsiteX129" fmla="*/ 256896 w 416148"/>
                  <a:gd name="connsiteY129" fmla="*/ 8739 h 261428"/>
                  <a:gd name="connsiteX130" fmla="*/ 265636 w 416148"/>
                  <a:gd name="connsiteY130" fmla="*/ 17479 h 261428"/>
                  <a:gd name="connsiteX131" fmla="*/ 274375 w 416148"/>
                  <a:gd name="connsiteY131" fmla="*/ 8739 h 261428"/>
                  <a:gd name="connsiteX132" fmla="*/ 300594 w 416148"/>
                  <a:gd name="connsiteY132" fmla="*/ 8739 h 261428"/>
                  <a:gd name="connsiteX133" fmla="*/ 291854 w 416148"/>
                  <a:gd name="connsiteY133" fmla="*/ 0 h 261428"/>
                  <a:gd name="connsiteX134" fmla="*/ 283115 w 416148"/>
                  <a:gd name="connsiteY134" fmla="*/ 8739 h 261428"/>
                  <a:gd name="connsiteX135" fmla="*/ 291854 w 416148"/>
                  <a:gd name="connsiteY135" fmla="*/ 17479 h 261428"/>
                  <a:gd name="connsiteX136" fmla="*/ 300594 w 416148"/>
                  <a:gd name="connsiteY136" fmla="*/ 8739 h 261428"/>
                  <a:gd name="connsiteX137" fmla="*/ 326812 w 416148"/>
                  <a:gd name="connsiteY137" fmla="*/ 8739 h 261428"/>
                  <a:gd name="connsiteX138" fmla="*/ 318073 w 416148"/>
                  <a:gd name="connsiteY138" fmla="*/ 0 h 261428"/>
                  <a:gd name="connsiteX139" fmla="*/ 309333 w 416148"/>
                  <a:gd name="connsiteY139" fmla="*/ 8739 h 261428"/>
                  <a:gd name="connsiteX140" fmla="*/ 318073 w 416148"/>
                  <a:gd name="connsiteY140" fmla="*/ 17479 h 261428"/>
                  <a:gd name="connsiteX141" fmla="*/ 326812 w 416148"/>
                  <a:gd name="connsiteY141" fmla="*/ 8739 h 261428"/>
                  <a:gd name="connsiteX142" fmla="*/ 195505 w 416148"/>
                  <a:gd name="connsiteY142" fmla="*/ 78763 h 261428"/>
                  <a:gd name="connsiteX143" fmla="*/ 186765 w 416148"/>
                  <a:gd name="connsiteY143" fmla="*/ 70023 h 261428"/>
                  <a:gd name="connsiteX144" fmla="*/ 178026 w 416148"/>
                  <a:gd name="connsiteY144" fmla="*/ 78763 h 261428"/>
                  <a:gd name="connsiteX145" fmla="*/ 186765 w 416148"/>
                  <a:gd name="connsiteY145" fmla="*/ 87502 h 261428"/>
                  <a:gd name="connsiteX146" fmla="*/ 195505 w 416148"/>
                  <a:gd name="connsiteY146" fmla="*/ 78763 h 261428"/>
                  <a:gd name="connsiteX147" fmla="*/ 221723 w 416148"/>
                  <a:gd name="connsiteY147" fmla="*/ 78763 h 261428"/>
                  <a:gd name="connsiteX148" fmla="*/ 212983 w 416148"/>
                  <a:gd name="connsiteY148" fmla="*/ 70023 h 261428"/>
                  <a:gd name="connsiteX149" fmla="*/ 204244 w 416148"/>
                  <a:gd name="connsiteY149" fmla="*/ 78763 h 261428"/>
                  <a:gd name="connsiteX150" fmla="*/ 212983 w 416148"/>
                  <a:gd name="connsiteY150" fmla="*/ 87502 h 261428"/>
                  <a:gd name="connsiteX151" fmla="*/ 221723 w 416148"/>
                  <a:gd name="connsiteY151" fmla="*/ 78763 h 261428"/>
                  <a:gd name="connsiteX152" fmla="*/ 247941 w 416148"/>
                  <a:gd name="connsiteY152" fmla="*/ 78763 h 261428"/>
                  <a:gd name="connsiteX153" fmla="*/ 239202 w 416148"/>
                  <a:gd name="connsiteY153" fmla="*/ 70023 h 261428"/>
                  <a:gd name="connsiteX154" fmla="*/ 230462 w 416148"/>
                  <a:gd name="connsiteY154" fmla="*/ 78763 h 261428"/>
                  <a:gd name="connsiteX155" fmla="*/ 239202 w 416148"/>
                  <a:gd name="connsiteY155" fmla="*/ 87502 h 261428"/>
                  <a:gd name="connsiteX156" fmla="*/ 247941 w 416148"/>
                  <a:gd name="connsiteY156" fmla="*/ 78763 h 261428"/>
                  <a:gd name="connsiteX157" fmla="*/ 274160 w 416148"/>
                  <a:gd name="connsiteY157" fmla="*/ 78763 h 261428"/>
                  <a:gd name="connsiteX158" fmla="*/ 265420 w 416148"/>
                  <a:gd name="connsiteY158" fmla="*/ 70023 h 261428"/>
                  <a:gd name="connsiteX159" fmla="*/ 256681 w 416148"/>
                  <a:gd name="connsiteY159" fmla="*/ 78763 h 261428"/>
                  <a:gd name="connsiteX160" fmla="*/ 265420 w 416148"/>
                  <a:gd name="connsiteY160" fmla="*/ 87502 h 261428"/>
                  <a:gd name="connsiteX161" fmla="*/ 274160 w 416148"/>
                  <a:gd name="connsiteY161" fmla="*/ 78763 h 261428"/>
                  <a:gd name="connsiteX162" fmla="*/ 300378 w 416148"/>
                  <a:gd name="connsiteY162" fmla="*/ 78763 h 261428"/>
                  <a:gd name="connsiteX163" fmla="*/ 291639 w 416148"/>
                  <a:gd name="connsiteY163" fmla="*/ 70023 h 261428"/>
                  <a:gd name="connsiteX164" fmla="*/ 282899 w 416148"/>
                  <a:gd name="connsiteY164" fmla="*/ 78763 h 261428"/>
                  <a:gd name="connsiteX165" fmla="*/ 291639 w 416148"/>
                  <a:gd name="connsiteY165" fmla="*/ 87502 h 261428"/>
                  <a:gd name="connsiteX166" fmla="*/ 300378 w 416148"/>
                  <a:gd name="connsiteY166" fmla="*/ 78763 h 261428"/>
                  <a:gd name="connsiteX167" fmla="*/ 326596 w 416148"/>
                  <a:gd name="connsiteY167" fmla="*/ 78763 h 261428"/>
                  <a:gd name="connsiteX168" fmla="*/ 317857 w 416148"/>
                  <a:gd name="connsiteY168" fmla="*/ 70023 h 261428"/>
                  <a:gd name="connsiteX169" fmla="*/ 309117 w 416148"/>
                  <a:gd name="connsiteY169" fmla="*/ 78763 h 261428"/>
                  <a:gd name="connsiteX170" fmla="*/ 317857 w 416148"/>
                  <a:gd name="connsiteY170" fmla="*/ 87502 h 261428"/>
                  <a:gd name="connsiteX171" fmla="*/ 326596 w 416148"/>
                  <a:gd name="connsiteY171" fmla="*/ 78763 h 261428"/>
                  <a:gd name="connsiteX172" fmla="*/ 285057 w 416148"/>
                  <a:gd name="connsiteY172" fmla="*/ 179428 h 261428"/>
                  <a:gd name="connsiteX173" fmla="*/ 276318 w 416148"/>
                  <a:gd name="connsiteY173" fmla="*/ 170689 h 261428"/>
                  <a:gd name="connsiteX174" fmla="*/ 267578 w 416148"/>
                  <a:gd name="connsiteY174" fmla="*/ 179428 h 261428"/>
                  <a:gd name="connsiteX175" fmla="*/ 276318 w 416148"/>
                  <a:gd name="connsiteY175" fmla="*/ 188168 h 261428"/>
                  <a:gd name="connsiteX176" fmla="*/ 285057 w 416148"/>
                  <a:gd name="connsiteY176" fmla="*/ 179428 h 261428"/>
                  <a:gd name="connsiteX177" fmla="*/ 311275 w 416148"/>
                  <a:gd name="connsiteY177" fmla="*/ 179428 h 261428"/>
                  <a:gd name="connsiteX178" fmla="*/ 302536 w 416148"/>
                  <a:gd name="connsiteY178" fmla="*/ 170689 h 261428"/>
                  <a:gd name="connsiteX179" fmla="*/ 293796 w 416148"/>
                  <a:gd name="connsiteY179" fmla="*/ 179428 h 261428"/>
                  <a:gd name="connsiteX180" fmla="*/ 302536 w 416148"/>
                  <a:gd name="connsiteY180" fmla="*/ 188168 h 261428"/>
                  <a:gd name="connsiteX181" fmla="*/ 311275 w 416148"/>
                  <a:gd name="connsiteY181" fmla="*/ 179428 h 261428"/>
                  <a:gd name="connsiteX182" fmla="*/ 337494 w 416148"/>
                  <a:gd name="connsiteY182" fmla="*/ 179428 h 261428"/>
                  <a:gd name="connsiteX183" fmla="*/ 328754 w 416148"/>
                  <a:gd name="connsiteY183" fmla="*/ 170689 h 261428"/>
                  <a:gd name="connsiteX184" fmla="*/ 320015 w 416148"/>
                  <a:gd name="connsiteY184" fmla="*/ 179428 h 261428"/>
                  <a:gd name="connsiteX185" fmla="*/ 328754 w 416148"/>
                  <a:gd name="connsiteY185" fmla="*/ 188168 h 261428"/>
                  <a:gd name="connsiteX186" fmla="*/ 337494 w 416148"/>
                  <a:gd name="connsiteY186" fmla="*/ 179428 h 261428"/>
                  <a:gd name="connsiteX187" fmla="*/ 363712 w 416148"/>
                  <a:gd name="connsiteY187" fmla="*/ 179428 h 261428"/>
                  <a:gd name="connsiteX188" fmla="*/ 354973 w 416148"/>
                  <a:gd name="connsiteY188" fmla="*/ 170689 h 261428"/>
                  <a:gd name="connsiteX189" fmla="*/ 346233 w 416148"/>
                  <a:gd name="connsiteY189" fmla="*/ 179428 h 261428"/>
                  <a:gd name="connsiteX190" fmla="*/ 354973 w 416148"/>
                  <a:gd name="connsiteY190" fmla="*/ 188168 h 261428"/>
                  <a:gd name="connsiteX191" fmla="*/ 363712 w 416148"/>
                  <a:gd name="connsiteY191" fmla="*/ 179428 h 261428"/>
                  <a:gd name="connsiteX192" fmla="*/ 389930 w 416148"/>
                  <a:gd name="connsiteY192" fmla="*/ 179428 h 261428"/>
                  <a:gd name="connsiteX193" fmla="*/ 381191 w 416148"/>
                  <a:gd name="connsiteY193" fmla="*/ 170689 h 261428"/>
                  <a:gd name="connsiteX194" fmla="*/ 372451 w 416148"/>
                  <a:gd name="connsiteY194" fmla="*/ 179428 h 261428"/>
                  <a:gd name="connsiteX195" fmla="*/ 381191 w 416148"/>
                  <a:gd name="connsiteY195" fmla="*/ 188168 h 261428"/>
                  <a:gd name="connsiteX196" fmla="*/ 389930 w 416148"/>
                  <a:gd name="connsiteY196" fmla="*/ 179428 h 261428"/>
                  <a:gd name="connsiteX197" fmla="*/ 416149 w 416148"/>
                  <a:gd name="connsiteY197" fmla="*/ 179428 h 261428"/>
                  <a:gd name="connsiteX198" fmla="*/ 407409 w 416148"/>
                  <a:gd name="connsiteY198" fmla="*/ 170689 h 261428"/>
                  <a:gd name="connsiteX199" fmla="*/ 398670 w 416148"/>
                  <a:gd name="connsiteY199" fmla="*/ 179428 h 261428"/>
                  <a:gd name="connsiteX200" fmla="*/ 407409 w 416148"/>
                  <a:gd name="connsiteY200" fmla="*/ 188168 h 261428"/>
                  <a:gd name="connsiteX201" fmla="*/ 416149 w 416148"/>
                  <a:gd name="connsiteY201" fmla="*/ 179428 h 261428"/>
                  <a:gd name="connsiteX202" fmla="*/ 284841 w 416148"/>
                  <a:gd name="connsiteY202" fmla="*/ 251610 h 261428"/>
                  <a:gd name="connsiteX203" fmla="*/ 276102 w 416148"/>
                  <a:gd name="connsiteY203" fmla="*/ 242870 h 261428"/>
                  <a:gd name="connsiteX204" fmla="*/ 267362 w 416148"/>
                  <a:gd name="connsiteY204" fmla="*/ 251610 h 261428"/>
                  <a:gd name="connsiteX205" fmla="*/ 276102 w 416148"/>
                  <a:gd name="connsiteY205" fmla="*/ 260349 h 261428"/>
                  <a:gd name="connsiteX206" fmla="*/ 284841 w 416148"/>
                  <a:gd name="connsiteY206" fmla="*/ 251610 h 261428"/>
                  <a:gd name="connsiteX207" fmla="*/ 311059 w 416148"/>
                  <a:gd name="connsiteY207" fmla="*/ 251610 h 261428"/>
                  <a:gd name="connsiteX208" fmla="*/ 302320 w 416148"/>
                  <a:gd name="connsiteY208" fmla="*/ 242870 h 261428"/>
                  <a:gd name="connsiteX209" fmla="*/ 293581 w 416148"/>
                  <a:gd name="connsiteY209" fmla="*/ 251610 h 261428"/>
                  <a:gd name="connsiteX210" fmla="*/ 302320 w 416148"/>
                  <a:gd name="connsiteY210" fmla="*/ 260349 h 261428"/>
                  <a:gd name="connsiteX211" fmla="*/ 311059 w 416148"/>
                  <a:gd name="connsiteY211" fmla="*/ 251610 h 261428"/>
                  <a:gd name="connsiteX212" fmla="*/ 337278 w 416148"/>
                  <a:gd name="connsiteY212" fmla="*/ 251610 h 261428"/>
                  <a:gd name="connsiteX213" fmla="*/ 328538 w 416148"/>
                  <a:gd name="connsiteY213" fmla="*/ 242870 h 261428"/>
                  <a:gd name="connsiteX214" fmla="*/ 319799 w 416148"/>
                  <a:gd name="connsiteY214" fmla="*/ 251610 h 261428"/>
                  <a:gd name="connsiteX215" fmla="*/ 328538 w 416148"/>
                  <a:gd name="connsiteY215" fmla="*/ 260349 h 261428"/>
                  <a:gd name="connsiteX216" fmla="*/ 337278 w 416148"/>
                  <a:gd name="connsiteY216" fmla="*/ 251610 h 261428"/>
                  <a:gd name="connsiteX217" fmla="*/ 363496 w 416148"/>
                  <a:gd name="connsiteY217" fmla="*/ 251610 h 261428"/>
                  <a:gd name="connsiteX218" fmla="*/ 354757 w 416148"/>
                  <a:gd name="connsiteY218" fmla="*/ 242870 h 261428"/>
                  <a:gd name="connsiteX219" fmla="*/ 346017 w 416148"/>
                  <a:gd name="connsiteY219" fmla="*/ 251610 h 261428"/>
                  <a:gd name="connsiteX220" fmla="*/ 354757 w 416148"/>
                  <a:gd name="connsiteY220" fmla="*/ 260349 h 261428"/>
                  <a:gd name="connsiteX221" fmla="*/ 363496 w 416148"/>
                  <a:gd name="connsiteY221" fmla="*/ 251610 h 261428"/>
                  <a:gd name="connsiteX222" fmla="*/ 389715 w 416148"/>
                  <a:gd name="connsiteY222" fmla="*/ 251610 h 261428"/>
                  <a:gd name="connsiteX223" fmla="*/ 380975 w 416148"/>
                  <a:gd name="connsiteY223" fmla="*/ 242870 h 261428"/>
                  <a:gd name="connsiteX224" fmla="*/ 372236 w 416148"/>
                  <a:gd name="connsiteY224" fmla="*/ 251610 h 261428"/>
                  <a:gd name="connsiteX225" fmla="*/ 380975 w 416148"/>
                  <a:gd name="connsiteY225" fmla="*/ 260349 h 261428"/>
                  <a:gd name="connsiteX226" fmla="*/ 389715 w 416148"/>
                  <a:gd name="connsiteY226" fmla="*/ 251610 h 261428"/>
                  <a:gd name="connsiteX227" fmla="*/ 415933 w 416148"/>
                  <a:gd name="connsiteY227" fmla="*/ 251610 h 261428"/>
                  <a:gd name="connsiteX228" fmla="*/ 407193 w 416148"/>
                  <a:gd name="connsiteY228" fmla="*/ 242870 h 261428"/>
                  <a:gd name="connsiteX229" fmla="*/ 398454 w 416148"/>
                  <a:gd name="connsiteY229" fmla="*/ 251610 h 261428"/>
                  <a:gd name="connsiteX230" fmla="*/ 407193 w 416148"/>
                  <a:gd name="connsiteY230" fmla="*/ 260349 h 261428"/>
                  <a:gd name="connsiteX231" fmla="*/ 415933 w 416148"/>
                  <a:gd name="connsiteY231" fmla="*/ 251610 h 26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416148" h="261428">
                    <a:moveTo>
                      <a:pt x="38195" y="15753"/>
                    </a:moveTo>
                    <a:lnTo>
                      <a:pt x="7553" y="15753"/>
                    </a:lnTo>
                    <a:cubicBezTo>
                      <a:pt x="3345" y="15753"/>
                      <a:pt x="0" y="12408"/>
                      <a:pt x="0" y="8200"/>
                    </a:cubicBezTo>
                    <a:cubicBezTo>
                      <a:pt x="0" y="3992"/>
                      <a:pt x="3345" y="647"/>
                      <a:pt x="7553" y="647"/>
                    </a:cubicBezTo>
                    <a:lnTo>
                      <a:pt x="38195" y="647"/>
                    </a:lnTo>
                    <a:cubicBezTo>
                      <a:pt x="42402" y="647"/>
                      <a:pt x="45747" y="3992"/>
                      <a:pt x="45747" y="8200"/>
                    </a:cubicBezTo>
                    <a:cubicBezTo>
                      <a:pt x="45747" y="12408"/>
                      <a:pt x="42402" y="15753"/>
                      <a:pt x="38195" y="15753"/>
                    </a:cubicBezTo>
                    <a:close/>
                    <a:moveTo>
                      <a:pt x="45747" y="43158"/>
                    </a:moveTo>
                    <a:cubicBezTo>
                      <a:pt x="45747" y="38950"/>
                      <a:pt x="42402" y="35605"/>
                      <a:pt x="38195" y="35605"/>
                    </a:cubicBezTo>
                    <a:lnTo>
                      <a:pt x="7553" y="35605"/>
                    </a:lnTo>
                    <a:cubicBezTo>
                      <a:pt x="3345" y="35605"/>
                      <a:pt x="0" y="38950"/>
                      <a:pt x="0" y="43158"/>
                    </a:cubicBezTo>
                    <a:cubicBezTo>
                      <a:pt x="0" y="47366"/>
                      <a:pt x="3345" y="50710"/>
                      <a:pt x="7553" y="50710"/>
                    </a:cubicBezTo>
                    <a:lnTo>
                      <a:pt x="38195" y="50710"/>
                    </a:lnTo>
                    <a:cubicBezTo>
                      <a:pt x="42402" y="50710"/>
                      <a:pt x="45747" y="47366"/>
                      <a:pt x="45747" y="43158"/>
                    </a:cubicBezTo>
                    <a:close/>
                    <a:moveTo>
                      <a:pt x="45747" y="78224"/>
                    </a:moveTo>
                    <a:cubicBezTo>
                      <a:pt x="45747" y="74016"/>
                      <a:pt x="42402" y="70671"/>
                      <a:pt x="38195" y="70671"/>
                    </a:cubicBezTo>
                    <a:lnTo>
                      <a:pt x="7553" y="70671"/>
                    </a:lnTo>
                    <a:cubicBezTo>
                      <a:pt x="3345" y="70671"/>
                      <a:pt x="0" y="74016"/>
                      <a:pt x="0" y="78224"/>
                    </a:cubicBezTo>
                    <a:cubicBezTo>
                      <a:pt x="0" y="82431"/>
                      <a:pt x="3345" y="85776"/>
                      <a:pt x="7553" y="85776"/>
                    </a:cubicBezTo>
                    <a:lnTo>
                      <a:pt x="38195" y="85776"/>
                    </a:lnTo>
                    <a:cubicBezTo>
                      <a:pt x="42402" y="85776"/>
                      <a:pt x="45747" y="82431"/>
                      <a:pt x="45747" y="78224"/>
                    </a:cubicBezTo>
                    <a:close/>
                    <a:moveTo>
                      <a:pt x="45747" y="113289"/>
                    </a:moveTo>
                    <a:cubicBezTo>
                      <a:pt x="45747" y="109081"/>
                      <a:pt x="42402" y="105736"/>
                      <a:pt x="38195" y="105736"/>
                    </a:cubicBezTo>
                    <a:lnTo>
                      <a:pt x="7553" y="105736"/>
                    </a:lnTo>
                    <a:cubicBezTo>
                      <a:pt x="3345" y="105736"/>
                      <a:pt x="0" y="109081"/>
                      <a:pt x="0" y="113289"/>
                    </a:cubicBezTo>
                    <a:cubicBezTo>
                      <a:pt x="0" y="117497"/>
                      <a:pt x="3345" y="120842"/>
                      <a:pt x="7553" y="120842"/>
                    </a:cubicBezTo>
                    <a:lnTo>
                      <a:pt x="38195" y="120842"/>
                    </a:lnTo>
                    <a:cubicBezTo>
                      <a:pt x="42402" y="120842"/>
                      <a:pt x="45747" y="117497"/>
                      <a:pt x="45747" y="113289"/>
                    </a:cubicBezTo>
                    <a:close/>
                    <a:moveTo>
                      <a:pt x="45747" y="148355"/>
                    </a:moveTo>
                    <a:cubicBezTo>
                      <a:pt x="45747" y="144147"/>
                      <a:pt x="42402" y="140802"/>
                      <a:pt x="38195" y="140802"/>
                    </a:cubicBezTo>
                    <a:lnTo>
                      <a:pt x="7553" y="140802"/>
                    </a:lnTo>
                    <a:cubicBezTo>
                      <a:pt x="3345" y="140802"/>
                      <a:pt x="0" y="144147"/>
                      <a:pt x="0" y="148355"/>
                    </a:cubicBezTo>
                    <a:cubicBezTo>
                      <a:pt x="0" y="152563"/>
                      <a:pt x="3345" y="155907"/>
                      <a:pt x="7553" y="155907"/>
                    </a:cubicBezTo>
                    <a:lnTo>
                      <a:pt x="38195" y="155907"/>
                    </a:lnTo>
                    <a:cubicBezTo>
                      <a:pt x="42402" y="155907"/>
                      <a:pt x="45747" y="152563"/>
                      <a:pt x="45747" y="148355"/>
                    </a:cubicBezTo>
                    <a:close/>
                    <a:moveTo>
                      <a:pt x="45747" y="183421"/>
                    </a:moveTo>
                    <a:cubicBezTo>
                      <a:pt x="45747" y="179213"/>
                      <a:pt x="42402" y="175868"/>
                      <a:pt x="38195" y="175868"/>
                    </a:cubicBezTo>
                    <a:lnTo>
                      <a:pt x="7553" y="175868"/>
                    </a:lnTo>
                    <a:cubicBezTo>
                      <a:pt x="3345" y="175868"/>
                      <a:pt x="0" y="179213"/>
                      <a:pt x="0" y="183421"/>
                    </a:cubicBezTo>
                    <a:cubicBezTo>
                      <a:pt x="0" y="187628"/>
                      <a:pt x="3345" y="190973"/>
                      <a:pt x="7553" y="190973"/>
                    </a:cubicBezTo>
                    <a:lnTo>
                      <a:pt x="38195" y="190973"/>
                    </a:lnTo>
                    <a:cubicBezTo>
                      <a:pt x="42402" y="190973"/>
                      <a:pt x="45747" y="187628"/>
                      <a:pt x="45747" y="183421"/>
                    </a:cubicBezTo>
                    <a:close/>
                    <a:moveTo>
                      <a:pt x="45747" y="218486"/>
                    </a:moveTo>
                    <a:cubicBezTo>
                      <a:pt x="45747" y="214278"/>
                      <a:pt x="42402" y="210933"/>
                      <a:pt x="38195" y="210933"/>
                    </a:cubicBezTo>
                    <a:lnTo>
                      <a:pt x="7553" y="210933"/>
                    </a:lnTo>
                    <a:cubicBezTo>
                      <a:pt x="3345" y="210933"/>
                      <a:pt x="0" y="214278"/>
                      <a:pt x="0" y="218486"/>
                    </a:cubicBezTo>
                    <a:cubicBezTo>
                      <a:pt x="0" y="222694"/>
                      <a:pt x="3345" y="226039"/>
                      <a:pt x="7553" y="226039"/>
                    </a:cubicBezTo>
                    <a:lnTo>
                      <a:pt x="38195" y="226039"/>
                    </a:lnTo>
                    <a:cubicBezTo>
                      <a:pt x="42402" y="226039"/>
                      <a:pt x="45747" y="222694"/>
                      <a:pt x="45747" y="218486"/>
                    </a:cubicBezTo>
                    <a:close/>
                    <a:moveTo>
                      <a:pt x="45747" y="253552"/>
                    </a:moveTo>
                    <a:cubicBezTo>
                      <a:pt x="45747" y="249344"/>
                      <a:pt x="42402" y="245999"/>
                      <a:pt x="38195" y="245999"/>
                    </a:cubicBezTo>
                    <a:lnTo>
                      <a:pt x="7553" y="245999"/>
                    </a:lnTo>
                    <a:cubicBezTo>
                      <a:pt x="3345" y="245999"/>
                      <a:pt x="0" y="249344"/>
                      <a:pt x="0" y="253552"/>
                    </a:cubicBezTo>
                    <a:cubicBezTo>
                      <a:pt x="0" y="257760"/>
                      <a:pt x="3345" y="261104"/>
                      <a:pt x="7553" y="261104"/>
                    </a:cubicBezTo>
                    <a:lnTo>
                      <a:pt x="38195" y="261104"/>
                    </a:lnTo>
                    <a:cubicBezTo>
                      <a:pt x="42402" y="261104"/>
                      <a:pt x="45747" y="257760"/>
                      <a:pt x="45747" y="253552"/>
                    </a:cubicBezTo>
                    <a:close/>
                    <a:moveTo>
                      <a:pt x="160331" y="8416"/>
                    </a:moveTo>
                    <a:cubicBezTo>
                      <a:pt x="160331" y="4208"/>
                      <a:pt x="156986" y="863"/>
                      <a:pt x="152778" y="863"/>
                    </a:cubicBezTo>
                    <a:lnTo>
                      <a:pt x="72397" y="863"/>
                    </a:lnTo>
                    <a:cubicBezTo>
                      <a:pt x="68189" y="863"/>
                      <a:pt x="64845" y="4208"/>
                      <a:pt x="64845" y="8416"/>
                    </a:cubicBezTo>
                    <a:cubicBezTo>
                      <a:pt x="64845" y="12624"/>
                      <a:pt x="68189" y="15968"/>
                      <a:pt x="72397" y="15968"/>
                    </a:cubicBezTo>
                    <a:lnTo>
                      <a:pt x="152778" y="15968"/>
                    </a:lnTo>
                    <a:cubicBezTo>
                      <a:pt x="156986" y="15968"/>
                      <a:pt x="160331" y="12624"/>
                      <a:pt x="160331" y="8416"/>
                    </a:cubicBezTo>
                    <a:close/>
                    <a:moveTo>
                      <a:pt x="160331" y="43481"/>
                    </a:moveTo>
                    <a:cubicBezTo>
                      <a:pt x="160331" y="39274"/>
                      <a:pt x="156986" y="35929"/>
                      <a:pt x="152778" y="35929"/>
                    </a:cubicBezTo>
                    <a:lnTo>
                      <a:pt x="72397" y="35929"/>
                    </a:lnTo>
                    <a:cubicBezTo>
                      <a:pt x="68189" y="35929"/>
                      <a:pt x="64845" y="39274"/>
                      <a:pt x="64845" y="43481"/>
                    </a:cubicBezTo>
                    <a:cubicBezTo>
                      <a:pt x="64845" y="47689"/>
                      <a:pt x="68189" y="51034"/>
                      <a:pt x="72397" y="51034"/>
                    </a:cubicBezTo>
                    <a:lnTo>
                      <a:pt x="152778" y="51034"/>
                    </a:lnTo>
                    <a:cubicBezTo>
                      <a:pt x="156986" y="51034"/>
                      <a:pt x="160331" y="47689"/>
                      <a:pt x="160331" y="43481"/>
                    </a:cubicBezTo>
                    <a:close/>
                    <a:moveTo>
                      <a:pt x="160331" y="78547"/>
                    </a:moveTo>
                    <a:cubicBezTo>
                      <a:pt x="160331" y="74339"/>
                      <a:pt x="156986" y="70994"/>
                      <a:pt x="152778" y="70994"/>
                    </a:cubicBezTo>
                    <a:lnTo>
                      <a:pt x="72397" y="70994"/>
                    </a:lnTo>
                    <a:cubicBezTo>
                      <a:pt x="68189" y="70994"/>
                      <a:pt x="64845" y="74339"/>
                      <a:pt x="64845" y="78547"/>
                    </a:cubicBezTo>
                    <a:cubicBezTo>
                      <a:pt x="64845" y="82755"/>
                      <a:pt x="68189" y="86100"/>
                      <a:pt x="72397" y="86100"/>
                    </a:cubicBezTo>
                    <a:lnTo>
                      <a:pt x="152778" y="86100"/>
                    </a:lnTo>
                    <a:cubicBezTo>
                      <a:pt x="156986" y="86100"/>
                      <a:pt x="160331" y="82755"/>
                      <a:pt x="160331" y="78547"/>
                    </a:cubicBezTo>
                    <a:close/>
                    <a:moveTo>
                      <a:pt x="160331" y="113613"/>
                    </a:moveTo>
                    <a:cubicBezTo>
                      <a:pt x="160331" y="109405"/>
                      <a:pt x="156986" y="106060"/>
                      <a:pt x="152778" y="106060"/>
                    </a:cubicBezTo>
                    <a:lnTo>
                      <a:pt x="72397" y="106060"/>
                    </a:lnTo>
                    <a:cubicBezTo>
                      <a:pt x="68189" y="106060"/>
                      <a:pt x="64845" y="109405"/>
                      <a:pt x="64845" y="113613"/>
                    </a:cubicBezTo>
                    <a:cubicBezTo>
                      <a:pt x="64845" y="117821"/>
                      <a:pt x="68189" y="121165"/>
                      <a:pt x="72397" y="121165"/>
                    </a:cubicBezTo>
                    <a:lnTo>
                      <a:pt x="152778" y="121165"/>
                    </a:lnTo>
                    <a:cubicBezTo>
                      <a:pt x="156986" y="121165"/>
                      <a:pt x="160331" y="117821"/>
                      <a:pt x="160331" y="113613"/>
                    </a:cubicBezTo>
                    <a:close/>
                    <a:moveTo>
                      <a:pt x="160331" y="148679"/>
                    </a:moveTo>
                    <a:cubicBezTo>
                      <a:pt x="160331" y="144471"/>
                      <a:pt x="156986" y="141126"/>
                      <a:pt x="152778" y="141126"/>
                    </a:cubicBezTo>
                    <a:lnTo>
                      <a:pt x="72397" y="141126"/>
                    </a:lnTo>
                    <a:cubicBezTo>
                      <a:pt x="68189" y="141126"/>
                      <a:pt x="64845" y="144471"/>
                      <a:pt x="64845" y="148679"/>
                    </a:cubicBezTo>
                    <a:cubicBezTo>
                      <a:pt x="64845" y="152886"/>
                      <a:pt x="68189" y="156231"/>
                      <a:pt x="72397" y="156231"/>
                    </a:cubicBezTo>
                    <a:lnTo>
                      <a:pt x="152778" y="156231"/>
                    </a:lnTo>
                    <a:cubicBezTo>
                      <a:pt x="156986" y="156231"/>
                      <a:pt x="160331" y="152886"/>
                      <a:pt x="160331" y="148679"/>
                    </a:cubicBezTo>
                    <a:close/>
                    <a:moveTo>
                      <a:pt x="256573" y="183744"/>
                    </a:moveTo>
                    <a:cubicBezTo>
                      <a:pt x="256573" y="179536"/>
                      <a:pt x="253228" y="176191"/>
                      <a:pt x="249020" y="176191"/>
                    </a:cubicBezTo>
                    <a:lnTo>
                      <a:pt x="168639" y="176191"/>
                    </a:lnTo>
                    <a:cubicBezTo>
                      <a:pt x="164431" y="176191"/>
                      <a:pt x="161086" y="179536"/>
                      <a:pt x="161086" y="183744"/>
                    </a:cubicBezTo>
                    <a:cubicBezTo>
                      <a:pt x="161086" y="187952"/>
                      <a:pt x="164431" y="191297"/>
                      <a:pt x="168639" y="191297"/>
                    </a:cubicBezTo>
                    <a:lnTo>
                      <a:pt x="249020" y="191297"/>
                    </a:lnTo>
                    <a:cubicBezTo>
                      <a:pt x="253228" y="191297"/>
                      <a:pt x="256573" y="187952"/>
                      <a:pt x="256573" y="183744"/>
                    </a:cubicBezTo>
                    <a:close/>
                    <a:moveTo>
                      <a:pt x="256573" y="218810"/>
                    </a:moveTo>
                    <a:cubicBezTo>
                      <a:pt x="256573" y="214602"/>
                      <a:pt x="253228" y="211257"/>
                      <a:pt x="249020" y="211257"/>
                    </a:cubicBezTo>
                    <a:lnTo>
                      <a:pt x="168639" y="211257"/>
                    </a:lnTo>
                    <a:cubicBezTo>
                      <a:pt x="164431" y="211257"/>
                      <a:pt x="161086" y="214602"/>
                      <a:pt x="161086" y="218810"/>
                    </a:cubicBezTo>
                    <a:cubicBezTo>
                      <a:pt x="161086" y="223018"/>
                      <a:pt x="164431" y="226362"/>
                      <a:pt x="168639" y="226362"/>
                    </a:cubicBezTo>
                    <a:lnTo>
                      <a:pt x="249020" y="226362"/>
                    </a:lnTo>
                    <a:cubicBezTo>
                      <a:pt x="253228" y="226362"/>
                      <a:pt x="256573" y="223018"/>
                      <a:pt x="256573" y="218810"/>
                    </a:cubicBezTo>
                    <a:close/>
                    <a:moveTo>
                      <a:pt x="256573" y="253876"/>
                    </a:moveTo>
                    <a:cubicBezTo>
                      <a:pt x="256573" y="249668"/>
                      <a:pt x="253228" y="246323"/>
                      <a:pt x="249020" y="246323"/>
                    </a:cubicBezTo>
                    <a:lnTo>
                      <a:pt x="168639" y="246323"/>
                    </a:lnTo>
                    <a:cubicBezTo>
                      <a:pt x="164431" y="246323"/>
                      <a:pt x="161086" y="249668"/>
                      <a:pt x="161086" y="253876"/>
                    </a:cubicBezTo>
                    <a:cubicBezTo>
                      <a:pt x="161086" y="258083"/>
                      <a:pt x="164431" y="261428"/>
                      <a:pt x="168639" y="261428"/>
                    </a:cubicBezTo>
                    <a:lnTo>
                      <a:pt x="249020" y="261428"/>
                    </a:lnTo>
                    <a:cubicBezTo>
                      <a:pt x="253228" y="261428"/>
                      <a:pt x="256573" y="258083"/>
                      <a:pt x="256573" y="253876"/>
                    </a:cubicBezTo>
                    <a:close/>
                    <a:moveTo>
                      <a:pt x="195720" y="8739"/>
                    </a:moveTo>
                    <a:cubicBezTo>
                      <a:pt x="195720" y="3884"/>
                      <a:pt x="191836" y="0"/>
                      <a:pt x="186981" y="0"/>
                    </a:cubicBezTo>
                    <a:cubicBezTo>
                      <a:pt x="182126" y="0"/>
                      <a:pt x="178241" y="3884"/>
                      <a:pt x="178241" y="8739"/>
                    </a:cubicBezTo>
                    <a:cubicBezTo>
                      <a:pt x="178241" y="13595"/>
                      <a:pt x="182126" y="17479"/>
                      <a:pt x="186981" y="17479"/>
                    </a:cubicBezTo>
                    <a:cubicBezTo>
                      <a:pt x="191836" y="17479"/>
                      <a:pt x="195720" y="13595"/>
                      <a:pt x="195720" y="8739"/>
                    </a:cubicBezTo>
                    <a:close/>
                    <a:moveTo>
                      <a:pt x="221939" y="8739"/>
                    </a:moveTo>
                    <a:cubicBezTo>
                      <a:pt x="221939" y="3884"/>
                      <a:pt x="218055" y="0"/>
                      <a:pt x="213199" y="0"/>
                    </a:cubicBezTo>
                    <a:cubicBezTo>
                      <a:pt x="208344" y="0"/>
                      <a:pt x="204460" y="3884"/>
                      <a:pt x="204460" y="8739"/>
                    </a:cubicBezTo>
                    <a:cubicBezTo>
                      <a:pt x="204460" y="13595"/>
                      <a:pt x="208344" y="17479"/>
                      <a:pt x="213199" y="17479"/>
                    </a:cubicBezTo>
                    <a:cubicBezTo>
                      <a:pt x="218055" y="17479"/>
                      <a:pt x="221939" y="13595"/>
                      <a:pt x="221939" y="8739"/>
                    </a:cubicBezTo>
                    <a:close/>
                    <a:moveTo>
                      <a:pt x="248157" y="8739"/>
                    </a:moveTo>
                    <a:cubicBezTo>
                      <a:pt x="248157" y="3884"/>
                      <a:pt x="244273" y="0"/>
                      <a:pt x="239418" y="0"/>
                    </a:cubicBezTo>
                    <a:cubicBezTo>
                      <a:pt x="234562" y="0"/>
                      <a:pt x="230678" y="3884"/>
                      <a:pt x="230678" y="8739"/>
                    </a:cubicBezTo>
                    <a:cubicBezTo>
                      <a:pt x="230678" y="13595"/>
                      <a:pt x="234562" y="17479"/>
                      <a:pt x="239418" y="17479"/>
                    </a:cubicBezTo>
                    <a:cubicBezTo>
                      <a:pt x="244273" y="17479"/>
                      <a:pt x="248157" y="13595"/>
                      <a:pt x="248157" y="8739"/>
                    </a:cubicBezTo>
                    <a:close/>
                    <a:moveTo>
                      <a:pt x="274375" y="8739"/>
                    </a:moveTo>
                    <a:cubicBezTo>
                      <a:pt x="274375" y="3884"/>
                      <a:pt x="270491" y="0"/>
                      <a:pt x="265636" y="0"/>
                    </a:cubicBezTo>
                    <a:cubicBezTo>
                      <a:pt x="260781" y="0"/>
                      <a:pt x="256896" y="3884"/>
                      <a:pt x="256896" y="8739"/>
                    </a:cubicBezTo>
                    <a:cubicBezTo>
                      <a:pt x="256896" y="13595"/>
                      <a:pt x="260781" y="17479"/>
                      <a:pt x="265636" y="17479"/>
                    </a:cubicBezTo>
                    <a:cubicBezTo>
                      <a:pt x="270491" y="17479"/>
                      <a:pt x="274375" y="13595"/>
                      <a:pt x="274375" y="8739"/>
                    </a:cubicBezTo>
                    <a:close/>
                    <a:moveTo>
                      <a:pt x="300594" y="8739"/>
                    </a:moveTo>
                    <a:cubicBezTo>
                      <a:pt x="300594" y="3884"/>
                      <a:pt x="296709" y="0"/>
                      <a:pt x="291854" y="0"/>
                    </a:cubicBezTo>
                    <a:cubicBezTo>
                      <a:pt x="286999" y="0"/>
                      <a:pt x="283115" y="3884"/>
                      <a:pt x="283115" y="8739"/>
                    </a:cubicBezTo>
                    <a:cubicBezTo>
                      <a:pt x="283115" y="13595"/>
                      <a:pt x="286999" y="17479"/>
                      <a:pt x="291854" y="17479"/>
                    </a:cubicBezTo>
                    <a:cubicBezTo>
                      <a:pt x="296709" y="17479"/>
                      <a:pt x="300594" y="13595"/>
                      <a:pt x="300594" y="8739"/>
                    </a:cubicBezTo>
                    <a:close/>
                    <a:moveTo>
                      <a:pt x="326812" y="8739"/>
                    </a:moveTo>
                    <a:cubicBezTo>
                      <a:pt x="326812" y="3884"/>
                      <a:pt x="322928" y="0"/>
                      <a:pt x="318073" y="0"/>
                    </a:cubicBezTo>
                    <a:cubicBezTo>
                      <a:pt x="313217" y="0"/>
                      <a:pt x="309333" y="3884"/>
                      <a:pt x="309333" y="8739"/>
                    </a:cubicBezTo>
                    <a:cubicBezTo>
                      <a:pt x="309333" y="13595"/>
                      <a:pt x="313217" y="17479"/>
                      <a:pt x="318073" y="17479"/>
                    </a:cubicBezTo>
                    <a:cubicBezTo>
                      <a:pt x="322928" y="17479"/>
                      <a:pt x="326812" y="13595"/>
                      <a:pt x="326812" y="8739"/>
                    </a:cubicBezTo>
                    <a:close/>
                    <a:moveTo>
                      <a:pt x="195505" y="78763"/>
                    </a:moveTo>
                    <a:cubicBezTo>
                      <a:pt x="195505" y="73908"/>
                      <a:pt x="191620" y="70023"/>
                      <a:pt x="186765" y="70023"/>
                    </a:cubicBezTo>
                    <a:cubicBezTo>
                      <a:pt x="181910" y="70023"/>
                      <a:pt x="178026" y="73908"/>
                      <a:pt x="178026" y="78763"/>
                    </a:cubicBezTo>
                    <a:cubicBezTo>
                      <a:pt x="178026" y="83618"/>
                      <a:pt x="181910" y="87502"/>
                      <a:pt x="186765" y="87502"/>
                    </a:cubicBezTo>
                    <a:cubicBezTo>
                      <a:pt x="191620" y="87502"/>
                      <a:pt x="195505" y="83618"/>
                      <a:pt x="195505" y="78763"/>
                    </a:cubicBezTo>
                    <a:close/>
                    <a:moveTo>
                      <a:pt x="221723" y="78763"/>
                    </a:moveTo>
                    <a:cubicBezTo>
                      <a:pt x="221723" y="73908"/>
                      <a:pt x="217839" y="70023"/>
                      <a:pt x="212983" y="70023"/>
                    </a:cubicBezTo>
                    <a:cubicBezTo>
                      <a:pt x="208128" y="70023"/>
                      <a:pt x="204244" y="73908"/>
                      <a:pt x="204244" y="78763"/>
                    </a:cubicBezTo>
                    <a:cubicBezTo>
                      <a:pt x="204244" y="83618"/>
                      <a:pt x="208128" y="87502"/>
                      <a:pt x="212983" y="87502"/>
                    </a:cubicBezTo>
                    <a:cubicBezTo>
                      <a:pt x="217839" y="87502"/>
                      <a:pt x="221723" y="83618"/>
                      <a:pt x="221723" y="78763"/>
                    </a:cubicBezTo>
                    <a:close/>
                    <a:moveTo>
                      <a:pt x="247941" y="78763"/>
                    </a:moveTo>
                    <a:cubicBezTo>
                      <a:pt x="247941" y="73908"/>
                      <a:pt x="244057" y="70023"/>
                      <a:pt x="239202" y="70023"/>
                    </a:cubicBezTo>
                    <a:cubicBezTo>
                      <a:pt x="234347" y="70023"/>
                      <a:pt x="230462" y="73908"/>
                      <a:pt x="230462" y="78763"/>
                    </a:cubicBezTo>
                    <a:cubicBezTo>
                      <a:pt x="230462" y="83618"/>
                      <a:pt x="234347" y="87502"/>
                      <a:pt x="239202" y="87502"/>
                    </a:cubicBezTo>
                    <a:cubicBezTo>
                      <a:pt x="244057" y="87502"/>
                      <a:pt x="247941" y="83618"/>
                      <a:pt x="247941" y="78763"/>
                    </a:cubicBezTo>
                    <a:close/>
                    <a:moveTo>
                      <a:pt x="274160" y="78763"/>
                    </a:moveTo>
                    <a:cubicBezTo>
                      <a:pt x="274160" y="73908"/>
                      <a:pt x="270275" y="70023"/>
                      <a:pt x="265420" y="70023"/>
                    </a:cubicBezTo>
                    <a:cubicBezTo>
                      <a:pt x="260565" y="70023"/>
                      <a:pt x="256681" y="73908"/>
                      <a:pt x="256681" y="78763"/>
                    </a:cubicBezTo>
                    <a:cubicBezTo>
                      <a:pt x="256681" y="83618"/>
                      <a:pt x="260565" y="87502"/>
                      <a:pt x="265420" y="87502"/>
                    </a:cubicBezTo>
                    <a:cubicBezTo>
                      <a:pt x="270275" y="87502"/>
                      <a:pt x="274160" y="83618"/>
                      <a:pt x="274160" y="78763"/>
                    </a:cubicBezTo>
                    <a:close/>
                    <a:moveTo>
                      <a:pt x="300378" y="78763"/>
                    </a:moveTo>
                    <a:cubicBezTo>
                      <a:pt x="300378" y="73908"/>
                      <a:pt x="296494" y="70023"/>
                      <a:pt x="291639" y="70023"/>
                    </a:cubicBezTo>
                    <a:cubicBezTo>
                      <a:pt x="286783" y="70023"/>
                      <a:pt x="282899" y="73908"/>
                      <a:pt x="282899" y="78763"/>
                    </a:cubicBezTo>
                    <a:cubicBezTo>
                      <a:pt x="282899" y="83618"/>
                      <a:pt x="286783" y="87502"/>
                      <a:pt x="291639" y="87502"/>
                    </a:cubicBezTo>
                    <a:cubicBezTo>
                      <a:pt x="296494" y="87502"/>
                      <a:pt x="300378" y="83618"/>
                      <a:pt x="300378" y="78763"/>
                    </a:cubicBezTo>
                    <a:close/>
                    <a:moveTo>
                      <a:pt x="326596" y="78763"/>
                    </a:moveTo>
                    <a:cubicBezTo>
                      <a:pt x="326596" y="73908"/>
                      <a:pt x="322712" y="70023"/>
                      <a:pt x="317857" y="70023"/>
                    </a:cubicBezTo>
                    <a:cubicBezTo>
                      <a:pt x="313002" y="70023"/>
                      <a:pt x="309117" y="73908"/>
                      <a:pt x="309117" y="78763"/>
                    </a:cubicBezTo>
                    <a:cubicBezTo>
                      <a:pt x="309117" y="83618"/>
                      <a:pt x="313002" y="87502"/>
                      <a:pt x="317857" y="87502"/>
                    </a:cubicBezTo>
                    <a:cubicBezTo>
                      <a:pt x="322712" y="87502"/>
                      <a:pt x="326596" y="83618"/>
                      <a:pt x="326596" y="78763"/>
                    </a:cubicBezTo>
                    <a:close/>
                    <a:moveTo>
                      <a:pt x="285057" y="179428"/>
                    </a:moveTo>
                    <a:cubicBezTo>
                      <a:pt x="285057" y="174573"/>
                      <a:pt x="281173" y="170689"/>
                      <a:pt x="276318" y="170689"/>
                    </a:cubicBezTo>
                    <a:cubicBezTo>
                      <a:pt x="271462" y="170689"/>
                      <a:pt x="267578" y="174573"/>
                      <a:pt x="267578" y="179428"/>
                    </a:cubicBezTo>
                    <a:cubicBezTo>
                      <a:pt x="267578" y="184284"/>
                      <a:pt x="271462" y="188168"/>
                      <a:pt x="276318" y="188168"/>
                    </a:cubicBezTo>
                    <a:cubicBezTo>
                      <a:pt x="281173" y="188168"/>
                      <a:pt x="285057" y="184284"/>
                      <a:pt x="285057" y="179428"/>
                    </a:cubicBezTo>
                    <a:close/>
                    <a:moveTo>
                      <a:pt x="311275" y="179428"/>
                    </a:moveTo>
                    <a:cubicBezTo>
                      <a:pt x="311275" y="174573"/>
                      <a:pt x="307391" y="170689"/>
                      <a:pt x="302536" y="170689"/>
                    </a:cubicBezTo>
                    <a:cubicBezTo>
                      <a:pt x="297681" y="170689"/>
                      <a:pt x="293796" y="174573"/>
                      <a:pt x="293796" y="179428"/>
                    </a:cubicBezTo>
                    <a:cubicBezTo>
                      <a:pt x="293796" y="184284"/>
                      <a:pt x="297681" y="188168"/>
                      <a:pt x="302536" y="188168"/>
                    </a:cubicBezTo>
                    <a:cubicBezTo>
                      <a:pt x="307391" y="188168"/>
                      <a:pt x="311275" y="184284"/>
                      <a:pt x="311275" y="179428"/>
                    </a:cubicBezTo>
                    <a:close/>
                    <a:moveTo>
                      <a:pt x="337494" y="179428"/>
                    </a:moveTo>
                    <a:cubicBezTo>
                      <a:pt x="337494" y="174573"/>
                      <a:pt x="333609" y="170689"/>
                      <a:pt x="328754" y="170689"/>
                    </a:cubicBezTo>
                    <a:cubicBezTo>
                      <a:pt x="323899" y="170689"/>
                      <a:pt x="320015" y="174573"/>
                      <a:pt x="320015" y="179428"/>
                    </a:cubicBezTo>
                    <a:cubicBezTo>
                      <a:pt x="320015" y="184284"/>
                      <a:pt x="323899" y="188168"/>
                      <a:pt x="328754" y="188168"/>
                    </a:cubicBezTo>
                    <a:cubicBezTo>
                      <a:pt x="333609" y="188168"/>
                      <a:pt x="337494" y="184284"/>
                      <a:pt x="337494" y="179428"/>
                    </a:cubicBezTo>
                    <a:close/>
                    <a:moveTo>
                      <a:pt x="363712" y="179428"/>
                    </a:moveTo>
                    <a:cubicBezTo>
                      <a:pt x="363712" y="174573"/>
                      <a:pt x="359828" y="170689"/>
                      <a:pt x="354973" y="170689"/>
                    </a:cubicBezTo>
                    <a:cubicBezTo>
                      <a:pt x="350117" y="170689"/>
                      <a:pt x="346233" y="174573"/>
                      <a:pt x="346233" y="179428"/>
                    </a:cubicBezTo>
                    <a:cubicBezTo>
                      <a:pt x="346233" y="184284"/>
                      <a:pt x="350117" y="188168"/>
                      <a:pt x="354973" y="188168"/>
                    </a:cubicBezTo>
                    <a:cubicBezTo>
                      <a:pt x="359828" y="188168"/>
                      <a:pt x="363712" y="184284"/>
                      <a:pt x="363712" y="179428"/>
                    </a:cubicBezTo>
                    <a:close/>
                    <a:moveTo>
                      <a:pt x="389930" y="179428"/>
                    </a:moveTo>
                    <a:cubicBezTo>
                      <a:pt x="389930" y="174573"/>
                      <a:pt x="386046" y="170689"/>
                      <a:pt x="381191" y="170689"/>
                    </a:cubicBezTo>
                    <a:cubicBezTo>
                      <a:pt x="376336" y="170689"/>
                      <a:pt x="372451" y="174573"/>
                      <a:pt x="372451" y="179428"/>
                    </a:cubicBezTo>
                    <a:cubicBezTo>
                      <a:pt x="372451" y="184284"/>
                      <a:pt x="376336" y="188168"/>
                      <a:pt x="381191" y="188168"/>
                    </a:cubicBezTo>
                    <a:cubicBezTo>
                      <a:pt x="386046" y="188168"/>
                      <a:pt x="389930" y="184284"/>
                      <a:pt x="389930" y="179428"/>
                    </a:cubicBezTo>
                    <a:close/>
                    <a:moveTo>
                      <a:pt x="416149" y="179428"/>
                    </a:moveTo>
                    <a:cubicBezTo>
                      <a:pt x="416149" y="174573"/>
                      <a:pt x="412264" y="170689"/>
                      <a:pt x="407409" y="170689"/>
                    </a:cubicBezTo>
                    <a:cubicBezTo>
                      <a:pt x="402554" y="170689"/>
                      <a:pt x="398670" y="174573"/>
                      <a:pt x="398670" y="179428"/>
                    </a:cubicBezTo>
                    <a:cubicBezTo>
                      <a:pt x="398670" y="184284"/>
                      <a:pt x="402554" y="188168"/>
                      <a:pt x="407409" y="188168"/>
                    </a:cubicBezTo>
                    <a:cubicBezTo>
                      <a:pt x="412264" y="188168"/>
                      <a:pt x="416149" y="184284"/>
                      <a:pt x="416149" y="179428"/>
                    </a:cubicBezTo>
                    <a:close/>
                    <a:moveTo>
                      <a:pt x="284841" y="251610"/>
                    </a:moveTo>
                    <a:cubicBezTo>
                      <a:pt x="284841" y="246754"/>
                      <a:pt x="280957" y="242870"/>
                      <a:pt x="276102" y="242870"/>
                    </a:cubicBezTo>
                    <a:cubicBezTo>
                      <a:pt x="271246" y="242870"/>
                      <a:pt x="267362" y="246754"/>
                      <a:pt x="267362" y="251610"/>
                    </a:cubicBezTo>
                    <a:cubicBezTo>
                      <a:pt x="267362" y="256465"/>
                      <a:pt x="271246" y="260349"/>
                      <a:pt x="276102" y="260349"/>
                    </a:cubicBezTo>
                    <a:cubicBezTo>
                      <a:pt x="280957" y="260349"/>
                      <a:pt x="284841" y="256465"/>
                      <a:pt x="284841" y="251610"/>
                    </a:cubicBezTo>
                    <a:close/>
                    <a:moveTo>
                      <a:pt x="311059" y="251610"/>
                    </a:moveTo>
                    <a:cubicBezTo>
                      <a:pt x="311059" y="246754"/>
                      <a:pt x="307175" y="242870"/>
                      <a:pt x="302320" y="242870"/>
                    </a:cubicBezTo>
                    <a:cubicBezTo>
                      <a:pt x="297465" y="242870"/>
                      <a:pt x="293581" y="246754"/>
                      <a:pt x="293581" y="251610"/>
                    </a:cubicBezTo>
                    <a:cubicBezTo>
                      <a:pt x="293581" y="256465"/>
                      <a:pt x="297465" y="260349"/>
                      <a:pt x="302320" y="260349"/>
                    </a:cubicBezTo>
                    <a:cubicBezTo>
                      <a:pt x="307175" y="260349"/>
                      <a:pt x="311059" y="256465"/>
                      <a:pt x="311059" y="251610"/>
                    </a:cubicBezTo>
                    <a:close/>
                    <a:moveTo>
                      <a:pt x="337278" y="251610"/>
                    </a:moveTo>
                    <a:cubicBezTo>
                      <a:pt x="337278" y="246754"/>
                      <a:pt x="333394" y="242870"/>
                      <a:pt x="328538" y="242870"/>
                    </a:cubicBezTo>
                    <a:cubicBezTo>
                      <a:pt x="323683" y="242870"/>
                      <a:pt x="319799" y="246754"/>
                      <a:pt x="319799" y="251610"/>
                    </a:cubicBezTo>
                    <a:cubicBezTo>
                      <a:pt x="319799" y="256465"/>
                      <a:pt x="323683" y="260349"/>
                      <a:pt x="328538" y="260349"/>
                    </a:cubicBezTo>
                    <a:cubicBezTo>
                      <a:pt x="333394" y="260349"/>
                      <a:pt x="337278" y="256465"/>
                      <a:pt x="337278" y="251610"/>
                    </a:cubicBezTo>
                    <a:close/>
                    <a:moveTo>
                      <a:pt x="363496" y="251610"/>
                    </a:moveTo>
                    <a:cubicBezTo>
                      <a:pt x="363496" y="246754"/>
                      <a:pt x="359612" y="242870"/>
                      <a:pt x="354757" y="242870"/>
                    </a:cubicBezTo>
                    <a:cubicBezTo>
                      <a:pt x="349901" y="242870"/>
                      <a:pt x="346017" y="246754"/>
                      <a:pt x="346017" y="251610"/>
                    </a:cubicBezTo>
                    <a:cubicBezTo>
                      <a:pt x="346017" y="256465"/>
                      <a:pt x="349901" y="260349"/>
                      <a:pt x="354757" y="260349"/>
                    </a:cubicBezTo>
                    <a:cubicBezTo>
                      <a:pt x="359612" y="260349"/>
                      <a:pt x="363496" y="256465"/>
                      <a:pt x="363496" y="251610"/>
                    </a:cubicBezTo>
                    <a:close/>
                    <a:moveTo>
                      <a:pt x="389715" y="251610"/>
                    </a:moveTo>
                    <a:cubicBezTo>
                      <a:pt x="389715" y="246754"/>
                      <a:pt x="385830" y="242870"/>
                      <a:pt x="380975" y="242870"/>
                    </a:cubicBezTo>
                    <a:cubicBezTo>
                      <a:pt x="376120" y="242870"/>
                      <a:pt x="372236" y="246754"/>
                      <a:pt x="372236" y="251610"/>
                    </a:cubicBezTo>
                    <a:cubicBezTo>
                      <a:pt x="372236" y="256465"/>
                      <a:pt x="376120" y="260349"/>
                      <a:pt x="380975" y="260349"/>
                    </a:cubicBezTo>
                    <a:cubicBezTo>
                      <a:pt x="385830" y="260349"/>
                      <a:pt x="389715" y="256465"/>
                      <a:pt x="389715" y="251610"/>
                    </a:cubicBezTo>
                    <a:close/>
                    <a:moveTo>
                      <a:pt x="415933" y="251610"/>
                    </a:moveTo>
                    <a:cubicBezTo>
                      <a:pt x="415933" y="246754"/>
                      <a:pt x="412049" y="242870"/>
                      <a:pt x="407193" y="242870"/>
                    </a:cubicBezTo>
                    <a:cubicBezTo>
                      <a:pt x="402338" y="242870"/>
                      <a:pt x="398454" y="246754"/>
                      <a:pt x="398454" y="251610"/>
                    </a:cubicBezTo>
                    <a:cubicBezTo>
                      <a:pt x="398454" y="256465"/>
                      <a:pt x="402338" y="260349"/>
                      <a:pt x="407193" y="260349"/>
                    </a:cubicBezTo>
                    <a:cubicBezTo>
                      <a:pt x="412049" y="260349"/>
                      <a:pt x="415933" y="256465"/>
                      <a:pt x="415933" y="25161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19" name="Полилиния: фигура 1618">
                <a:extLst>
                  <a:ext uri="{FF2B5EF4-FFF2-40B4-BE49-F238E27FC236}">
                    <a16:creationId xmlns:a16="http://schemas.microsoft.com/office/drawing/2014/main" id="{A5A5EDE2-4DEC-431D-856E-2E13DDD9E649}"/>
                  </a:ext>
                </a:extLst>
              </p:cNvPr>
              <p:cNvSpPr/>
              <p:nvPr/>
            </p:nvSpPr>
            <p:spPr>
              <a:xfrm>
                <a:off x="1493206" y="2418627"/>
                <a:ext cx="416148" cy="261428"/>
              </a:xfrm>
              <a:custGeom>
                <a:avLst/>
                <a:gdLst>
                  <a:gd name="connsiteX0" fmla="*/ 38195 w 416148"/>
                  <a:gd name="connsiteY0" fmla="*/ 15753 h 261428"/>
                  <a:gd name="connsiteX1" fmla="*/ 7553 w 416148"/>
                  <a:gd name="connsiteY1" fmla="*/ 15753 h 261428"/>
                  <a:gd name="connsiteX2" fmla="*/ 0 w 416148"/>
                  <a:gd name="connsiteY2" fmla="*/ 8200 h 261428"/>
                  <a:gd name="connsiteX3" fmla="*/ 7553 w 416148"/>
                  <a:gd name="connsiteY3" fmla="*/ 647 h 261428"/>
                  <a:gd name="connsiteX4" fmla="*/ 38195 w 416148"/>
                  <a:gd name="connsiteY4" fmla="*/ 647 h 261428"/>
                  <a:gd name="connsiteX5" fmla="*/ 45747 w 416148"/>
                  <a:gd name="connsiteY5" fmla="*/ 8200 h 261428"/>
                  <a:gd name="connsiteX6" fmla="*/ 38195 w 416148"/>
                  <a:gd name="connsiteY6" fmla="*/ 15753 h 261428"/>
                  <a:gd name="connsiteX7" fmla="*/ 45747 w 416148"/>
                  <a:gd name="connsiteY7" fmla="*/ 43158 h 261428"/>
                  <a:gd name="connsiteX8" fmla="*/ 38195 w 416148"/>
                  <a:gd name="connsiteY8" fmla="*/ 35605 h 261428"/>
                  <a:gd name="connsiteX9" fmla="*/ 7553 w 416148"/>
                  <a:gd name="connsiteY9" fmla="*/ 35605 h 261428"/>
                  <a:gd name="connsiteX10" fmla="*/ 0 w 416148"/>
                  <a:gd name="connsiteY10" fmla="*/ 43158 h 261428"/>
                  <a:gd name="connsiteX11" fmla="*/ 7553 w 416148"/>
                  <a:gd name="connsiteY11" fmla="*/ 50710 h 261428"/>
                  <a:gd name="connsiteX12" fmla="*/ 38195 w 416148"/>
                  <a:gd name="connsiteY12" fmla="*/ 50710 h 261428"/>
                  <a:gd name="connsiteX13" fmla="*/ 45747 w 416148"/>
                  <a:gd name="connsiteY13" fmla="*/ 43158 h 261428"/>
                  <a:gd name="connsiteX14" fmla="*/ 45747 w 416148"/>
                  <a:gd name="connsiteY14" fmla="*/ 78223 h 261428"/>
                  <a:gd name="connsiteX15" fmla="*/ 38195 w 416148"/>
                  <a:gd name="connsiteY15" fmla="*/ 70671 h 261428"/>
                  <a:gd name="connsiteX16" fmla="*/ 7553 w 416148"/>
                  <a:gd name="connsiteY16" fmla="*/ 70671 h 261428"/>
                  <a:gd name="connsiteX17" fmla="*/ 0 w 416148"/>
                  <a:gd name="connsiteY17" fmla="*/ 78223 h 261428"/>
                  <a:gd name="connsiteX18" fmla="*/ 7553 w 416148"/>
                  <a:gd name="connsiteY18" fmla="*/ 85776 h 261428"/>
                  <a:gd name="connsiteX19" fmla="*/ 38195 w 416148"/>
                  <a:gd name="connsiteY19" fmla="*/ 85776 h 261428"/>
                  <a:gd name="connsiteX20" fmla="*/ 45747 w 416148"/>
                  <a:gd name="connsiteY20" fmla="*/ 78223 h 261428"/>
                  <a:gd name="connsiteX21" fmla="*/ 45747 w 416148"/>
                  <a:gd name="connsiteY21" fmla="*/ 113289 h 261428"/>
                  <a:gd name="connsiteX22" fmla="*/ 38195 w 416148"/>
                  <a:gd name="connsiteY22" fmla="*/ 105737 h 261428"/>
                  <a:gd name="connsiteX23" fmla="*/ 7553 w 416148"/>
                  <a:gd name="connsiteY23" fmla="*/ 105737 h 261428"/>
                  <a:gd name="connsiteX24" fmla="*/ 0 w 416148"/>
                  <a:gd name="connsiteY24" fmla="*/ 113289 h 261428"/>
                  <a:gd name="connsiteX25" fmla="*/ 7553 w 416148"/>
                  <a:gd name="connsiteY25" fmla="*/ 120842 h 261428"/>
                  <a:gd name="connsiteX26" fmla="*/ 38195 w 416148"/>
                  <a:gd name="connsiteY26" fmla="*/ 120842 h 261428"/>
                  <a:gd name="connsiteX27" fmla="*/ 45747 w 416148"/>
                  <a:gd name="connsiteY27" fmla="*/ 113289 h 261428"/>
                  <a:gd name="connsiteX28" fmla="*/ 45747 w 416148"/>
                  <a:gd name="connsiteY28" fmla="*/ 148355 h 261428"/>
                  <a:gd name="connsiteX29" fmla="*/ 38195 w 416148"/>
                  <a:gd name="connsiteY29" fmla="*/ 140802 h 261428"/>
                  <a:gd name="connsiteX30" fmla="*/ 7553 w 416148"/>
                  <a:gd name="connsiteY30" fmla="*/ 140802 h 261428"/>
                  <a:gd name="connsiteX31" fmla="*/ 0 w 416148"/>
                  <a:gd name="connsiteY31" fmla="*/ 148355 h 261428"/>
                  <a:gd name="connsiteX32" fmla="*/ 7553 w 416148"/>
                  <a:gd name="connsiteY32" fmla="*/ 155907 h 261428"/>
                  <a:gd name="connsiteX33" fmla="*/ 38195 w 416148"/>
                  <a:gd name="connsiteY33" fmla="*/ 155907 h 261428"/>
                  <a:gd name="connsiteX34" fmla="*/ 45747 w 416148"/>
                  <a:gd name="connsiteY34" fmla="*/ 148355 h 261428"/>
                  <a:gd name="connsiteX35" fmla="*/ 45747 w 416148"/>
                  <a:gd name="connsiteY35" fmla="*/ 183420 h 261428"/>
                  <a:gd name="connsiteX36" fmla="*/ 38195 w 416148"/>
                  <a:gd name="connsiteY36" fmla="*/ 175868 h 261428"/>
                  <a:gd name="connsiteX37" fmla="*/ 7553 w 416148"/>
                  <a:gd name="connsiteY37" fmla="*/ 175868 h 261428"/>
                  <a:gd name="connsiteX38" fmla="*/ 0 w 416148"/>
                  <a:gd name="connsiteY38" fmla="*/ 183420 h 261428"/>
                  <a:gd name="connsiteX39" fmla="*/ 7553 w 416148"/>
                  <a:gd name="connsiteY39" fmla="*/ 190973 h 261428"/>
                  <a:gd name="connsiteX40" fmla="*/ 38195 w 416148"/>
                  <a:gd name="connsiteY40" fmla="*/ 190973 h 261428"/>
                  <a:gd name="connsiteX41" fmla="*/ 45747 w 416148"/>
                  <a:gd name="connsiteY41" fmla="*/ 183420 h 261428"/>
                  <a:gd name="connsiteX42" fmla="*/ 45747 w 416148"/>
                  <a:gd name="connsiteY42" fmla="*/ 218486 h 261428"/>
                  <a:gd name="connsiteX43" fmla="*/ 38195 w 416148"/>
                  <a:gd name="connsiteY43" fmla="*/ 210934 h 261428"/>
                  <a:gd name="connsiteX44" fmla="*/ 7553 w 416148"/>
                  <a:gd name="connsiteY44" fmla="*/ 210934 h 261428"/>
                  <a:gd name="connsiteX45" fmla="*/ 0 w 416148"/>
                  <a:gd name="connsiteY45" fmla="*/ 218486 h 261428"/>
                  <a:gd name="connsiteX46" fmla="*/ 7553 w 416148"/>
                  <a:gd name="connsiteY46" fmla="*/ 226039 h 261428"/>
                  <a:gd name="connsiteX47" fmla="*/ 38195 w 416148"/>
                  <a:gd name="connsiteY47" fmla="*/ 226039 h 261428"/>
                  <a:gd name="connsiteX48" fmla="*/ 45747 w 416148"/>
                  <a:gd name="connsiteY48" fmla="*/ 218486 h 261428"/>
                  <a:gd name="connsiteX49" fmla="*/ 45747 w 416148"/>
                  <a:gd name="connsiteY49" fmla="*/ 253552 h 261428"/>
                  <a:gd name="connsiteX50" fmla="*/ 38195 w 416148"/>
                  <a:gd name="connsiteY50" fmla="*/ 245999 h 261428"/>
                  <a:gd name="connsiteX51" fmla="*/ 7553 w 416148"/>
                  <a:gd name="connsiteY51" fmla="*/ 245999 h 261428"/>
                  <a:gd name="connsiteX52" fmla="*/ 0 w 416148"/>
                  <a:gd name="connsiteY52" fmla="*/ 253552 h 261428"/>
                  <a:gd name="connsiteX53" fmla="*/ 7553 w 416148"/>
                  <a:gd name="connsiteY53" fmla="*/ 261104 h 261428"/>
                  <a:gd name="connsiteX54" fmla="*/ 38195 w 416148"/>
                  <a:gd name="connsiteY54" fmla="*/ 261104 h 261428"/>
                  <a:gd name="connsiteX55" fmla="*/ 45747 w 416148"/>
                  <a:gd name="connsiteY55" fmla="*/ 253552 h 261428"/>
                  <a:gd name="connsiteX56" fmla="*/ 160331 w 416148"/>
                  <a:gd name="connsiteY56" fmla="*/ 8416 h 261428"/>
                  <a:gd name="connsiteX57" fmla="*/ 152778 w 416148"/>
                  <a:gd name="connsiteY57" fmla="*/ 863 h 261428"/>
                  <a:gd name="connsiteX58" fmla="*/ 72397 w 416148"/>
                  <a:gd name="connsiteY58" fmla="*/ 863 h 261428"/>
                  <a:gd name="connsiteX59" fmla="*/ 64845 w 416148"/>
                  <a:gd name="connsiteY59" fmla="*/ 8416 h 261428"/>
                  <a:gd name="connsiteX60" fmla="*/ 72397 w 416148"/>
                  <a:gd name="connsiteY60" fmla="*/ 15968 h 261428"/>
                  <a:gd name="connsiteX61" fmla="*/ 152778 w 416148"/>
                  <a:gd name="connsiteY61" fmla="*/ 15968 h 261428"/>
                  <a:gd name="connsiteX62" fmla="*/ 160331 w 416148"/>
                  <a:gd name="connsiteY62" fmla="*/ 8416 h 261428"/>
                  <a:gd name="connsiteX63" fmla="*/ 160331 w 416148"/>
                  <a:gd name="connsiteY63" fmla="*/ 43481 h 261428"/>
                  <a:gd name="connsiteX64" fmla="*/ 152778 w 416148"/>
                  <a:gd name="connsiteY64" fmla="*/ 35929 h 261428"/>
                  <a:gd name="connsiteX65" fmla="*/ 72397 w 416148"/>
                  <a:gd name="connsiteY65" fmla="*/ 35929 h 261428"/>
                  <a:gd name="connsiteX66" fmla="*/ 64845 w 416148"/>
                  <a:gd name="connsiteY66" fmla="*/ 43481 h 261428"/>
                  <a:gd name="connsiteX67" fmla="*/ 72397 w 416148"/>
                  <a:gd name="connsiteY67" fmla="*/ 51034 h 261428"/>
                  <a:gd name="connsiteX68" fmla="*/ 152778 w 416148"/>
                  <a:gd name="connsiteY68" fmla="*/ 51034 h 261428"/>
                  <a:gd name="connsiteX69" fmla="*/ 160331 w 416148"/>
                  <a:gd name="connsiteY69" fmla="*/ 43481 h 261428"/>
                  <a:gd name="connsiteX70" fmla="*/ 160331 w 416148"/>
                  <a:gd name="connsiteY70" fmla="*/ 78547 h 261428"/>
                  <a:gd name="connsiteX71" fmla="*/ 152778 w 416148"/>
                  <a:gd name="connsiteY71" fmla="*/ 70995 h 261428"/>
                  <a:gd name="connsiteX72" fmla="*/ 72397 w 416148"/>
                  <a:gd name="connsiteY72" fmla="*/ 70995 h 261428"/>
                  <a:gd name="connsiteX73" fmla="*/ 64845 w 416148"/>
                  <a:gd name="connsiteY73" fmla="*/ 78547 h 261428"/>
                  <a:gd name="connsiteX74" fmla="*/ 72397 w 416148"/>
                  <a:gd name="connsiteY74" fmla="*/ 86100 h 261428"/>
                  <a:gd name="connsiteX75" fmla="*/ 152778 w 416148"/>
                  <a:gd name="connsiteY75" fmla="*/ 86100 h 261428"/>
                  <a:gd name="connsiteX76" fmla="*/ 160331 w 416148"/>
                  <a:gd name="connsiteY76" fmla="*/ 78547 h 261428"/>
                  <a:gd name="connsiteX77" fmla="*/ 160331 w 416148"/>
                  <a:gd name="connsiteY77" fmla="*/ 113613 h 261428"/>
                  <a:gd name="connsiteX78" fmla="*/ 152778 w 416148"/>
                  <a:gd name="connsiteY78" fmla="*/ 106060 h 261428"/>
                  <a:gd name="connsiteX79" fmla="*/ 72397 w 416148"/>
                  <a:gd name="connsiteY79" fmla="*/ 106060 h 261428"/>
                  <a:gd name="connsiteX80" fmla="*/ 64845 w 416148"/>
                  <a:gd name="connsiteY80" fmla="*/ 113613 h 261428"/>
                  <a:gd name="connsiteX81" fmla="*/ 72397 w 416148"/>
                  <a:gd name="connsiteY81" fmla="*/ 121165 h 261428"/>
                  <a:gd name="connsiteX82" fmla="*/ 152778 w 416148"/>
                  <a:gd name="connsiteY82" fmla="*/ 121165 h 261428"/>
                  <a:gd name="connsiteX83" fmla="*/ 160331 w 416148"/>
                  <a:gd name="connsiteY83" fmla="*/ 113613 h 261428"/>
                  <a:gd name="connsiteX84" fmla="*/ 160331 w 416148"/>
                  <a:gd name="connsiteY84" fmla="*/ 148678 h 261428"/>
                  <a:gd name="connsiteX85" fmla="*/ 152778 w 416148"/>
                  <a:gd name="connsiteY85" fmla="*/ 141126 h 261428"/>
                  <a:gd name="connsiteX86" fmla="*/ 72397 w 416148"/>
                  <a:gd name="connsiteY86" fmla="*/ 141126 h 261428"/>
                  <a:gd name="connsiteX87" fmla="*/ 64845 w 416148"/>
                  <a:gd name="connsiteY87" fmla="*/ 148678 h 261428"/>
                  <a:gd name="connsiteX88" fmla="*/ 72397 w 416148"/>
                  <a:gd name="connsiteY88" fmla="*/ 156231 h 261428"/>
                  <a:gd name="connsiteX89" fmla="*/ 152778 w 416148"/>
                  <a:gd name="connsiteY89" fmla="*/ 156231 h 261428"/>
                  <a:gd name="connsiteX90" fmla="*/ 160331 w 416148"/>
                  <a:gd name="connsiteY90" fmla="*/ 148678 h 261428"/>
                  <a:gd name="connsiteX91" fmla="*/ 256573 w 416148"/>
                  <a:gd name="connsiteY91" fmla="*/ 183744 h 261428"/>
                  <a:gd name="connsiteX92" fmla="*/ 249020 w 416148"/>
                  <a:gd name="connsiteY92" fmla="*/ 176192 h 261428"/>
                  <a:gd name="connsiteX93" fmla="*/ 168639 w 416148"/>
                  <a:gd name="connsiteY93" fmla="*/ 176192 h 261428"/>
                  <a:gd name="connsiteX94" fmla="*/ 161086 w 416148"/>
                  <a:gd name="connsiteY94" fmla="*/ 183744 h 261428"/>
                  <a:gd name="connsiteX95" fmla="*/ 168639 w 416148"/>
                  <a:gd name="connsiteY95" fmla="*/ 191297 h 261428"/>
                  <a:gd name="connsiteX96" fmla="*/ 249020 w 416148"/>
                  <a:gd name="connsiteY96" fmla="*/ 191297 h 261428"/>
                  <a:gd name="connsiteX97" fmla="*/ 256573 w 416148"/>
                  <a:gd name="connsiteY97" fmla="*/ 183744 h 261428"/>
                  <a:gd name="connsiteX98" fmla="*/ 256573 w 416148"/>
                  <a:gd name="connsiteY98" fmla="*/ 218810 h 261428"/>
                  <a:gd name="connsiteX99" fmla="*/ 249020 w 416148"/>
                  <a:gd name="connsiteY99" fmla="*/ 211257 h 261428"/>
                  <a:gd name="connsiteX100" fmla="*/ 168639 w 416148"/>
                  <a:gd name="connsiteY100" fmla="*/ 211257 h 261428"/>
                  <a:gd name="connsiteX101" fmla="*/ 161086 w 416148"/>
                  <a:gd name="connsiteY101" fmla="*/ 218810 h 261428"/>
                  <a:gd name="connsiteX102" fmla="*/ 168639 w 416148"/>
                  <a:gd name="connsiteY102" fmla="*/ 226362 h 261428"/>
                  <a:gd name="connsiteX103" fmla="*/ 249020 w 416148"/>
                  <a:gd name="connsiteY103" fmla="*/ 226362 h 261428"/>
                  <a:gd name="connsiteX104" fmla="*/ 256573 w 416148"/>
                  <a:gd name="connsiteY104" fmla="*/ 218810 h 261428"/>
                  <a:gd name="connsiteX105" fmla="*/ 256573 w 416148"/>
                  <a:gd name="connsiteY105" fmla="*/ 253875 h 261428"/>
                  <a:gd name="connsiteX106" fmla="*/ 249020 w 416148"/>
                  <a:gd name="connsiteY106" fmla="*/ 246323 h 261428"/>
                  <a:gd name="connsiteX107" fmla="*/ 168639 w 416148"/>
                  <a:gd name="connsiteY107" fmla="*/ 246323 h 261428"/>
                  <a:gd name="connsiteX108" fmla="*/ 161086 w 416148"/>
                  <a:gd name="connsiteY108" fmla="*/ 253875 h 261428"/>
                  <a:gd name="connsiteX109" fmla="*/ 168639 w 416148"/>
                  <a:gd name="connsiteY109" fmla="*/ 261428 h 261428"/>
                  <a:gd name="connsiteX110" fmla="*/ 249020 w 416148"/>
                  <a:gd name="connsiteY110" fmla="*/ 261428 h 261428"/>
                  <a:gd name="connsiteX111" fmla="*/ 256573 w 416148"/>
                  <a:gd name="connsiteY111" fmla="*/ 253875 h 261428"/>
                  <a:gd name="connsiteX112" fmla="*/ 195720 w 416148"/>
                  <a:gd name="connsiteY112" fmla="*/ 8739 h 261428"/>
                  <a:gd name="connsiteX113" fmla="*/ 186981 w 416148"/>
                  <a:gd name="connsiteY113" fmla="*/ 0 h 261428"/>
                  <a:gd name="connsiteX114" fmla="*/ 178241 w 416148"/>
                  <a:gd name="connsiteY114" fmla="*/ 8739 h 261428"/>
                  <a:gd name="connsiteX115" fmla="*/ 186981 w 416148"/>
                  <a:gd name="connsiteY115" fmla="*/ 17479 h 261428"/>
                  <a:gd name="connsiteX116" fmla="*/ 195720 w 416148"/>
                  <a:gd name="connsiteY116" fmla="*/ 8739 h 261428"/>
                  <a:gd name="connsiteX117" fmla="*/ 221939 w 416148"/>
                  <a:gd name="connsiteY117" fmla="*/ 8739 h 261428"/>
                  <a:gd name="connsiteX118" fmla="*/ 213199 w 416148"/>
                  <a:gd name="connsiteY118" fmla="*/ 0 h 261428"/>
                  <a:gd name="connsiteX119" fmla="*/ 204460 w 416148"/>
                  <a:gd name="connsiteY119" fmla="*/ 8739 h 261428"/>
                  <a:gd name="connsiteX120" fmla="*/ 213199 w 416148"/>
                  <a:gd name="connsiteY120" fmla="*/ 17479 h 261428"/>
                  <a:gd name="connsiteX121" fmla="*/ 221939 w 416148"/>
                  <a:gd name="connsiteY121" fmla="*/ 8739 h 261428"/>
                  <a:gd name="connsiteX122" fmla="*/ 248157 w 416148"/>
                  <a:gd name="connsiteY122" fmla="*/ 8739 h 261428"/>
                  <a:gd name="connsiteX123" fmla="*/ 239418 w 416148"/>
                  <a:gd name="connsiteY123" fmla="*/ 0 h 261428"/>
                  <a:gd name="connsiteX124" fmla="*/ 230678 w 416148"/>
                  <a:gd name="connsiteY124" fmla="*/ 8739 h 261428"/>
                  <a:gd name="connsiteX125" fmla="*/ 239418 w 416148"/>
                  <a:gd name="connsiteY125" fmla="*/ 17479 h 261428"/>
                  <a:gd name="connsiteX126" fmla="*/ 248157 w 416148"/>
                  <a:gd name="connsiteY126" fmla="*/ 8739 h 261428"/>
                  <a:gd name="connsiteX127" fmla="*/ 274375 w 416148"/>
                  <a:gd name="connsiteY127" fmla="*/ 8739 h 261428"/>
                  <a:gd name="connsiteX128" fmla="*/ 265636 w 416148"/>
                  <a:gd name="connsiteY128" fmla="*/ 0 h 261428"/>
                  <a:gd name="connsiteX129" fmla="*/ 256896 w 416148"/>
                  <a:gd name="connsiteY129" fmla="*/ 8739 h 261428"/>
                  <a:gd name="connsiteX130" fmla="*/ 265636 w 416148"/>
                  <a:gd name="connsiteY130" fmla="*/ 17479 h 261428"/>
                  <a:gd name="connsiteX131" fmla="*/ 274375 w 416148"/>
                  <a:gd name="connsiteY131" fmla="*/ 8739 h 261428"/>
                  <a:gd name="connsiteX132" fmla="*/ 300594 w 416148"/>
                  <a:gd name="connsiteY132" fmla="*/ 8739 h 261428"/>
                  <a:gd name="connsiteX133" fmla="*/ 291854 w 416148"/>
                  <a:gd name="connsiteY133" fmla="*/ 0 h 261428"/>
                  <a:gd name="connsiteX134" fmla="*/ 283115 w 416148"/>
                  <a:gd name="connsiteY134" fmla="*/ 8739 h 261428"/>
                  <a:gd name="connsiteX135" fmla="*/ 291854 w 416148"/>
                  <a:gd name="connsiteY135" fmla="*/ 17479 h 261428"/>
                  <a:gd name="connsiteX136" fmla="*/ 300594 w 416148"/>
                  <a:gd name="connsiteY136" fmla="*/ 8739 h 261428"/>
                  <a:gd name="connsiteX137" fmla="*/ 326812 w 416148"/>
                  <a:gd name="connsiteY137" fmla="*/ 8739 h 261428"/>
                  <a:gd name="connsiteX138" fmla="*/ 318073 w 416148"/>
                  <a:gd name="connsiteY138" fmla="*/ 0 h 261428"/>
                  <a:gd name="connsiteX139" fmla="*/ 309333 w 416148"/>
                  <a:gd name="connsiteY139" fmla="*/ 8739 h 261428"/>
                  <a:gd name="connsiteX140" fmla="*/ 318073 w 416148"/>
                  <a:gd name="connsiteY140" fmla="*/ 17479 h 261428"/>
                  <a:gd name="connsiteX141" fmla="*/ 326812 w 416148"/>
                  <a:gd name="connsiteY141" fmla="*/ 8739 h 261428"/>
                  <a:gd name="connsiteX142" fmla="*/ 195505 w 416148"/>
                  <a:gd name="connsiteY142" fmla="*/ 78763 h 261428"/>
                  <a:gd name="connsiteX143" fmla="*/ 186765 w 416148"/>
                  <a:gd name="connsiteY143" fmla="*/ 70024 h 261428"/>
                  <a:gd name="connsiteX144" fmla="*/ 178026 w 416148"/>
                  <a:gd name="connsiteY144" fmla="*/ 78763 h 261428"/>
                  <a:gd name="connsiteX145" fmla="*/ 186765 w 416148"/>
                  <a:gd name="connsiteY145" fmla="*/ 87502 h 261428"/>
                  <a:gd name="connsiteX146" fmla="*/ 195505 w 416148"/>
                  <a:gd name="connsiteY146" fmla="*/ 78763 h 261428"/>
                  <a:gd name="connsiteX147" fmla="*/ 221723 w 416148"/>
                  <a:gd name="connsiteY147" fmla="*/ 78763 h 261428"/>
                  <a:gd name="connsiteX148" fmla="*/ 212983 w 416148"/>
                  <a:gd name="connsiteY148" fmla="*/ 70024 h 261428"/>
                  <a:gd name="connsiteX149" fmla="*/ 204244 w 416148"/>
                  <a:gd name="connsiteY149" fmla="*/ 78763 h 261428"/>
                  <a:gd name="connsiteX150" fmla="*/ 212983 w 416148"/>
                  <a:gd name="connsiteY150" fmla="*/ 87502 h 261428"/>
                  <a:gd name="connsiteX151" fmla="*/ 221723 w 416148"/>
                  <a:gd name="connsiteY151" fmla="*/ 78763 h 261428"/>
                  <a:gd name="connsiteX152" fmla="*/ 247941 w 416148"/>
                  <a:gd name="connsiteY152" fmla="*/ 78763 h 261428"/>
                  <a:gd name="connsiteX153" fmla="*/ 239202 w 416148"/>
                  <a:gd name="connsiteY153" fmla="*/ 70024 h 261428"/>
                  <a:gd name="connsiteX154" fmla="*/ 230462 w 416148"/>
                  <a:gd name="connsiteY154" fmla="*/ 78763 h 261428"/>
                  <a:gd name="connsiteX155" fmla="*/ 239202 w 416148"/>
                  <a:gd name="connsiteY155" fmla="*/ 87502 h 261428"/>
                  <a:gd name="connsiteX156" fmla="*/ 247941 w 416148"/>
                  <a:gd name="connsiteY156" fmla="*/ 78763 h 261428"/>
                  <a:gd name="connsiteX157" fmla="*/ 274160 w 416148"/>
                  <a:gd name="connsiteY157" fmla="*/ 78763 h 261428"/>
                  <a:gd name="connsiteX158" fmla="*/ 265420 w 416148"/>
                  <a:gd name="connsiteY158" fmla="*/ 70024 h 261428"/>
                  <a:gd name="connsiteX159" fmla="*/ 256681 w 416148"/>
                  <a:gd name="connsiteY159" fmla="*/ 78763 h 261428"/>
                  <a:gd name="connsiteX160" fmla="*/ 265420 w 416148"/>
                  <a:gd name="connsiteY160" fmla="*/ 87502 h 261428"/>
                  <a:gd name="connsiteX161" fmla="*/ 274160 w 416148"/>
                  <a:gd name="connsiteY161" fmla="*/ 78763 h 261428"/>
                  <a:gd name="connsiteX162" fmla="*/ 300378 w 416148"/>
                  <a:gd name="connsiteY162" fmla="*/ 78763 h 261428"/>
                  <a:gd name="connsiteX163" fmla="*/ 291639 w 416148"/>
                  <a:gd name="connsiteY163" fmla="*/ 70024 h 261428"/>
                  <a:gd name="connsiteX164" fmla="*/ 282899 w 416148"/>
                  <a:gd name="connsiteY164" fmla="*/ 78763 h 261428"/>
                  <a:gd name="connsiteX165" fmla="*/ 291639 w 416148"/>
                  <a:gd name="connsiteY165" fmla="*/ 87502 h 261428"/>
                  <a:gd name="connsiteX166" fmla="*/ 300378 w 416148"/>
                  <a:gd name="connsiteY166" fmla="*/ 78763 h 261428"/>
                  <a:gd name="connsiteX167" fmla="*/ 326596 w 416148"/>
                  <a:gd name="connsiteY167" fmla="*/ 78763 h 261428"/>
                  <a:gd name="connsiteX168" fmla="*/ 317857 w 416148"/>
                  <a:gd name="connsiteY168" fmla="*/ 70024 h 261428"/>
                  <a:gd name="connsiteX169" fmla="*/ 309117 w 416148"/>
                  <a:gd name="connsiteY169" fmla="*/ 78763 h 261428"/>
                  <a:gd name="connsiteX170" fmla="*/ 317857 w 416148"/>
                  <a:gd name="connsiteY170" fmla="*/ 87502 h 261428"/>
                  <a:gd name="connsiteX171" fmla="*/ 326596 w 416148"/>
                  <a:gd name="connsiteY171" fmla="*/ 78763 h 261428"/>
                  <a:gd name="connsiteX172" fmla="*/ 285057 w 416148"/>
                  <a:gd name="connsiteY172" fmla="*/ 179428 h 261428"/>
                  <a:gd name="connsiteX173" fmla="*/ 276318 w 416148"/>
                  <a:gd name="connsiteY173" fmla="*/ 170689 h 261428"/>
                  <a:gd name="connsiteX174" fmla="*/ 267578 w 416148"/>
                  <a:gd name="connsiteY174" fmla="*/ 179428 h 261428"/>
                  <a:gd name="connsiteX175" fmla="*/ 276318 w 416148"/>
                  <a:gd name="connsiteY175" fmla="*/ 188168 h 261428"/>
                  <a:gd name="connsiteX176" fmla="*/ 285057 w 416148"/>
                  <a:gd name="connsiteY176" fmla="*/ 179428 h 261428"/>
                  <a:gd name="connsiteX177" fmla="*/ 311275 w 416148"/>
                  <a:gd name="connsiteY177" fmla="*/ 179428 h 261428"/>
                  <a:gd name="connsiteX178" fmla="*/ 302536 w 416148"/>
                  <a:gd name="connsiteY178" fmla="*/ 170689 h 261428"/>
                  <a:gd name="connsiteX179" fmla="*/ 293796 w 416148"/>
                  <a:gd name="connsiteY179" fmla="*/ 179428 h 261428"/>
                  <a:gd name="connsiteX180" fmla="*/ 302536 w 416148"/>
                  <a:gd name="connsiteY180" fmla="*/ 188168 h 261428"/>
                  <a:gd name="connsiteX181" fmla="*/ 311275 w 416148"/>
                  <a:gd name="connsiteY181" fmla="*/ 179428 h 261428"/>
                  <a:gd name="connsiteX182" fmla="*/ 337494 w 416148"/>
                  <a:gd name="connsiteY182" fmla="*/ 179428 h 261428"/>
                  <a:gd name="connsiteX183" fmla="*/ 328754 w 416148"/>
                  <a:gd name="connsiteY183" fmla="*/ 170689 h 261428"/>
                  <a:gd name="connsiteX184" fmla="*/ 320015 w 416148"/>
                  <a:gd name="connsiteY184" fmla="*/ 179428 h 261428"/>
                  <a:gd name="connsiteX185" fmla="*/ 328754 w 416148"/>
                  <a:gd name="connsiteY185" fmla="*/ 188168 h 261428"/>
                  <a:gd name="connsiteX186" fmla="*/ 337494 w 416148"/>
                  <a:gd name="connsiteY186" fmla="*/ 179428 h 261428"/>
                  <a:gd name="connsiteX187" fmla="*/ 363712 w 416148"/>
                  <a:gd name="connsiteY187" fmla="*/ 179428 h 261428"/>
                  <a:gd name="connsiteX188" fmla="*/ 354973 w 416148"/>
                  <a:gd name="connsiteY188" fmla="*/ 170689 h 261428"/>
                  <a:gd name="connsiteX189" fmla="*/ 346233 w 416148"/>
                  <a:gd name="connsiteY189" fmla="*/ 179428 h 261428"/>
                  <a:gd name="connsiteX190" fmla="*/ 354973 w 416148"/>
                  <a:gd name="connsiteY190" fmla="*/ 188168 h 261428"/>
                  <a:gd name="connsiteX191" fmla="*/ 363712 w 416148"/>
                  <a:gd name="connsiteY191" fmla="*/ 179428 h 261428"/>
                  <a:gd name="connsiteX192" fmla="*/ 389930 w 416148"/>
                  <a:gd name="connsiteY192" fmla="*/ 179428 h 261428"/>
                  <a:gd name="connsiteX193" fmla="*/ 381191 w 416148"/>
                  <a:gd name="connsiteY193" fmla="*/ 170689 h 261428"/>
                  <a:gd name="connsiteX194" fmla="*/ 372451 w 416148"/>
                  <a:gd name="connsiteY194" fmla="*/ 179428 h 261428"/>
                  <a:gd name="connsiteX195" fmla="*/ 381191 w 416148"/>
                  <a:gd name="connsiteY195" fmla="*/ 188168 h 261428"/>
                  <a:gd name="connsiteX196" fmla="*/ 389930 w 416148"/>
                  <a:gd name="connsiteY196" fmla="*/ 179428 h 261428"/>
                  <a:gd name="connsiteX197" fmla="*/ 416149 w 416148"/>
                  <a:gd name="connsiteY197" fmla="*/ 179428 h 261428"/>
                  <a:gd name="connsiteX198" fmla="*/ 407409 w 416148"/>
                  <a:gd name="connsiteY198" fmla="*/ 170689 h 261428"/>
                  <a:gd name="connsiteX199" fmla="*/ 398670 w 416148"/>
                  <a:gd name="connsiteY199" fmla="*/ 179428 h 261428"/>
                  <a:gd name="connsiteX200" fmla="*/ 407409 w 416148"/>
                  <a:gd name="connsiteY200" fmla="*/ 188168 h 261428"/>
                  <a:gd name="connsiteX201" fmla="*/ 416149 w 416148"/>
                  <a:gd name="connsiteY201" fmla="*/ 179428 h 261428"/>
                  <a:gd name="connsiteX202" fmla="*/ 284841 w 416148"/>
                  <a:gd name="connsiteY202" fmla="*/ 251610 h 261428"/>
                  <a:gd name="connsiteX203" fmla="*/ 276102 w 416148"/>
                  <a:gd name="connsiteY203" fmla="*/ 242870 h 261428"/>
                  <a:gd name="connsiteX204" fmla="*/ 267362 w 416148"/>
                  <a:gd name="connsiteY204" fmla="*/ 251610 h 261428"/>
                  <a:gd name="connsiteX205" fmla="*/ 276102 w 416148"/>
                  <a:gd name="connsiteY205" fmla="*/ 260349 h 261428"/>
                  <a:gd name="connsiteX206" fmla="*/ 284841 w 416148"/>
                  <a:gd name="connsiteY206" fmla="*/ 251610 h 261428"/>
                  <a:gd name="connsiteX207" fmla="*/ 311059 w 416148"/>
                  <a:gd name="connsiteY207" fmla="*/ 251610 h 261428"/>
                  <a:gd name="connsiteX208" fmla="*/ 302320 w 416148"/>
                  <a:gd name="connsiteY208" fmla="*/ 242870 h 261428"/>
                  <a:gd name="connsiteX209" fmla="*/ 293581 w 416148"/>
                  <a:gd name="connsiteY209" fmla="*/ 251610 h 261428"/>
                  <a:gd name="connsiteX210" fmla="*/ 302320 w 416148"/>
                  <a:gd name="connsiteY210" fmla="*/ 260349 h 261428"/>
                  <a:gd name="connsiteX211" fmla="*/ 311059 w 416148"/>
                  <a:gd name="connsiteY211" fmla="*/ 251610 h 261428"/>
                  <a:gd name="connsiteX212" fmla="*/ 337278 w 416148"/>
                  <a:gd name="connsiteY212" fmla="*/ 251610 h 261428"/>
                  <a:gd name="connsiteX213" fmla="*/ 328538 w 416148"/>
                  <a:gd name="connsiteY213" fmla="*/ 242870 h 261428"/>
                  <a:gd name="connsiteX214" fmla="*/ 319799 w 416148"/>
                  <a:gd name="connsiteY214" fmla="*/ 251610 h 261428"/>
                  <a:gd name="connsiteX215" fmla="*/ 328538 w 416148"/>
                  <a:gd name="connsiteY215" fmla="*/ 260349 h 261428"/>
                  <a:gd name="connsiteX216" fmla="*/ 337278 w 416148"/>
                  <a:gd name="connsiteY216" fmla="*/ 251610 h 261428"/>
                  <a:gd name="connsiteX217" fmla="*/ 363496 w 416148"/>
                  <a:gd name="connsiteY217" fmla="*/ 251610 h 261428"/>
                  <a:gd name="connsiteX218" fmla="*/ 354757 w 416148"/>
                  <a:gd name="connsiteY218" fmla="*/ 242870 h 261428"/>
                  <a:gd name="connsiteX219" fmla="*/ 346017 w 416148"/>
                  <a:gd name="connsiteY219" fmla="*/ 251610 h 261428"/>
                  <a:gd name="connsiteX220" fmla="*/ 354757 w 416148"/>
                  <a:gd name="connsiteY220" fmla="*/ 260349 h 261428"/>
                  <a:gd name="connsiteX221" fmla="*/ 363496 w 416148"/>
                  <a:gd name="connsiteY221" fmla="*/ 251610 h 261428"/>
                  <a:gd name="connsiteX222" fmla="*/ 389715 w 416148"/>
                  <a:gd name="connsiteY222" fmla="*/ 251610 h 261428"/>
                  <a:gd name="connsiteX223" fmla="*/ 380975 w 416148"/>
                  <a:gd name="connsiteY223" fmla="*/ 242870 h 261428"/>
                  <a:gd name="connsiteX224" fmla="*/ 372236 w 416148"/>
                  <a:gd name="connsiteY224" fmla="*/ 251610 h 261428"/>
                  <a:gd name="connsiteX225" fmla="*/ 380975 w 416148"/>
                  <a:gd name="connsiteY225" fmla="*/ 260349 h 261428"/>
                  <a:gd name="connsiteX226" fmla="*/ 389715 w 416148"/>
                  <a:gd name="connsiteY226" fmla="*/ 251610 h 261428"/>
                  <a:gd name="connsiteX227" fmla="*/ 415933 w 416148"/>
                  <a:gd name="connsiteY227" fmla="*/ 251610 h 261428"/>
                  <a:gd name="connsiteX228" fmla="*/ 407193 w 416148"/>
                  <a:gd name="connsiteY228" fmla="*/ 242870 h 261428"/>
                  <a:gd name="connsiteX229" fmla="*/ 398454 w 416148"/>
                  <a:gd name="connsiteY229" fmla="*/ 251610 h 261428"/>
                  <a:gd name="connsiteX230" fmla="*/ 407193 w 416148"/>
                  <a:gd name="connsiteY230" fmla="*/ 260349 h 261428"/>
                  <a:gd name="connsiteX231" fmla="*/ 415933 w 416148"/>
                  <a:gd name="connsiteY231" fmla="*/ 251610 h 26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416148" h="261428">
                    <a:moveTo>
                      <a:pt x="38195" y="15753"/>
                    </a:moveTo>
                    <a:lnTo>
                      <a:pt x="7553" y="15753"/>
                    </a:lnTo>
                    <a:cubicBezTo>
                      <a:pt x="3345" y="15753"/>
                      <a:pt x="0" y="12408"/>
                      <a:pt x="0" y="8200"/>
                    </a:cubicBezTo>
                    <a:cubicBezTo>
                      <a:pt x="0" y="3992"/>
                      <a:pt x="3345" y="647"/>
                      <a:pt x="7553" y="647"/>
                    </a:cubicBezTo>
                    <a:lnTo>
                      <a:pt x="38195" y="647"/>
                    </a:lnTo>
                    <a:cubicBezTo>
                      <a:pt x="42402" y="647"/>
                      <a:pt x="45747" y="3992"/>
                      <a:pt x="45747" y="8200"/>
                    </a:cubicBezTo>
                    <a:cubicBezTo>
                      <a:pt x="45747" y="12408"/>
                      <a:pt x="42402" y="15753"/>
                      <a:pt x="38195" y="15753"/>
                    </a:cubicBezTo>
                    <a:close/>
                    <a:moveTo>
                      <a:pt x="45747" y="43158"/>
                    </a:moveTo>
                    <a:cubicBezTo>
                      <a:pt x="45747" y="38950"/>
                      <a:pt x="42402" y="35605"/>
                      <a:pt x="38195" y="35605"/>
                    </a:cubicBezTo>
                    <a:lnTo>
                      <a:pt x="7553" y="35605"/>
                    </a:lnTo>
                    <a:cubicBezTo>
                      <a:pt x="3345" y="35605"/>
                      <a:pt x="0" y="38950"/>
                      <a:pt x="0" y="43158"/>
                    </a:cubicBezTo>
                    <a:cubicBezTo>
                      <a:pt x="0" y="47366"/>
                      <a:pt x="3345" y="50710"/>
                      <a:pt x="7553" y="50710"/>
                    </a:cubicBezTo>
                    <a:lnTo>
                      <a:pt x="38195" y="50710"/>
                    </a:lnTo>
                    <a:cubicBezTo>
                      <a:pt x="42402" y="50710"/>
                      <a:pt x="45747" y="47366"/>
                      <a:pt x="45747" y="43158"/>
                    </a:cubicBezTo>
                    <a:close/>
                    <a:moveTo>
                      <a:pt x="45747" y="78223"/>
                    </a:moveTo>
                    <a:cubicBezTo>
                      <a:pt x="45747" y="74016"/>
                      <a:pt x="42402" y="70671"/>
                      <a:pt x="38195" y="70671"/>
                    </a:cubicBezTo>
                    <a:lnTo>
                      <a:pt x="7553" y="70671"/>
                    </a:lnTo>
                    <a:cubicBezTo>
                      <a:pt x="3345" y="70671"/>
                      <a:pt x="0" y="74016"/>
                      <a:pt x="0" y="78223"/>
                    </a:cubicBezTo>
                    <a:cubicBezTo>
                      <a:pt x="0" y="82431"/>
                      <a:pt x="3345" y="85776"/>
                      <a:pt x="7553" y="85776"/>
                    </a:cubicBezTo>
                    <a:lnTo>
                      <a:pt x="38195" y="85776"/>
                    </a:lnTo>
                    <a:cubicBezTo>
                      <a:pt x="42402" y="85776"/>
                      <a:pt x="45747" y="82431"/>
                      <a:pt x="45747" y="78223"/>
                    </a:cubicBezTo>
                    <a:close/>
                    <a:moveTo>
                      <a:pt x="45747" y="113289"/>
                    </a:moveTo>
                    <a:cubicBezTo>
                      <a:pt x="45747" y="109081"/>
                      <a:pt x="42402" y="105737"/>
                      <a:pt x="38195" y="105737"/>
                    </a:cubicBezTo>
                    <a:lnTo>
                      <a:pt x="7553" y="105737"/>
                    </a:lnTo>
                    <a:cubicBezTo>
                      <a:pt x="3345" y="105737"/>
                      <a:pt x="0" y="109081"/>
                      <a:pt x="0" y="113289"/>
                    </a:cubicBezTo>
                    <a:cubicBezTo>
                      <a:pt x="0" y="117497"/>
                      <a:pt x="3345" y="120842"/>
                      <a:pt x="7553" y="120842"/>
                    </a:cubicBezTo>
                    <a:lnTo>
                      <a:pt x="38195" y="120842"/>
                    </a:lnTo>
                    <a:cubicBezTo>
                      <a:pt x="42402" y="120842"/>
                      <a:pt x="45747" y="117497"/>
                      <a:pt x="45747" y="113289"/>
                    </a:cubicBezTo>
                    <a:close/>
                    <a:moveTo>
                      <a:pt x="45747" y="148355"/>
                    </a:moveTo>
                    <a:cubicBezTo>
                      <a:pt x="45747" y="144147"/>
                      <a:pt x="42402" y="140802"/>
                      <a:pt x="38195" y="140802"/>
                    </a:cubicBezTo>
                    <a:lnTo>
                      <a:pt x="7553" y="140802"/>
                    </a:lnTo>
                    <a:cubicBezTo>
                      <a:pt x="3345" y="140802"/>
                      <a:pt x="0" y="144147"/>
                      <a:pt x="0" y="148355"/>
                    </a:cubicBezTo>
                    <a:cubicBezTo>
                      <a:pt x="0" y="152563"/>
                      <a:pt x="3345" y="155907"/>
                      <a:pt x="7553" y="155907"/>
                    </a:cubicBezTo>
                    <a:lnTo>
                      <a:pt x="38195" y="155907"/>
                    </a:lnTo>
                    <a:cubicBezTo>
                      <a:pt x="42402" y="155907"/>
                      <a:pt x="45747" y="152563"/>
                      <a:pt x="45747" y="148355"/>
                    </a:cubicBezTo>
                    <a:close/>
                    <a:moveTo>
                      <a:pt x="45747" y="183420"/>
                    </a:moveTo>
                    <a:cubicBezTo>
                      <a:pt x="45747" y="179213"/>
                      <a:pt x="42402" y="175868"/>
                      <a:pt x="38195" y="175868"/>
                    </a:cubicBezTo>
                    <a:lnTo>
                      <a:pt x="7553" y="175868"/>
                    </a:lnTo>
                    <a:cubicBezTo>
                      <a:pt x="3345" y="175868"/>
                      <a:pt x="0" y="179213"/>
                      <a:pt x="0" y="183420"/>
                    </a:cubicBezTo>
                    <a:cubicBezTo>
                      <a:pt x="0" y="187628"/>
                      <a:pt x="3345" y="190973"/>
                      <a:pt x="7553" y="190973"/>
                    </a:cubicBezTo>
                    <a:lnTo>
                      <a:pt x="38195" y="190973"/>
                    </a:lnTo>
                    <a:cubicBezTo>
                      <a:pt x="42402" y="190973"/>
                      <a:pt x="45747" y="187628"/>
                      <a:pt x="45747" y="183420"/>
                    </a:cubicBezTo>
                    <a:close/>
                    <a:moveTo>
                      <a:pt x="45747" y="218486"/>
                    </a:moveTo>
                    <a:cubicBezTo>
                      <a:pt x="45747" y="214278"/>
                      <a:pt x="42402" y="210934"/>
                      <a:pt x="38195" y="210934"/>
                    </a:cubicBezTo>
                    <a:lnTo>
                      <a:pt x="7553" y="210934"/>
                    </a:lnTo>
                    <a:cubicBezTo>
                      <a:pt x="3345" y="210934"/>
                      <a:pt x="0" y="214278"/>
                      <a:pt x="0" y="218486"/>
                    </a:cubicBezTo>
                    <a:cubicBezTo>
                      <a:pt x="0" y="222694"/>
                      <a:pt x="3345" y="226039"/>
                      <a:pt x="7553" y="226039"/>
                    </a:cubicBezTo>
                    <a:lnTo>
                      <a:pt x="38195" y="226039"/>
                    </a:lnTo>
                    <a:cubicBezTo>
                      <a:pt x="42402" y="226039"/>
                      <a:pt x="45747" y="222694"/>
                      <a:pt x="45747" y="218486"/>
                    </a:cubicBezTo>
                    <a:close/>
                    <a:moveTo>
                      <a:pt x="45747" y="253552"/>
                    </a:moveTo>
                    <a:cubicBezTo>
                      <a:pt x="45747" y="249344"/>
                      <a:pt x="42402" y="245999"/>
                      <a:pt x="38195" y="245999"/>
                    </a:cubicBezTo>
                    <a:lnTo>
                      <a:pt x="7553" y="245999"/>
                    </a:lnTo>
                    <a:cubicBezTo>
                      <a:pt x="3345" y="245999"/>
                      <a:pt x="0" y="249344"/>
                      <a:pt x="0" y="253552"/>
                    </a:cubicBezTo>
                    <a:cubicBezTo>
                      <a:pt x="0" y="257760"/>
                      <a:pt x="3345" y="261104"/>
                      <a:pt x="7553" y="261104"/>
                    </a:cubicBezTo>
                    <a:lnTo>
                      <a:pt x="38195" y="261104"/>
                    </a:lnTo>
                    <a:cubicBezTo>
                      <a:pt x="42402" y="261104"/>
                      <a:pt x="45747" y="257760"/>
                      <a:pt x="45747" y="253552"/>
                    </a:cubicBezTo>
                    <a:close/>
                    <a:moveTo>
                      <a:pt x="160331" y="8416"/>
                    </a:moveTo>
                    <a:cubicBezTo>
                      <a:pt x="160331" y="4208"/>
                      <a:pt x="156986" y="863"/>
                      <a:pt x="152778" y="863"/>
                    </a:cubicBezTo>
                    <a:lnTo>
                      <a:pt x="72397" y="863"/>
                    </a:lnTo>
                    <a:cubicBezTo>
                      <a:pt x="68189" y="863"/>
                      <a:pt x="64845" y="4208"/>
                      <a:pt x="64845" y="8416"/>
                    </a:cubicBezTo>
                    <a:cubicBezTo>
                      <a:pt x="64845" y="12624"/>
                      <a:pt x="68189" y="15968"/>
                      <a:pt x="72397" y="15968"/>
                    </a:cubicBezTo>
                    <a:lnTo>
                      <a:pt x="152778" y="15968"/>
                    </a:lnTo>
                    <a:cubicBezTo>
                      <a:pt x="156986" y="15968"/>
                      <a:pt x="160331" y="12624"/>
                      <a:pt x="160331" y="8416"/>
                    </a:cubicBezTo>
                    <a:close/>
                    <a:moveTo>
                      <a:pt x="160331" y="43481"/>
                    </a:moveTo>
                    <a:cubicBezTo>
                      <a:pt x="160331" y="39274"/>
                      <a:pt x="156986" y="35929"/>
                      <a:pt x="152778" y="35929"/>
                    </a:cubicBezTo>
                    <a:lnTo>
                      <a:pt x="72397" y="35929"/>
                    </a:lnTo>
                    <a:cubicBezTo>
                      <a:pt x="68189" y="35929"/>
                      <a:pt x="64845" y="39274"/>
                      <a:pt x="64845" y="43481"/>
                    </a:cubicBezTo>
                    <a:cubicBezTo>
                      <a:pt x="64845" y="47689"/>
                      <a:pt x="68189" y="51034"/>
                      <a:pt x="72397" y="51034"/>
                    </a:cubicBezTo>
                    <a:lnTo>
                      <a:pt x="152778" y="51034"/>
                    </a:lnTo>
                    <a:cubicBezTo>
                      <a:pt x="156986" y="51034"/>
                      <a:pt x="160331" y="47689"/>
                      <a:pt x="160331" y="43481"/>
                    </a:cubicBezTo>
                    <a:close/>
                    <a:moveTo>
                      <a:pt x="160331" y="78547"/>
                    </a:moveTo>
                    <a:cubicBezTo>
                      <a:pt x="160331" y="74339"/>
                      <a:pt x="156986" y="70995"/>
                      <a:pt x="152778" y="70995"/>
                    </a:cubicBezTo>
                    <a:lnTo>
                      <a:pt x="72397" y="70995"/>
                    </a:lnTo>
                    <a:cubicBezTo>
                      <a:pt x="68189" y="70995"/>
                      <a:pt x="64845" y="74339"/>
                      <a:pt x="64845" y="78547"/>
                    </a:cubicBezTo>
                    <a:cubicBezTo>
                      <a:pt x="64845" y="82755"/>
                      <a:pt x="68189" y="86100"/>
                      <a:pt x="72397" y="86100"/>
                    </a:cubicBezTo>
                    <a:lnTo>
                      <a:pt x="152778" y="86100"/>
                    </a:lnTo>
                    <a:cubicBezTo>
                      <a:pt x="156986" y="86100"/>
                      <a:pt x="160331" y="82755"/>
                      <a:pt x="160331" y="78547"/>
                    </a:cubicBezTo>
                    <a:close/>
                    <a:moveTo>
                      <a:pt x="160331" y="113613"/>
                    </a:moveTo>
                    <a:cubicBezTo>
                      <a:pt x="160331" y="109405"/>
                      <a:pt x="156986" y="106060"/>
                      <a:pt x="152778" y="106060"/>
                    </a:cubicBezTo>
                    <a:lnTo>
                      <a:pt x="72397" y="106060"/>
                    </a:lnTo>
                    <a:cubicBezTo>
                      <a:pt x="68189" y="106060"/>
                      <a:pt x="64845" y="109405"/>
                      <a:pt x="64845" y="113613"/>
                    </a:cubicBezTo>
                    <a:cubicBezTo>
                      <a:pt x="64845" y="117821"/>
                      <a:pt x="68189" y="121165"/>
                      <a:pt x="72397" y="121165"/>
                    </a:cubicBezTo>
                    <a:lnTo>
                      <a:pt x="152778" y="121165"/>
                    </a:lnTo>
                    <a:cubicBezTo>
                      <a:pt x="156986" y="121165"/>
                      <a:pt x="160331" y="117821"/>
                      <a:pt x="160331" y="113613"/>
                    </a:cubicBezTo>
                    <a:close/>
                    <a:moveTo>
                      <a:pt x="160331" y="148678"/>
                    </a:moveTo>
                    <a:cubicBezTo>
                      <a:pt x="160331" y="144471"/>
                      <a:pt x="156986" y="141126"/>
                      <a:pt x="152778" y="141126"/>
                    </a:cubicBezTo>
                    <a:lnTo>
                      <a:pt x="72397" y="141126"/>
                    </a:lnTo>
                    <a:cubicBezTo>
                      <a:pt x="68189" y="141126"/>
                      <a:pt x="64845" y="144471"/>
                      <a:pt x="64845" y="148678"/>
                    </a:cubicBezTo>
                    <a:cubicBezTo>
                      <a:pt x="64845" y="152886"/>
                      <a:pt x="68189" y="156231"/>
                      <a:pt x="72397" y="156231"/>
                    </a:cubicBezTo>
                    <a:lnTo>
                      <a:pt x="152778" y="156231"/>
                    </a:lnTo>
                    <a:cubicBezTo>
                      <a:pt x="156986" y="156231"/>
                      <a:pt x="160331" y="152886"/>
                      <a:pt x="160331" y="148678"/>
                    </a:cubicBezTo>
                    <a:close/>
                    <a:moveTo>
                      <a:pt x="256573" y="183744"/>
                    </a:moveTo>
                    <a:cubicBezTo>
                      <a:pt x="256573" y="179536"/>
                      <a:pt x="253228" y="176192"/>
                      <a:pt x="249020" y="176192"/>
                    </a:cubicBezTo>
                    <a:lnTo>
                      <a:pt x="168639" y="176192"/>
                    </a:lnTo>
                    <a:cubicBezTo>
                      <a:pt x="164431" y="176192"/>
                      <a:pt x="161086" y="179536"/>
                      <a:pt x="161086" y="183744"/>
                    </a:cubicBezTo>
                    <a:cubicBezTo>
                      <a:pt x="161086" y="187952"/>
                      <a:pt x="164431" y="191297"/>
                      <a:pt x="168639" y="191297"/>
                    </a:cubicBezTo>
                    <a:lnTo>
                      <a:pt x="249020" y="191297"/>
                    </a:lnTo>
                    <a:cubicBezTo>
                      <a:pt x="253228" y="191297"/>
                      <a:pt x="256573" y="187952"/>
                      <a:pt x="256573" y="183744"/>
                    </a:cubicBezTo>
                    <a:close/>
                    <a:moveTo>
                      <a:pt x="256573" y="218810"/>
                    </a:moveTo>
                    <a:cubicBezTo>
                      <a:pt x="256573" y="214602"/>
                      <a:pt x="253228" y="211257"/>
                      <a:pt x="249020" y="211257"/>
                    </a:cubicBezTo>
                    <a:lnTo>
                      <a:pt x="168639" y="211257"/>
                    </a:lnTo>
                    <a:cubicBezTo>
                      <a:pt x="164431" y="211257"/>
                      <a:pt x="161086" y="214602"/>
                      <a:pt x="161086" y="218810"/>
                    </a:cubicBezTo>
                    <a:cubicBezTo>
                      <a:pt x="161086" y="223018"/>
                      <a:pt x="164431" y="226362"/>
                      <a:pt x="168639" y="226362"/>
                    </a:cubicBezTo>
                    <a:lnTo>
                      <a:pt x="249020" y="226362"/>
                    </a:lnTo>
                    <a:cubicBezTo>
                      <a:pt x="253228" y="226362"/>
                      <a:pt x="256573" y="223018"/>
                      <a:pt x="256573" y="218810"/>
                    </a:cubicBezTo>
                    <a:close/>
                    <a:moveTo>
                      <a:pt x="256573" y="253875"/>
                    </a:moveTo>
                    <a:cubicBezTo>
                      <a:pt x="256573" y="249668"/>
                      <a:pt x="253228" y="246323"/>
                      <a:pt x="249020" y="246323"/>
                    </a:cubicBezTo>
                    <a:lnTo>
                      <a:pt x="168639" y="246323"/>
                    </a:lnTo>
                    <a:cubicBezTo>
                      <a:pt x="164431" y="246323"/>
                      <a:pt x="161086" y="249668"/>
                      <a:pt x="161086" y="253875"/>
                    </a:cubicBezTo>
                    <a:cubicBezTo>
                      <a:pt x="161086" y="258083"/>
                      <a:pt x="164431" y="261428"/>
                      <a:pt x="168639" y="261428"/>
                    </a:cubicBezTo>
                    <a:lnTo>
                      <a:pt x="249020" y="261428"/>
                    </a:lnTo>
                    <a:cubicBezTo>
                      <a:pt x="253228" y="261428"/>
                      <a:pt x="256573" y="258083"/>
                      <a:pt x="256573" y="253875"/>
                    </a:cubicBezTo>
                    <a:close/>
                    <a:moveTo>
                      <a:pt x="195720" y="8739"/>
                    </a:moveTo>
                    <a:cubicBezTo>
                      <a:pt x="195720" y="3884"/>
                      <a:pt x="191836" y="0"/>
                      <a:pt x="186981" y="0"/>
                    </a:cubicBezTo>
                    <a:cubicBezTo>
                      <a:pt x="182126" y="0"/>
                      <a:pt x="178241" y="3884"/>
                      <a:pt x="178241" y="8739"/>
                    </a:cubicBezTo>
                    <a:cubicBezTo>
                      <a:pt x="178241" y="13595"/>
                      <a:pt x="182126" y="17479"/>
                      <a:pt x="186981" y="17479"/>
                    </a:cubicBezTo>
                    <a:cubicBezTo>
                      <a:pt x="191836" y="17479"/>
                      <a:pt x="195720" y="13595"/>
                      <a:pt x="195720" y="8739"/>
                    </a:cubicBezTo>
                    <a:close/>
                    <a:moveTo>
                      <a:pt x="221939" y="8739"/>
                    </a:moveTo>
                    <a:cubicBezTo>
                      <a:pt x="221939" y="3884"/>
                      <a:pt x="218055" y="0"/>
                      <a:pt x="213199" y="0"/>
                    </a:cubicBezTo>
                    <a:cubicBezTo>
                      <a:pt x="208344" y="0"/>
                      <a:pt x="204460" y="3884"/>
                      <a:pt x="204460" y="8739"/>
                    </a:cubicBezTo>
                    <a:cubicBezTo>
                      <a:pt x="204460" y="13595"/>
                      <a:pt x="208344" y="17479"/>
                      <a:pt x="213199" y="17479"/>
                    </a:cubicBezTo>
                    <a:cubicBezTo>
                      <a:pt x="218055" y="17479"/>
                      <a:pt x="221939" y="13595"/>
                      <a:pt x="221939" y="8739"/>
                    </a:cubicBezTo>
                    <a:close/>
                    <a:moveTo>
                      <a:pt x="248157" y="8739"/>
                    </a:moveTo>
                    <a:cubicBezTo>
                      <a:pt x="248157" y="3884"/>
                      <a:pt x="244273" y="0"/>
                      <a:pt x="239418" y="0"/>
                    </a:cubicBezTo>
                    <a:cubicBezTo>
                      <a:pt x="234562" y="0"/>
                      <a:pt x="230678" y="3884"/>
                      <a:pt x="230678" y="8739"/>
                    </a:cubicBezTo>
                    <a:cubicBezTo>
                      <a:pt x="230678" y="13595"/>
                      <a:pt x="234562" y="17479"/>
                      <a:pt x="239418" y="17479"/>
                    </a:cubicBezTo>
                    <a:cubicBezTo>
                      <a:pt x="244273" y="17479"/>
                      <a:pt x="248157" y="13595"/>
                      <a:pt x="248157" y="8739"/>
                    </a:cubicBezTo>
                    <a:close/>
                    <a:moveTo>
                      <a:pt x="274375" y="8739"/>
                    </a:moveTo>
                    <a:cubicBezTo>
                      <a:pt x="274375" y="3884"/>
                      <a:pt x="270491" y="0"/>
                      <a:pt x="265636" y="0"/>
                    </a:cubicBezTo>
                    <a:cubicBezTo>
                      <a:pt x="260781" y="0"/>
                      <a:pt x="256896" y="3884"/>
                      <a:pt x="256896" y="8739"/>
                    </a:cubicBezTo>
                    <a:cubicBezTo>
                      <a:pt x="256896" y="13595"/>
                      <a:pt x="260781" y="17479"/>
                      <a:pt x="265636" y="17479"/>
                    </a:cubicBezTo>
                    <a:cubicBezTo>
                      <a:pt x="270491" y="17479"/>
                      <a:pt x="274375" y="13595"/>
                      <a:pt x="274375" y="8739"/>
                    </a:cubicBezTo>
                    <a:close/>
                    <a:moveTo>
                      <a:pt x="300594" y="8739"/>
                    </a:moveTo>
                    <a:cubicBezTo>
                      <a:pt x="300594" y="3884"/>
                      <a:pt x="296709" y="0"/>
                      <a:pt x="291854" y="0"/>
                    </a:cubicBezTo>
                    <a:cubicBezTo>
                      <a:pt x="286999" y="0"/>
                      <a:pt x="283115" y="3884"/>
                      <a:pt x="283115" y="8739"/>
                    </a:cubicBezTo>
                    <a:cubicBezTo>
                      <a:pt x="283115" y="13595"/>
                      <a:pt x="286999" y="17479"/>
                      <a:pt x="291854" y="17479"/>
                    </a:cubicBezTo>
                    <a:cubicBezTo>
                      <a:pt x="296709" y="17479"/>
                      <a:pt x="300594" y="13595"/>
                      <a:pt x="300594" y="8739"/>
                    </a:cubicBezTo>
                    <a:close/>
                    <a:moveTo>
                      <a:pt x="326812" y="8739"/>
                    </a:moveTo>
                    <a:cubicBezTo>
                      <a:pt x="326812" y="3884"/>
                      <a:pt x="322928" y="0"/>
                      <a:pt x="318073" y="0"/>
                    </a:cubicBezTo>
                    <a:cubicBezTo>
                      <a:pt x="313217" y="0"/>
                      <a:pt x="309333" y="3884"/>
                      <a:pt x="309333" y="8739"/>
                    </a:cubicBezTo>
                    <a:cubicBezTo>
                      <a:pt x="309333" y="13595"/>
                      <a:pt x="313217" y="17479"/>
                      <a:pt x="318073" y="17479"/>
                    </a:cubicBezTo>
                    <a:cubicBezTo>
                      <a:pt x="322928" y="17479"/>
                      <a:pt x="326812" y="13595"/>
                      <a:pt x="326812" y="8739"/>
                    </a:cubicBezTo>
                    <a:close/>
                    <a:moveTo>
                      <a:pt x="195505" y="78763"/>
                    </a:moveTo>
                    <a:cubicBezTo>
                      <a:pt x="195505" y="73908"/>
                      <a:pt x="191620" y="70024"/>
                      <a:pt x="186765" y="70024"/>
                    </a:cubicBezTo>
                    <a:cubicBezTo>
                      <a:pt x="181910" y="70024"/>
                      <a:pt x="178026" y="73908"/>
                      <a:pt x="178026" y="78763"/>
                    </a:cubicBezTo>
                    <a:cubicBezTo>
                      <a:pt x="178026" y="83618"/>
                      <a:pt x="181910" y="87502"/>
                      <a:pt x="186765" y="87502"/>
                    </a:cubicBezTo>
                    <a:cubicBezTo>
                      <a:pt x="191620" y="87502"/>
                      <a:pt x="195505" y="83618"/>
                      <a:pt x="195505" y="78763"/>
                    </a:cubicBezTo>
                    <a:close/>
                    <a:moveTo>
                      <a:pt x="221723" y="78763"/>
                    </a:moveTo>
                    <a:cubicBezTo>
                      <a:pt x="221723" y="73908"/>
                      <a:pt x="217839" y="70024"/>
                      <a:pt x="212983" y="70024"/>
                    </a:cubicBezTo>
                    <a:cubicBezTo>
                      <a:pt x="208128" y="70024"/>
                      <a:pt x="204244" y="73908"/>
                      <a:pt x="204244" y="78763"/>
                    </a:cubicBezTo>
                    <a:cubicBezTo>
                      <a:pt x="204244" y="83618"/>
                      <a:pt x="208128" y="87502"/>
                      <a:pt x="212983" y="87502"/>
                    </a:cubicBezTo>
                    <a:cubicBezTo>
                      <a:pt x="217839" y="87502"/>
                      <a:pt x="221723" y="83618"/>
                      <a:pt x="221723" y="78763"/>
                    </a:cubicBezTo>
                    <a:close/>
                    <a:moveTo>
                      <a:pt x="247941" y="78763"/>
                    </a:moveTo>
                    <a:cubicBezTo>
                      <a:pt x="247941" y="73908"/>
                      <a:pt x="244057" y="70024"/>
                      <a:pt x="239202" y="70024"/>
                    </a:cubicBezTo>
                    <a:cubicBezTo>
                      <a:pt x="234347" y="70024"/>
                      <a:pt x="230462" y="73908"/>
                      <a:pt x="230462" y="78763"/>
                    </a:cubicBezTo>
                    <a:cubicBezTo>
                      <a:pt x="230462" y="83618"/>
                      <a:pt x="234347" y="87502"/>
                      <a:pt x="239202" y="87502"/>
                    </a:cubicBezTo>
                    <a:cubicBezTo>
                      <a:pt x="244057" y="87502"/>
                      <a:pt x="247941" y="83618"/>
                      <a:pt x="247941" y="78763"/>
                    </a:cubicBezTo>
                    <a:close/>
                    <a:moveTo>
                      <a:pt x="274160" y="78763"/>
                    </a:moveTo>
                    <a:cubicBezTo>
                      <a:pt x="274160" y="73908"/>
                      <a:pt x="270275" y="70024"/>
                      <a:pt x="265420" y="70024"/>
                    </a:cubicBezTo>
                    <a:cubicBezTo>
                      <a:pt x="260565" y="70024"/>
                      <a:pt x="256681" y="73908"/>
                      <a:pt x="256681" y="78763"/>
                    </a:cubicBezTo>
                    <a:cubicBezTo>
                      <a:pt x="256681" y="83618"/>
                      <a:pt x="260565" y="87502"/>
                      <a:pt x="265420" y="87502"/>
                    </a:cubicBezTo>
                    <a:cubicBezTo>
                      <a:pt x="270275" y="87502"/>
                      <a:pt x="274160" y="83618"/>
                      <a:pt x="274160" y="78763"/>
                    </a:cubicBezTo>
                    <a:close/>
                    <a:moveTo>
                      <a:pt x="300378" y="78763"/>
                    </a:moveTo>
                    <a:cubicBezTo>
                      <a:pt x="300378" y="73908"/>
                      <a:pt x="296494" y="70024"/>
                      <a:pt x="291639" y="70024"/>
                    </a:cubicBezTo>
                    <a:cubicBezTo>
                      <a:pt x="286783" y="70024"/>
                      <a:pt x="282899" y="73908"/>
                      <a:pt x="282899" y="78763"/>
                    </a:cubicBezTo>
                    <a:cubicBezTo>
                      <a:pt x="282899" y="83618"/>
                      <a:pt x="286783" y="87502"/>
                      <a:pt x="291639" y="87502"/>
                    </a:cubicBezTo>
                    <a:cubicBezTo>
                      <a:pt x="296494" y="87502"/>
                      <a:pt x="300378" y="83618"/>
                      <a:pt x="300378" y="78763"/>
                    </a:cubicBezTo>
                    <a:close/>
                    <a:moveTo>
                      <a:pt x="326596" y="78763"/>
                    </a:moveTo>
                    <a:cubicBezTo>
                      <a:pt x="326596" y="73908"/>
                      <a:pt x="322712" y="70024"/>
                      <a:pt x="317857" y="70024"/>
                    </a:cubicBezTo>
                    <a:cubicBezTo>
                      <a:pt x="313002" y="70024"/>
                      <a:pt x="309117" y="73908"/>
                      <a:pt x="309117" y="78763"/>
                    </a:cubicBezTo>
                    <a:cubicBezTo>
                      <a:pt x="309117" y="83618"/>
                      <a:pt x="313002" y="87502"/>
                      <a:pt x="317857" y="87502"/>
                    </a:cubicBezTo>
                    <a:cubicBezTo>
                      <a:pt x="322712" y="87502"/>
                      <a:pt x="326596" y="83618"/>
                      <a:pt x="326596" y="78763"/>
                    </a:cubicBezTo>
                    <a:close/>
                    <a:moveTo>
                      <a:pt x="285057" y="179428"/>
                    </a:moveTo>
                    <a:cubicBezTo>
                      <a:pt x="285057" y="174573"/>
                      <a:pt x="281173" y="170689"/>
                      <a:pt x="276318" y="170689"/>
                    </a:cubicBezTo>
                    <a:cubicBezTo>
                      <a:pt x="271462" y="170689"/>
                      <a:pt x="267578" y="174573"/>
                      <a:pt x="267578" y="179428"/>
                    </a:cubicBezTo>
                    <a:cubicBezTo>
                      <a:pt x="267578" y="184284"/>
                      <a:pt x="271462" y="188168"/>
                      <a:pt x="276318" y="188168"/>
                    </a:cubicBezTo>
                    <a:cubicBezTo>
                      <a:pt x="281173" y="188168"/>
                      <a:pt x="285057" y="184284"/>
                      <a:pt x="285057" y="179428"/>
                    </a:cubicBezTo>
                    <a:close/>
                    <a:moveTo>
                      <a:pt x="311275" y="179428"/>
                    </a:moveTo>
                    <a:cubicBezTo>
                      <a:pt x="311275" y="174573"/>
                      <a:pt x="307391" y="170689"/>
                      <a:pt x="302536" y="170689"/>
                    </a:cubicBezTo>
                    <a:cubicBezTo>
                      <a:pt x="297681" y="170689"/>
                      <a:pt x="293796" y="174573"/>
                      <a:pt x="293796" y="179428"/>
                    </a:cubicBezTo>
                    <a:cubicBezTo>
                      <a:pt x="293796" y="184284"/>
                      <a:pt x="297681" y="188168"/>
                      <a:pt x="302536" y="188168"/>
                    </a:cubicBezTo>
                    <a:cubicBezTo>
                      <a:pt x="307391" y="188168"/>
                      <a:pt x="311275" y="184284"/>
                      <a:pt x="311275" y="179428"/>
                    </a:cubicBezTo>
                    <a:close/>
                    <a:moveTo>
                      <a:pt x="337494" y="179428"/>
                    </a:moveTo>
                    <a:cubicBezTo>
                      <a:pt x="337494" y="174573"/>
                      <a:pt x="333609" y="170689"/>
                      <a:pt x="328754" y="170689"/>
                    </a:cubicBezTo>
                    <a:cubicBezTo>
                      <a:pt x="323899" y="170689"/>
                      <a:pt x="320015" y="174573"/>
                      <a:pt x="320015" y="179428"/>
                    </a:cubicBezTo>
                    <a:cubicBezTo>
                      <a:pt x="320015" y="184284"/>
                      <a:pt x="323899" y="188168"/>
                      <a:pt x="328754" y="188168"/>
                    </a:cubicBezTo>
                    <a:cubicBezTo>
                      <a:pt x="333609" y="188168"/>
                      <a:pt x="337494" y="184284"/>
                      <a:pt x="337494" y="179428"/>
                    </a:cubicBezTo>
                    <a:close/>
                    <a:moveTo>
                      <a:pt x="363712" y="179428"/>
                    </a:moveTo>
                    <a:cubicBezTo>
                      <a:pt x="363712" y="174573"/>
                      <a:pt x="359828" y="170689"/>
                      <a:pt x="354973" y="170689"/>
                    </a:cubicBezTo>
                    <a:cubicBezTo>
                      <a:pt x="350117" y="170689"/>
                      <a:pt x="346233" y="174573"/>
                      <a:pt x="346233" y="179428"/>
                    </a:cubicBezTo>
                    <a:cubicBezTo>
                      <a:pt x="346233" y="184284"/>
                      <a:pt x="350117" y="188168"/>
                      <a:pt x="354973" y="188168"/>
                    </a:cubicBezTo>
                    <a:cubicBezTo>
                      <a:pt x="359828" y="188168"/>
                      <a:pt x="363712" y="184284"/>
                      <a:pt x="363712" y="179428"/>
                    </a:cubicBezTo>
                    <a:close/>
                    <a:moveTo>
                      <a:pt x="389930" y="179428"/>
                    </a:moveTo>
                    <a:cubicBezTo>
                      <a:pt x="389930" y="174573"/>
                      <a:pt x="386046" y="170689"/>
                      <a:pt x="381191" y="170689"/>
                    </a:cubicBezTo>
                    <a:cubicBezTo>
                      <a:pt x="376336" y="170689"/>
                      <a:pt x="372451" y="174573"/>
                      <a:pt x="372451" y="179428"/>
                    </a:cubicBezTo>
                    <a:cubicBezTo>
                      <a:pt x="372451" y="184284"/>
                      <a:pt x="376336" y="188168"/>
                      <a:pt x="381191" y="188168"/>
                    </a:cubicBezTo>
                    <a:cubicBezTo>
                      <a:pt x="386046" y="188168"/>
                      <a:pt x="389930" y="184284"/>
                      <a:pt x="389930" y="179428"/>
                    </a:cubicBezTo>
                    <a:close/>
                    <a:moveTo>
                      <a:pt x="416149" y="179428"/>
                    </a:moveTo>
                    <a:cubicBezTo>
                      <a:pt x="416149" y="174573"/>
                      <a:pt x="412264" y="170689"/>
                      <a:pt x="407409" y="170689"/>
                    </a:cubicBezTo>
                    <a:cubicBezTo>
                      <a:pt x="402554" y="170689"/>
                      <a:pt x="398670" y="174573"/>
                      <a:pt x="398670" y="179428"/>
                    </a:cubicBezTo>
                    <a:cubicBezTo>
                      <a:pt x="398670" y="184284"/>
                      <a:pt x="402554" y="188168"/>
                      <a:pt x="407409" y="188168"/>
                    </a:cubicBezTo>
                    <a:cubicBezTo>
                      <a:pt x="412264" y="188168"/>
                      <a:pt x="416149" y="184284"/>
                      <a:pt x="416149" y="179428"/>
                    </a:cubicBezTo>
                    <a:close/>
                    <a:moveTo>
                      <a:pt x="284841" y="251610"/>
                    </a:moveTo>
                    <a:cubicBezTo>
                      <a:pt x="284841" y="246754"/>
                      <a:pt x="280957" y="242870"/>
                      <a:pt x="276102" y="242870"/>
                    </a:cubicBezTo>
                    <a:cubicBezTo>
                      <a:pt x="271246" y="242870"/>
                      <a:pt x="267362" y="246754"/>
                      <a:pt x="267362" y="251610"/>
                    </a:cubicBezTo>
                    <a:cubicBezTo>
                      <a:pt x="267362" y="256465"/>
                      <a:pt x="271246" y="260349"/>
                      <a:pt x="276102" y="260349"/>
                    </a:cubicBezTo>
                    <a:cubicBezTo>
                      <a:pt x="280957" y="260349"/>
                      <a:pt x="284841" y="256465"/>
                      <a:pt x="284841" y="251610"/>
                    </a:cubicBezTo>
                    <a:close/>
                    <a:moveTo>
                      <a:pt x="311059" y="251610"/>
                    </a:moveTo>
                    <a:cubicBezTo>
                      <a:pt x="311059" y="246754"/>
                      <a:pt x="307175" y="242870"/>
                      <a:pt x="302320" y="242870"/>
                    </a:cubicBezTo>
                    <a:cubicBezTo>
                      <a:pt x="297465" y="242870"/>
                      <a:pt x="293581" y="246754"/>
                      <a:pt x="293581" y="251610"/>
                    </a:cubicBezTo>
                    <a:cubicBezTo>
                      <a:pt x="293581" y="256465"/>
                      <a:pt x="297465" y="260349"/>
                      <a:pt x="302320" y="260349"/>
                    </a:cubicBezTo>
                    <a:cubicBezTo>
                      <a:pt x="307175" y="260349"/>
                      <a:pt x="311059" y="256465"/>
                      <a:pt x="311059" y="251610"/>
                    </a:cubicBezTo>
                    <a:close/>
                    <a:moveTo>
                      <a:pt x="337278" y="251610"/>
                    </a:moveTo>
                    <a:cubicBezTo>
                      <a:pt x="337278" y="246754"/>
                      <a:pt x="333394" y="242870"/>
                      <a:pt x="328538" y="242870"/>
                    </a:cubicBezTo>
                    <a:cubicBezTo>
                      <a:pt x="323683" y="242870"/>
                      <a:pt x="319799" y="246754"/>
                      <a:pt x="319799" y="251610"/>
                    </a:cubicBezTo>
                    <a:cubicBezTo>
                      <a:pt x="319799" y="256465"/>
                      <a:pt x="323683" y="260349"/>
                      <a:pt x="328538" y="260349"/>
                    </a:cubicBezTo>
                    <a:cubicBezTo>
                      <a:pt x="333394" y="260349"/>
                      <a:pt x="337278" y="256465"/>
                      <a:pt x="337278" y="251610"/>
                    </a:cubicBezTo>
                    <a:close/>
                    <a:moveTo>
                      <a:pt x="363496" y="251610"/>
                    </a:moveTo>
                    <a:cubicBezTo>
                      <a:pt x="363496" y="246754"/>
                      <a:pt x="359612" y="242870"/>
                      <a:pt x="354757" y="242870"/>
                    </a:cubicBezTo>
                    <a:cubicBezTo>
                      <a:pt x="349901" y="242870"/>
                      <a:pt x="346017" y="246754"/>
                      <a:pt x="346017" y="251610"/>
                    </a:cubicBezTo>
                    <a:cubicBezTo>
                      <a:pt x="346017" y="256465"/>
                      <a:pt x="349901" y="260349"/>
                      <a:pt x="354757" y="260349"/>
                    </a:cubicBezTo>
                    <a:cubicBezTo>
                      <a:pt x="359612" y="260349"/>
                      <a:pt x="363496" y="256465"/>
                      <a:pt x="363496" y="251610"/>
                    </a:cubicBezTo>
                    <a:close/>
                    <a:moveTo>
                      <a:pt x="389715" y="251610"/>
                    </a:moveTo>
                    <a:cubicBezTo>
                      <a:pt x="389715" y="246754"/>
                      <a:pt x="385830" y="242870"/>
                      <a:pt x="380975" y="242870"/>
                    </a:cubicBezTo>
                    <a:cubicBezTo>
                      <a:pt x="376120" y="242870"/>
                      <a:pt x="372236" y="246754"/>
                      <a:pt x="372236" y="251610"/>
                    </a:cubicBezTo>
                    <a:cubicBezTo>
                      <a:pt x="372236" y="256465"/>
                      <a:pt x="376120" y="260349"/>
                      <a:pt x="380975" y="260349"/>
                    </a:cubicBezTo>
                    <a:cubicBezTo>
                      <a:pt x="385830" y="260349"/>
                      <a:pt x="389715" y="256465"/>
                      <a:pt x="389715" y="251610"/>
                    </a:cubicBezTo>
                    <a:close/>
                    <a:moveTo>
                      <a:pt x="415933" y="251610"/>
                    </a:moveTo>
                    <a:cubicBezTo>
                      <a:pt x="415933" y="246754"/>
                      <a:pt x="412049" y="242870"/>
                      <a:pt x="407193" y="242870"/>
                    </a:cubicBezTo>
                    <a:cubicBezTo>
                      <a:pt x="402338" y="242870"/>
                      <a:pt x="398454" y="246754"/>
                      <a:pt x="398454" y="251610"/>
                    </a:cubicBezTo>
                    <a:cubicBezTo>
                      <a:pt x="398454" y="256465"/>
                      <a:pt x="402338" y="260349"/>
                      <a:pt x="407193" y="260349"/>
                    </a:cubicBezTo>
                    <a:cubicBezTo>
                      <a:pt x="412049" y="260349"/>
                      <a:pt x="415933" y="256465"/>
                      <a:pt x="415933" y="25161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0" name="Полилиния: фигура 1619">
                <a:extLst>
                  <a:ext uri="{FF2B5EF4-FFF2-40B4-BE49-F238E27FC236}">
                    <a16:creationId xmlns:a16="http://schemas.microsoft.com/office/drawing/2014/main" id="{9CE9E744-B377-4034-85AB-C1450C336794}"/>
                  </a:ext>
                </a:extLst>
              </p:cNvPr>
              <p:cNvSpPr/>
              <p:nvPr/>
            </p:nvSpPr>
            <p:spPr>
              <a:xfrm>
                <a:off x="1963626" y="1851427"/>
                <a:ext cx="416148" cy="261428"/>
              </a:xfrm>
              <a:custGeom>
                <a:avLst/>
                <a:gdLst>
                  <a:gd name="connsiteX0" fmla="*/ 38195 w 416148"/>
                  <a:gd name="connsiteY0" fmla="*/ 15753 h 261428"/>
                  <a:gd name="connsiteX1" fmla="*/ 7553 w 416148"/>
                  <a:gd name="connsiteY1" fmla="*/ 15753 h 261428"/>
                  <a:gd name="connsiteX2" fmla="*/ 0 w 416148"/>
                  <a:gd name="connsiteY2" fmla="*/ 8200 h 261428"/>
                  <a:gd name="connsiteX3" fmla="*/ 7553 w 416148"/>
                  <a:gd name="connsiteY3" fmla="*/ 647 h 261428"/>
                  <a:gd name="connsiteX4" fmla="*/ 38195 w 416148"/>
                  <a:gd name="connsiteY4" fmla="*/ 647 h 261428"/>
                  <a:gd name="connsiteX5" fmla="*/ 45747 w 416148"/>
                  <a:gd name="connsiteY5" fmla="*/ 8200 h 261428"/>
                  <a:gd name="connsiteX6" fmla="*/ 38195 w 416148"/>
                  <a:gd name="connsiteY6" fmla="*/ 15753 h 261428"/>
                  <a:gd name="connsiteX7" fmla="*/ 45747 w 416148"/>
                  <a:gd name="connsiteY7" fmla="*/ 43158 h 261428"/>
                  <a:gd name="connsiteX8" fmla="*/ 38195 w 416148"/>
                  <a:gd name="connsiteY8" fmla="*/ 35605 h 261428"/>
                  <a:gd name="connsiteX9" fmla="*/ 7553 w 416148"/>
                  <a:gd name="connsiteY9" fmla="*/ 35605 h 261428"/>
                  <a:gd name="connsiteX10" fmla="*/ 0 w 416148"/>
                  <a:gd name="connsiteY10" fmla="*/ 43158 h 261428"/>
                  <a:gd name="connsiteX11" fmla="*/ 7553 w 416148"/>
                  <a:gd name="connsiteY11" fmla="*/ 50710 h 261428"/>
                  <a:gd name="connsiteX12" fmla="*/ 38195 w 416148"/>
                  <a:gd name="connsiteY12" fmla="*/ 50710 h 261428"/>
                  <a:gd name="connsiteX13" fmla="*/ 45747 w 416148"/>
                  <a:gd name="connsiteY13" fmla="*/ 43158 h 261428"/>
                  <a:gd name="connsiteX14" fmla="*/ 45747 w 416148"/>
                  <a:gd name="connsiteY14" fmla="*/ 78223 h 261428"/>
                  <a:gd name="connsiteX15" fmla="*/ 38195 w 416148"/>
                  <a:gd name="connsiteY15" fmla="*/ 70671 h 261428"/>
                  <a:gd name="connsiteX16" fmla="*/ 7553 w 416148"/>
                  <a:gd name="connsiteY16" fmla="*/ 70671 h 261428"/>
                  <a:gd name="connsiteX17" fmla="*/ 0 w 416148"/>
                  <a:gd name="connsiteY17" fmla="*/ 78223 h 261428"/>
                  <a:gd name="connsiteX18" fmla="*/ 7553 w 416148"/>
                  <a:gd name="connsiteY18" fmla="*/ 85776 h 261428"/>
                  <a:gd name="connsiteX19" fmla="*/ 38195 w 416148"/>
                  <a:gd name="connsiteY19" fmla="*/ 85776 h 261428"/>
                  <a:gd name="connsiteX20" fmla="*/ 45747 w 416148"/>
                  <a:gd name="connsiteY20" fmla="*/ 78223 h 261428"/>
                  <a:gd name="connsiteX21" fmla="*/ 45747 w 416148"/>
                  <a:gd name="connsiteY21" fmla="*/ 113289 h 261428"/>
                  <a:gd name="connsiteX22" fmla="*/ 38195 w 416148"/>
                  <a:gd name="connsiteY22" fmla="*/ 105737 h 261428"/>
                  <a:gd name="connsiteX23" fmla="*/ 7553 w 416148"/>
                  <a:gd name="connsiteY23" fmla="*/ 105737 h 261428"/>
                  <a:gd name="connsiteX24" fmla="*/ 0 w 416148"/>
                  <a:gd name="connsiteY24" fmla="*/ 113289 h 261428"/>
                  <a:gd name="connsiteX25" fmla="*/ 7553 w 416148"/>
                  <a:gd name="connsiteY25" fmla="*/ 120842 h 261428"/>
                  <a:gd name="connsiteX26" fmla="*/ 38195 w 416148"/>
                  <a:gd name="connsiteY26" fmla="*/ 120842 h 261428"/>
                  <a:gd name="connsiteX27" fmla="*/ 45747 w 416148"/>
                  <a:gd name="connsiteY27" fmla="*/ 113289 h 261428"/>
                  <a:gd name="connsiteX28" fmla="*/ 45747 w 416148"/>
                  <a:gd name="connsiteY28" fmla="*/ 148355 h 261428"/>
                  <a:gd name="connsiteX29" fmla="*/ 38195 w 416148"/>
                  <a:gd name="connsiteY29" fmla="*/ 140802 h 261428"/>
                  <a:gd name="connsiteX30" fmla="*/ 7553 w 416148"/>
                  <a:gd name="connsiteY30" fmla="*/ 140802 h 261428"/>
                  <a:gd name="connsiteX31" fmla="*/ 0 w 416148"/>
                  <a:gd name="connsiteY31" fmla="*/ 148355 h 261428"/>
                  <a:gd name="connsiteX32" fmla="*/ 7553 w 416148"/>
                  <a:gd name="connsiteY32" fmla="*/ 155907 h 261428"/>
                  <a:gd name="connsiteX33" fmla="*/ 38195 w 416148"/>
                  <a:gd name="connsiteY33" fmla="*/ 155907 h 261428"/>
                  <a:gd name="connsiteX34" fmla="*/ 45747 w 416148"/>
                  <a:gd name="connsiteY34" fmla="*/ 148355 h 261428"/>
                  <a:gd name="connsiteX35" fmla="*/ 45747 w 416148"/>
                  <a:gd name="connsiteY35" fmla="*/ 183420 h 261428"/>
                  <a:gd name="connsiteX36" fmla="*/ 38195 w 416148"/>
                  <a:gd name="connsiteY36" fmla="*/ 175868 h 261428"/>
                  <a:gd name="connsiteX37" fmla="*/ 7553 w 416148"/>
                  <a:gd name="connsiteY37" fmla="*/ 175868 h 261428"/>
                  <a:gd name="connsiteX38" fmla="*/ 0 w 416148"/>
                  <a:gd name="connsiteY38" fmla="*/ 183420 h 261428"/>
                  <a:gd name="connsiteX39" fmla="*/ 7553 w 416148"/>
                  <a:gd name="connsiteY39" fmla="*/ 190973 h 261428"/>
                  <a:gd name="connsiteX40" fmla="*/ 38195 w 416148"/>
                  <a:gd name="connsiteY40" fmla="*/ 190973 h 261428"/>
                  <a:gd name="connsiteX41" fmla="*/ 45747 w 416148"/>
                  <a:gd name="connsiteY41" fmla="*/ 183420 h 261428"/>
                  <a:gd name="connsiteX42" fmla="*/ 45747 w 416148"/>
                  <a:gd name="connsiteY42" fmla="*/ 218486 h 261428"/>
                  <a:gd name="connsiteX43" fmla="*/ 38195 w 416148"/>
                  <a:gd name="connsiteY43" fmla="*/ 210934 h 261428"/>
                  <a:gd name="connsiteX44" fmla="*/ 7553 w 416148"/>
                  <a:gd name="connsiteY44" fmla="*/ 210934 h 261428"/>
                  <a:gd name="connsiteX45" fmla="*/ 0 w 416148"/>
                  <a:gd name="connsiteY45" fmla="*/ 218486 h 261428"/>
                  <a:gd name="connsiteX46" fmla="*/ 7553 w 416148"/>
                  <a:gd name="connsiteY46" fmla="*/ 226039 h 261428"/>
                  <a:gd name="connsiteX47" fmla="*/ 38195 w 416148"/>
                  <a:gd name="connsiteY47" fmla="*/ 226039 h 261428"/>
                  <a:gd name="connsiteX48" fmla="*/ 45747 w 416148"/>
                  <a:gd name="connsiteY48" fmla="*/ 218486 h 261428"/>
                  <a:gd name="connsiteX49" fmla="*/ 45747 w 416148"/>
                  <a:gd name="connsiteY49" fmla="*/ 253552 h 261428"/>
                  <a:gd name="connsiteX50" fmla="*/ 38195 w 416148"/>
                  <a:gd name="connsiteY50" fmla="*/ 245999 h 261428"/>
                  <a:gd name="connsiteX51" fmla="*/ 7553 w 416148"/>
                  <a:gd name="connsiteY51" fmla="*/ 245999 h 261428"/>
                  <a:gd name="connsiteX52" fmla="*/ 0 w 416148"/>
                  <a:gd name="connsiteY52" fmla="*/ 253552 h 261428"/>
                  <a:gd name="connsiteX53" fmla="*/ 7553 w 416148"/>
                  <a:gd name="connsiteY53" fmla="*/ 261104 h 261428"/>
                  <a:gd name="connsiteX54" fmla="*/ 38195 w 416148"/>
                  <a:gd name="connsiteY54" fmla="*/ 261104 h 261428"/>
                  <a:gd name="connsiteX55" fmla="*/ 45747 w 416148"/>
                  <a:gd name="connsiteY55" fmla="*/ 253552 h 261428"/>
                  <a:gd name="connsiteX56" fmla="*/ 160331 w 416148"/>
                  <a:gd name="connsiteY56" fmla="*/ 8416 h 261428"/>
                  <a:gd name="connsiteX57" fmla="*/ 152778 w 416148"/>
                  <a:gd name="connsiteY57" fmla="*/ 863 h 261428"/>
                  <a:gd name="connsiteX58" fmla="*/ 72397 w 416148"/>
                  <a:gd name="connsiteY58" fmla="*/ 863 h 261428"/>
                  <a:gd name="connsiteX59" fmla="*/ 64844 w 416148"/>
                  <a:gd name="connsiteY59" fmla="*/ 8416 h 261428"/>
                  <a:gd name="connsiteX60" fmla="*/ 72397 w 416148"/>
                  <a:gd name="connsiteY60" fmla="*/ 15968 h 261428"/>
                  <a:gd name="connsiteX61" fmla="*/ 152778 w 416148"/>
                  <a:gd name="connsiteY61" fmla="*/ 15968 h 261428"/>
                  <a:gd name="connsiteX62" fmla="*/ 160331 w 416148"/>
                  <a:gd name="connsiteY62" fmla="*/ 8416 h 261428"/>
                  <a:gd name="connsiteX63" fmla="*/ 160331 w 416148"/>
                  <a:gd name="connsiteY63" fmla="*/ 43481 h 261428"/>
                  <a:gd name="connsiteX64" fmla="*/ 152778 w 416148"/>
                  <a:gd name="connsiteY64" fmla="*/ 35929 h 261428"/>
                  <a:gd name="connsiteX65" fmla="*/ 72397 w 416148"/>
                  <a:gd name="connsiteY65" fmla="*/ 35929 h 261428"/>
                  <a:gd name="connsiteX66" fmla="*/ 64844 w 416148"/>
                  <a:gd name="connsiteY66" fmla="*/ 43481 h 261428"/>
                  <a:gd name="connsiteX67" fmla="*/ 72397 w 416148"/>
                  <a:gd name="connsiteY67" fmla="*/ 51034 h 261428"/>
                  <a:gd name="connsiteX68" fmla="*/ 152778 w 416148"/>
                  <a:gd name="connsiteY68" fmla="*/ 51034 h 261428"/>
                  <a:gd name="connsiteX69" fmla="*/ 160331 w 416148"/>
                  <a:gd name="connsiteY69" fmla="*/ 43481 h 261428"/>
                  <a:gd name="connsiteX70" fmla="*/ 160331 w 416148"/>
                  <a:gd name="connsiteY70" fmla="*/ 78547 h 261428"/>
                  <a:gd name="connsiteX71" fmla="*/ 152778 w 416148"/>
                  <a:gd name="connsiteY71" fmla="*/ 70995 h 261428"/>
                  <a:gd name="connsiteX72" fmla="*/ 72397 w 416148"/>
                  <a:gd name="connsiteY72" fmla="*/ 70995 h 261428"/>
                  <a:gd name="connsiteX73" fmla="*/ 64844 w 416148"/>
                  <a:gd name="connsiteY73" fmla="*/ 78547 h 261428"/>
                  <a:gd name="connsiteX74" fmla="*/ 72397 w 416148"/>
                  <a:gd name="connsiteY74" fmla="*/ 86100 h 261428"/>
                  <a:gd name="connsiteX75" fmla="*/ 152778 w 416148"/>
                  <a:gd name="connsiteY75" fmla="*/ 86100 h 261428"/>
                  <a:gd name="connsiteX76" fmla="*/ 160331 w 416148"/>
                  <a:gd name="connsiteY76" fmla="*/ 78547 h 261428"/>
                  <a:gd name="connsiteX77" fmla="*/ 160331 w 416148"/>
                  <a:gd name="connsiteY77" fmla="*/ 113613 h 261428"/>
                  <a:gd name="connsiteX78" fmla="*/ 152778 w 416148"/>
                  <a:gd name="connsiteY78" fmla="*/ 106060 h 261428"/>
                  <a:gd name="connsiteX79" fmla="*/ 72397 w 416148"/>
                  <a:gd name="connsiteY79" fmla="*/ 106060 h 261428"/>
                  <a:gd name="connsiteX80" fmla="*/ 64844 w 416148"/>
                  <a:gd name="connsiteY80" fmla="*/ 113613 h 261428"/>
                  <a:gd name="connsiteX81" fmla="*/ 72397 w 416148"/>
                  <a:gd name="connsiteY81" fmla="*/ 121165 h 261428"/>
                  <a:gd name="connsiteX82" fmla="*/ 152778 w 416148"/>
                  <a:gd name="connsiteY82" fmla="*/ 121165 h 261428"/>
                  <a:gd name="connsiteX83" fmla="*/ 160331 w 416148"/>
                  <a:gd name="connsiteY83" fmla="*/ 113613 h 261428"/>
                  <a:gd name="connsiteX84" fmla="*/ 160331 w 416148"/>
                  <a:gd name="connsiteY84" fmla="*/ 148678 h 261428"/>
                  <a:gd name="connsiteX85" fmla="*/ 152778 w 416148"/>
                  <a:gd name="connsiteY85" fmla="*/ 141126 h 261428"/>
                  <a:gd name="connsiteX86" fmla="*/ 72397 w 416148"/>
                  <a:gd name="connsiteY86" fmla="*/ 141126 h 261428"/>
                  <a:gd name="connsiteX87" fmla="*/ 64844 w 416148"/>
                  <a:gd name="connsiteY87" fmla="*/ 148678 h 261428"/>
                  <a:gd name="connsiteX88" fmla="*/ 72397 w 416148"/>
                  <a:gd name="connsiteY88" fmla="*/ 156231 h 261428"/>
                  <a:gd name="connsiteX89" fmla="*/ 152778 w 416148"/>
                  <a:gd name="connsiteY89" fmla="*/ 156231 h 261428"/>
                  <a:gd name="connsiteX90" fmla="*/ 160331 w 416148"/>
                  <a:gd name="connsiteY90" fmla="*/ 148678 h 261428"/>
                  <a:gd name="connsiteX91" fmla="*/ 256573 w 416148"/>
                  <a:gd name="connsiteY91" fmla="*/ 183744 h 261428"/>
                  <a:gd name="connsiteX92" fmla="*/ 249020 w 416148"/>
                  <a:gd name="connsiteY92" fmla="*/ 176192 h 261428"/>
                  <a:gd name="connsiteX93" fmla="*/ 168639 w 416148"/>
                  <a:gd name="connsiteY93" fmla="*/ 176192 h 261428"/>
                  <a:gd name="connsiteX94" fmla="*/ 161086 w 416148"/>
                  <a:gd name="connsiteY94" fmla="*/ 183744 h 261428"/>
                  <a:gd name="connsiteX95" fmla="*/ 168639 w 416148"/>
                  <a:gd name="connsiteY95" fmla="*/ 191297 h 261428"/>
                  <a:gd name="connsiteX96" fmla="*/ 249020 w 416148"/>
                  <a:gd name="connsiteY96" fmla="*/ 191297 h 261428"/>
                  <a:gd name="connsiteX97" fmla="*/ 256573 w 416148"/>
                  <a:gd name="connsiteY97" fmla="*/ 183744 h 261428"/>
                  <a:gd name="connsiteX98" fmla="*/ 256573 w 416148"/>
                  <a:gd name="connsiteY98" fmla="*/ 218810 h 261428"/>
                  <a:gd name="connsiteX99" fmla="*/ 249020 w 416148"/>
                  <a:gd name="connsiteY99" fmla="*/ 211257 h 261428"/>
                  <a:gd name="connsiteX100" fmla="*/ 168639 w 416148"/>
                  <a:gd name="connsiteY100" fmla="*/ 211257 h 261428"/>
                  <a:gd name="connsiteX101" fmla="*/ 161086 w 416148"/>
                  <a:gd name="connsiteY101" fmla="*/ 218810 h 261428"/>
                  <a:gd name="connsiteX102" fmla="*/ 168639 w 416148"/>
                  <a:gd name="connsiteY102" fmla="*/ 226362 h 261428"/>
                  <a:gd name="connsiteX103" fmla="*/ 249020 w 416148"/>
                  <a:gd name="connsiteY103" fmla="*/ 226362 h 261428"/>
                  <a:gd name="connsiteX104" fmla="*/ 256573 w 416148"/>
                  <a:gd name="connsiteY104" fmla="*/ 218810 h 261428"/>
                  <a:gd name="connsiteX105" fmla="*/ 256573 w 416148"/>
                  <a:gd name="connsiteY105" fmla="*/ 253875 h 261428"/>
                  <a:gd name="connsiteX106" fmla="*/ 249020 w 416148"/>
                  <a:gd name="connsiteY106" fmla="*/ 246323 h 261428"/>
                  <a:gd name="connsiteX107" fmla="*/ 168639 w 416148"/>
                  <a:gd name="connsiteY107" fmla="*/ 246323 h 261428"/>
                  <a:gd name="connsiteX108" fmla="*/ 161086 w 416148"/>
                  <a:gd name="connsiteY108" fmla="*/ 253875 h 261428"/>
                  <a:gd name="connsiteX109" fmla="*/ 168639 w 416148"/>
                  <a:gd name="connsiteY109" fmla="*/ 261428 h 261428"/>
                  <a:gd name="connsiteX110" fmla="*/ 249020 w 416148"/>
                  <a:gd name="connsiteY110" fmla="*/ 261428 h 261428"/>
                  <a:gd name="connsiteX111" fmla="*/ 256573 w 416148"/>
                  <a:gd name="connsiteY111" fmla="*/ 253875 h 261428"/>
                  <a:gd name="connsiteX112" fmla="*/ 195720 w 416148"/>
                  <a:gd name="connsiteY112" fmla="*/ 8740 h 261428"/>
                  <a:gd name="connsiteX113" fmla="*/ 186981 w 416148"/>
                  <a:gd name="connsiteY113" fmla="*/ 0 h 261428"/>
                  <a:gd name="connsiteX114" fmla="*/ 178242 w 416148"/>
                  <a:gd name="connsiteY114" fmla="*/ 8740 h 261428"/>
                  <a:gd name="connsiteX115" fmla="*/ 186981 w 416148"/>
                  <a:gd name="connsiteY115" fmla="*/ 17479 h 261428"/>
                  <a:gd name="connsiteX116" fmla="*/ 195720 w 416148"/>
                  <a:gd name="connsiteY116" fmla="*/ 8740 h 261428"/>
                  <a:gd name="connsiteX117" fmla="*/ 221939 w 416148"/>
                  <a:gd name="connsiteY117" fmla="*/ 8740 h 261428"/>
                  <a:gd name="connsiteX118" fmla="*/ 213199 w 416148"/>
                  <a:gd name="connsiteY118" fmla="*/ 0 h 261428"/>
                  <a:gd name="connsiteX119" fmla="*/ 204460 w 416148"/>
                  <a:gd name="connsiteY119" fmla="*/ 8740 h 261428"/>
                  <a:gd name="connsiteX120" fmla="*/ 213199 w 416148"/>
                  <a:gd name="connsiteY120" fmla="*/ 17479 h 261428"/>
                  <a:gd name="connsiteX121" fmla="*/ 221939 w 416148"/>
                  <a:gd name="connsiteY121" fmla="*/ 8740 h 261428"/>
                  <a:gd name="connsiteX122" fmla="*/ 248157 w 416148"/>
                  <a:gd name="connsiteY122" fmla="*/ 8740 h 261428"/>
                  <a:gd name="connsiteX123" fmla="*/ 239418 w 416148"/>
                  <a:gd name="connsiteY123" fmla="*/ 0 h 261428"/>
                  <a:gd name="connsiteX124" fmla="*/ 230678 w 416148"/>
                  <a:gd name="connsiteY124" fmla="*/ 8740 h 261428"/>
                  <a:gd name="connsiteX125" fmla="*/ 239418 w 416148"/>
                  <a:gd name="connsiteY125" fmla="*/ 17479 h 261428"/>
                  <a:gd name="connsiteX126" fmla="*/ 248157 w 416148"/>
                  <a:gd name="connsiteY126" fmla="*/ 8740 h 261428"/>
                  <a:gd name="connsiteX127" fmla="*/ 274375 w 416148"/>
                  <a:gd name="connsiteY127" fmla="*/ 8740 h 261428"/>
                  <a:gd name="connsiteX128" fmla="*/ 265636 w 416148"/>
                  <a:gd name="connsiteY128" fmla="*/ 0 h 261428"/>
                  <a:gd name="connsiteX129" fmla="*/ 256896 w 416148"/>
                  <a:gd name="connsiteY129" fmla="*/ 8740 h 261428"/>
                  <a:gd name="connsiteX130" fmla="*/ 265636 w 416148"/>
                  <a:gd name="connsiteY130" fmla="*/ 17479 h 261428"/>
                  <a:gd name="connsiteX131" fmla="*/ 274375 w 416148"/>
                  <a:gd name="connsiteY131" fmla="*/ 8740 h 261428"/>
                  <a:gd name="connsiteX132" fmla="*/ 300594 w 416148"/>
                  <a:gd name="connsiteY132" fmla="*/ 8740 h 261428"/>
                  <a:gd name="connsiteX133" fmla="*/ 291854 w 416148"/>
                  <a:gd name="connsiteY133" fmla="*/ 0 h 261428"/>
                  <a:gd name="connsiteX134" fmla="*/ 283115 w 416148"/>
                  <a:gd name="connsiteY134" fmla="*/ 8740 h 261428"/>
                  <a:gd name="connsiteX135" fmla="*/ 291854 w 416148"/>
                  <a:gd name="connsiteY135" fmla="*/ 17479 h 261428"/>
                  <a:gd name="connsiteX136" fmla="*/ 300594 w 416148"/>
                  <a:gd name="connsiteY136" fmla="*/ 8740 h 261428"/>
                  <a:gd name="connsiteX137" fmla="*/ 326812 w 416148"/>
                  <a:gd name="connsiteY137" fmla="*/ 8740 h 261428"/>
                  <a:gd name="connsiteX138" fmla="*/ 318073 w 416148"/>
                  <a:gd name="connsiteY138" fmla="*/ 0 h 261428"/>
                  <a:gd name="connsiteX139" fmla="*/ 309333 w 416148"/>
                  <a:gd name="connsiteY139" fmla="*/ 8740 h 261428"/>
                  <a:gd name="connsiteX140" fmla="*/ 318073 w 416148"/>
                  <a:gd name="connsiteY140" fmla="*/ 17479 h 261428"/>
                  <a:gd name="connsiteX141" fmla="*/ 326812 w 416148"/>
                  <a:gd name="connsiteY141" fmla="*/ 8740 h 261428"/>
                  <a:gd name="connsiteX142" fmla="*/ 195505 w 416148"/>
                  <a:gd name="connsiteY142" fmla="*/ 78763 h 261428"/>
                  <a:gd name="connsiteX143" fmla="*/ 186765 w 416148"/>
                  <a:gd name="connsiteY143" fmla="*/ 70024 h 261428"/>
                  <a:gd name="connsiteX144" fmla="*/ 178026 w 416148"/>
                  <a:gd name="connsiteY144" fmla="*/ 78763 h 261428"/>
                  <a:gd name="connsiteX145" fmla="*/ 186765 w 416148"/>
                  <a:gd name="connsiteY145" fmla="*/ 87502 h 261428"/>
                  <a:gd name="connsiteX146" fmla="*/ 195505 w 416148"/>
                  <a:gd name="connsiteY146" fmla="*/ 78763 h 261428"/>
                  <a:gd name="connsiteX147" fmla="*/ 221723 w 416148"/>
                  <a:gd name="connsiteY147" fmla="*/ 78763 h 261428"/>
                  <a:gd name="connsiteX148" fmla="*/ 212984 w 416148"/>
                  <a:gd name="connsiteY148" fmla="*/ 70024 h 261428"/>
                  <a:gd name="connsiteX149" fmla="*/ 204244 w 416148"/>
                  <a:gd name="connsiteY149" fmla="*/ 78763 h 261428"/>
                  <a:gd name="connsiteX150" fmla="*/ 212984 w 416148"/>
                  <a:gd name="connsiteY150" fmla="*/ 87502 h 261428"/>
                  <a:gd name="connsiteX151" fmla="*/ 221723 w 416148"/>
                  <a:gd name="connsiteY151" fmla="*/ 78763 h 261428"/>
                  <a:gd name="connsiteX152" fmla="*/ 247941 w 416148"/>
                  <a:gd name="connsiteY152" fmla="*/ 78763 h 261428"/>
                  <a:gd name="connsiteX153" fmla="*/ 239202 w 416148"/>
                  <a:gd name="connsiteY153" fmla="*/ 70024 h 261428"/>
                  <a:gd name="connsiteX154" fmla="*/ 230462 w 416148"/>
                  <a:gd name="connsiteY154" fmla="*/ 78763 h 261428"/>
                  <a:gd name="connsiteX155" fmla="*/ 239202 w 416148"/>
                  <a:gd name="connsiteY155" fmla="*/ 87502 h 261428"/>
                  <a:gd name="connsiteX156" fmla="*/ 247941 w 416148"/>
                  <a:gd name="connsiteY156" fmla="*/ 78763 h 261428"/>
                  <a:gd name="connsiteX157" fmla="*/ 274160 w 416148"/>
                  <a:gd name="connsiteY157" fmla="*/ 78763 h 261428"/>
                  <a:gd name="connsiteX158" fmla="*/ 265420 w 416148"/>
                  <a:gd name="connsiteY158" fmla="*/ 70024 h 261428"/>
                  <a:gd name="connsiteX159" fmla="*/ 256681 w 416148"/>
                  <a:gd name="connsiteY159" fmla="*/ 78763 h 261428"/>
                  <a:gd name="connsiteX160" fmla="*/ 265420 w 416148"/>
                  <a:gd name="connsiteY160" fmla="*/ 87502 h 261428"/>
                  <a:gd name="connsiteX161" fmla="*/ 274160 w 416148"/>
                  <a:gd name="connsiteY161" fmla="*/ 78763 h 261428"/>
                  <a:gd name="connsiteX162" fmla="*/ 300378 w 416148"/>
                  <a:gd name="connsiteY162" fmla="*/ 78763 h 261428"/>
                  <a:gd name="connsiteX163" fmla="*/ 291638 w 416148"/>
                  <a:gd name="connsiteY163" fmla="*/ 70024 h 261428"/>
                  <a:gd name="connsiteX164" fmla="*/ 282899 w 416148"/>
                  <a:gd name="connsiteY164" fmla="*/ 78763 h 261428"/>
                  <a:gd name="connsiteX165" fmla="*/ 291638 w 416148"/>
                  <a:gd name="connsiteY165" fmla="*/ 87502 h 261428"/>
                  <a:gd name="connsiteX166" fmla="*/ 300378 w 416148"/>
                  <a:gd name="connsiteY166" fmla="*/ 78763 h 261428"/>
                  <a:gd name="connsiteX167" fmla="*/ 326596 w 416148"/>
                  <a:gd name="connsiteY167" fmla="*/ 78763 h 261428"/>
                  <a:gd name="connsiteX168" fmla="*/ 317857 w 416148"/>
                  <a:gd name="connsiteY168" fmla="*/ 70024 h 261428"/>
                  <a:gd name="connsiteX169" fmla="*/ 309117 w 416148"/>
                  <a:gd name="connsiteY169" fmla="*/ 78763 h 261428"/>
                  <a:gd name="connsiteX170" fmla="*/ 317857 w 416148"/>
                  <a:gd name="connsiteY170" fmla="*/ 87502 h 261428"/>
                  <a:gd name="connsiteX171" fmla="*/ 326596 w 416148"/>
                  <a:gd name="connsiteY171" fmla="*/ 78763 h 261428"/>
                  <a:gd name="connsiteX172" fmla="*/ 285057 w 416148"/>
                  <a:gd name="connsiteY172" fmla="*/ 179428 h 261428"/>
                  <a:gd name="connsiteX173" fmla="*/ 276318 w 416148"/>
                  <a:gd name="connsiteY173" fmla="*/ 170689 h 261428"/>
                  <a:gd name="connsiteX174" fmla="*/ 267578 w 416148"/>
                  <a:gd name="connsiteY174" fmla="*/ 179428 h 261428"/>
                  <a:gd name="connsiteX175" fmla="*/ 276318 w 416148"/>
                  <a:gd name="connsiteY175" fmla="*/ 188168 h 261428"/>
                  <a:gd name="connsiteX176" fmla="*/ 285057 w 416148"/>
                  <a:gd name="connsiteY176" fmla="*/ 179428 h 261428"/>
                  <a:gd name="connsiteX177" fmla="*/ 311275 w 416148"/>
                  <a:gd name="connsiteY177" fmla="*/ 179428 h 261428"/>
                  <a:gd name="connsiteX178" fmla="*/ 302536 w 416148"/>
                  <a:gd name="connsiteY178" fmla="*/ 170689 h 261428"/>
                  <a:gd name="connsiteX179" fmla="*/ 293796 w 416148"/>
                  <a:gd name="connsiteY179" fmla="*/ 179428 h 261428"/>
                  <a:gd name="connsiteX180" fmla="*/ 302536 w 416148"/>
                  <a:gd name="connsiteY180" fmla="*/ 188168 h 261428"/>
                  <a:gd name="connsiteX181" fmla="*/ 311275 w 416148"/>
                  <a:gd name="connsiteY181" fmla="*/ 179428 h 261428"/>
                  <a:gd name="connsiteX182" fmla="*/ 337494 w 416148"/>
                  <a:gd name="connsiteY182" fmla="*/ 179428 h 261428"/>
                  <a:gd name="connsiteX183" fmla="*/ 328754 w 416148"/>
                  <a:gd name="connsiteY183" fmla="*/ 170689 h 261428"/>
                  <a:gd name="connsiteX184" fmla="*/ 320015 w 416148"/>
                  <a:gd name="connsiteY184" fmla="*/ 179428 h 261428"/>
                  <a:gd name="connsiteX185" fmla="*/ 328754 w 416148"/>
                  <a:gd name="connsiteY185" fmla="*/ 188168 h 261428"/>
                  <a:gd name="connsiteX186" fmla="*/ 337494 w 416148"/>
                  <a:gd name="connsiteY186" fmla="*/ 179428 h 261428"/>
                  <a:gd name="connsiteX187" fmla="*/ 363712 w 416148"/>
                  <a:gd name="connsiteY187" fmla="*/ 179428 h 261428"/>
                  <a:gd name="connsiteX188" fmla="*/ 354972 w 416148"/>
                  <a:gd name="connsiteY188" fmla="*/ 170689 h 261428"/>
                  <a:gd name="connsiteX189" fmla="*/ 346233 w 416148"/>
                  <a:gd name="connsiteY189" fmla="*/ 179428 h 261428"/>
                  <a:gd name="connsiteX190" fmla="*/ 354972 w 416148"/>
                  <a:gd name="connsiteY190" fmla="*/ 188168 h 261428"/>
                  <a:gd name="connsiteX191" fmla="*/ 363712 w 416148"/>
                  <a:gd name="connsiteY191" fmla="*/ 179428 h 261428"/>
                  <a:gd name="connsiteX192" fmla="*/ 389930 w 416148"/>
                  <a:gd name="connsiteY192" fmla="*/ 179428 h 261428"/>
                  <a:gd name="connsiteX193" fmla="*/ 381191 w 416148"/>
                  <a:gd name="connsiteY193" fmla="*/ 170689 h 261428"/>
                  <a:gd name="connsiteX194" fmla="*/ 372451 w 416148"/>
                  <a:gd name="connsiteY194" fmla="*/ 179428 h 261428"/>
                  <a:gd name="connsiteX195" fmla="*/ 381191 w 416148"/>
                  <a:gd name="connsiteY195" fmla="*/ 188168 h 261428"/>
                  <a:gd name="connsiteX196" fmla="*/ 389930 w 416148"/>
                  <a:gd name="connsiteY196" fmla="*/ 179428 h 261428"/>
                  <a:gd name="connsiteX197" fmla="*/ 416149 w 416148"/>
                  <a:gd name="connsiteY197" fmla="*/ 179428 h 261428"/>
                  <a:gd name="connsiteX198" fmla="*/ 407409 w 416148"/>
                  <a:gd name="connsiteY198" fmla="*/ 170689 h 261428"/>
                  <a:gd name="connsiteX199" fmla="*/ 398670 w 416148"/>
                  <a:gd name="connsiteY199" fmla="*/ 179428 h 261428"/>
                  <a:gd name="connsiteX200" fmla="*/ 407409 w 416148"/>
                  <a:gd name="connsiteY200" fmla="*/ 188168 h 261428"/>
                  <a:gd name="connsiteX201" fmla="*/ 416149 w 416148"/>
                  <a:gd name="connsiteY201" fmla="*/ 179428 h 261428"/>
                  <a:gd name="connsiteX202" fmla="*/ 284841 w 416148"/>
                  <a:gd name="connsiteY202" fmla="*/ 251610 h 261428"/>
                  <a:gd name="connsiteX203" fmla="*/ 276102 w 416148"/>
                  <a:gd name="connsiteY203" fmla="*/ 242870 h 261428"/>
                  <a:gd name="connsiteX204" fmla="*/ 267362 w 416148"/>
                  <a:gd name="connsiteY204" fmla="*/ 251610 h 261428"/>
                  <a:gd name="connsiteX205" fmla="*/ 276102 w 416148"/>
                  <a:gd name="connsiteY205" fmla="*/ 260349 h 261428"/>
                  <a:gd name="connsiteX206" fmla="*/ 284841 w 416148"/>
                  <a:gd name="connsiteY206" fmla="*/ 251610 h 261428"/>
                  <a:gd name="connsiteX207" fmla="*/ 311060 w 416148"/>
                  <a:gd name="connsiteY207" fmla="*/ 251610 h 261428"/>
                  <a:gd name="connsiteX208" fmla="*/ 302320 w 416148"/>
                  <a:gd name="connsiteY208" fmla="*/ 242870 h 261428"/>
                  <a:gd name="connsiteX209" fmla="*/ 293581 w 416148"/>
                  <a:gd name="connsiteY209" fmla="*/ 251610 h 261428"/>
                  <a:gd name="connsiteX210" fmla="*/ 302320 w 416148"/>
                  <a:gd name="connsiteY210" fmla="*/ 260349 h 261428"/>
                  <a:gd name="connsiteX211" fmla="*/ 311060 w 416148"/>
                  <a:gd name="connsiteY211" fmla="*/ 251610 h 261428"/>
                  <a:gd name="connsiteX212" fmla="*/ 337278 w 416148"/>
                  <a:gd name="connsiteY212" fmla="*/ 251610 h 261428"/>
                  <a:gd name="connsiteX213" fmla="*/ 328538 w 416148"/>
                  <a:gd name="connsiteY213" fmla="*/ 242870 h 261428"/>
                  <a:gd name="connsiteX214" fmla="*/ 319799 w 416148"/>
                  <a:gd name="connsiteY214" fmla="*/ 251610 h 261428"/>
                  <a:gd name="connsiteX215" fmla="*/ 328538 w 416148"/>
                  <a:gd name="connsiteY215" fmla="*/ 260349 h 261428"/>
                  <a:gd name="connsiteX216" fmla="*/ 337278 w 416148"/>
                  <a:gd name="connsiteY216" fmla="*/ 251610 h 261428"/>
                  <a:gd name="connsiteX217" fmla="*/ 363496 w 416148"/>
                  <a:gd name="connsiteY217" fmla="*/ 251610 h 261428"/>
                  <a:gd name="connsiteX218" fmla="*/ 354757 w 416148"/>
                  <a:gd name="connsiteY218" fmla="*/ 242870 h 261428"/>
                  <a:gd name="connsiteX219" fmla="*/ 346017 w 416148"/>
                  <a:gd name="connsiteY219" fmla="*/ 251610 h 261428"/>
                  <a:gd name="connsiteX220" fmla="*/ 354757 w 416148"/>
                  <a:gd name="connsiteY220" fmla="*/ 260349 h 261428"/>
                  <a:gd name="connsiteX221" fmla="*/ 363496 w 416148"/>
                  <a:gd name="connsiteY221" fmla="*/ 251610 h 261428"/>
                  <a:gd name="connsiteX222" fmla="*/ 389714 w 416148"/>
                  <a:gd name="connsiteY222" fmla="*/ 251610 h 261428"/>
                  <a:gd name="connsiteX223" fmla="*/ 380975 w 416148"/>
                  <a:gd name="connsiteY223" fmla="*/ 242870 h 261428"/>
                  <a:gd name="connsiteX224" fmla="*/ 372236 w 416148"/>
                  <a:gd name="connsiteY224" fmla="*/ 251610 h 261428"/>
                  <a:gd name="connsiteX225" fmla="*/ 380975 w 416148"/>
                  <a:gd name="connsiteY225" fmla="*/ 260349 h 261428"/>
                  <a:gd name="connsiteX226" fmla="*/ 389714 w 416148"/>
                  <a:gd name="connsiteY226" fmla="*/ 251610 h 261428"/>
                  <a:gd name="connsiteX227" fmla="*/ 415933 w 416148"/>
                  <a:gd name="connsiteY227" fmla="*/ 251610 h 261428"/>
                  <a:gd name="connsiteX228" fmla="*/ 407193 w 416148"/>
                  <a:gd name="connsiteY228" fmla="*/ 242870 h 261428"/>
                  <a:gd name="connsiteX229" fmla="*/ 398454 w 416148"/>
                  <a:gd name="connsiteY229" fmla="*/ 251610 h 261428"/>
                  <a:gd name="connsiteX230" fmla="*/ 407193 w 416148"/>
                  <a:gd name="connsiteY230" fmla="*/ 260349 h 261428"/>
                  <a:gd name="connsiteX231" fmla="*/ 415933 w 416148"/>
                  <a:gd name="connsiteY231" fmla="*/ 251610 h 26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416148" h="261428">
                    <a:moveTo>
                      <a:pt x="38195" y="15753"/>
                    </a:moveTo>
                    <a:lnTo>
                      <a:pt x="7553" y="15753"/>
                    </a:lnTo>
                    <a:cubicBezTo>
                      <a:pt x="3345" y="15753"/>
                      <a:pt x="0" y="12408"/>
                      <a:pt x="0" y="8200"/>
                    </a:cubicBezTo>
                    <a:cubicBezTo>
                      <a:pt x="0" y="3992"/>
                      <a:pt x="3345" y="647"/>
                      <a:pt x="7553" y="647"/>
                    </a:cubicBezTo>
                    <a:lnTo>
                      <a:pt x="38195" y="647"/>
                    </a:lnTo>
                    <a:cubicBezTo>
                      <a:pt x="42403" y="647"/>
                      <a:pt x="45747" y="3992"/>
                      <a:pt x="45747" y="8200"/>
                    </a:cubicBezTo>
                    <a:cubicBezTo>
                      <a:pt x="45747" y="12408"/>
                      <a:pt x="42403" y="15753"/>
                      <a:pt x="38195" y="15753"/>
                    </a:cubicBezTo>
                    <a:close/>
                    <a:moveTo>
                      <a:pt x="45747" y="43158"/>
                    </a:moveTo>
                    <a:cubicBezTo>
                      <a:pt x="45747" y="38950"/>
                      <a:pt x="42403" y="35605"/>
                      <a:pt x="38195" y="35605"/>
                    </a:cubicBezTo>
                    <a:lnTo>
                      <a:pt x="7553" y="35605"/>
                    </a:lnTo>
                    <a:cubicBezTo>
                      <a:pt x="3345" y="35605"/>
                      <a:pt x="0" y="38950"/>
                      <a:pt x="0" y="43158"/>
                    </a:cubicBezTo>
                    <a:cubicBezTo>
                      <a:pt x="0" y="47366"/>
                      <a:pt x="3345" y="50710"/>
                      <a:pt x="7553" y="50710"/>
                    </a:cubicBezTo>
                    <a:lnTo>
                      <a:pt x="38195" y="50710"/>
                    </a:lnTo>
                    <a:cubicBezTo>
                      <a:pt x="42403" y="50710"/>
                      <a:pt x="45747" y="47366"/>
                      <a:pt x="45747" y="43158"/>
                    </a:cubicBezTo>
                    <a:close/>
                    <a:moveTo>
                      <a:pt x="45747" y="78223"/>
                    </a:moveTo>
                    <a:cubicBezTo>
                      <a:pt x="45747" y="74016"/>
                      <a:pt x="42403" y="70671"/>
                      <a:pt x="38195" y="70671"/>
                    </a:cubicBezTo>
                    <a:lnTo>
                      <a:pt x="7553" y="70671"/>
                    </a:lnTo>
                    <a:cubicBezTo>
                      <a:pt x="3345" y="70671"/>
                      <a:pt x="0" y="74016"/>
                      <a:pt x="0" y="78223"/>
                    </a:cubicBezTo>
                    <a:cubicBezTo>
                      <a:pt x="0" y="82431"/>
                      <a:pt x="3345" y="85776"/>
                      <a:pt x="7553" y="85776"/>
                    </a:cubicBezTo>
                    <a:lnTo>
                      <a:pt x="38195" y="85776"/>
                    </a:lnTo>
                    <a:cubicBezTo>
                      <a:pt x="42403" y="85776"/>
                      <a:pt x="45747" y="82431"/>
                      <a:pt x="45747" y="78223"/>
                    </a:cubicBezTo>
                    <a:close/>
                    <a:moveTo>
                      <a:pt x="45747" y="113289"/>
                    </a:moveTo>
                    <a:cubicBezTo>
                      <a:pt x="45747" y="109081"/>
                      <a:pt x="42403" y="105737"/>
                      <a:pt x="38195" y="105737"/>
                    </a:cubicBezTo>
                    <a:lnTo>
                      <a:pt x="7553" y="105737"/>
                    </a:lnTo>
                    <a:cubicBezTo>
                      <a:pt x="3345" y="105737"/>
                      <a:pt x="0" y="109081"/>
                      <a:pt x="0" y="113289"/>
                    </a:cubicBezTo>
                    <a:cubicBezTo>
                      <a:pt x="0" y="117497"/>
                      <a:pt x="3345" y="120842"/>
                      <a:pt x="7553" y="120842"/>
                    </a:cubicBezTo>
                    <a:lnTo>
                      <a:pt x="38195" y="120842"/>
                    </a:lnTo>
                    <a:cubicBezTo>
                      <a:pt x="42403" y="120842"/>
                      <a:pt x="45747" y="117497"/>
                      <a:pt x="45747" y="113289"/>
                    </a:cubicBezTo>
                    <a:close/>
                    <a:moveTo>
                      <a:pt x="45747" y="148355"/>
                    </a:moveTo>
                    <a:cubicBezTo>
                      <a:pt x="45747" y="144147"/>
                      <a:pt x="42403" y="140802"/>
                      <a:pt x="38195" y="140802"/>
                    </a:cubicBezTo>
                    <a:lnTo>
                      <a:pt x="7553" y="140802"/>
                    </a:lnTo>
                    <a:cubicBezTo>
                      <a:pt x="3345" y="140802"/>
                      <a:pt x="0" y="144147"/>
                      <a:pt x="0" y="148355"/>
                    </a:cubicBezTo>
                    <a:cubicBezTo>
                      <a:pt x="0" y="152563"/>
                      <a:pt x="3345" y="155907"/>
                      <a:pt x="7553" y="155907"/>
                    </a:cubicBezTo>
                    <a:lnTo>
                      <a:pt x="38195" y="155907"/>
                    </a:lnTo>
                    <a:cubicBezTo>
                      <a:pt x="42403" y="155907"/>
                      <a:pt x="45747" y="152563"/>
                      <a:pt x="45747" y="148355"/>
                    </a:cubicBezTo>
                    <a:close/>
                    <a:moveTo>
                      <a:pt x="45747" y="183420"/>
                    </a:moveTo>
                    <a:cubicBezTo>
                      <a:pt x="45747" y="179213"/>
                      <a:pt x="42403" y="175868"/>
                      <a:pt x="38195" y="175868"/>
                    </a:cubicBezTo>
                    <a:lnTo>
                      <a:pt x="7553" y="175868"/>
                    </a:lnTo>
                    <a:cubicBezTo>
                      <a:pt x="3345" y="175868"/>
                      <a:pt x="0" y="179213"/>
                      <a:pt x="0" y="183420"/>
                    </a:cubicBezTo>
                    <a:cubicBezTo>
                      <a:pt x="0" y="187628"/>
                      <a:pt x="3345" y="190973"/>
                      <a:pt x="7553" y="190973"/>
                    </a:cubicBezTo>
                    <a:lnTo>
                      <a:pt x="38195" y="190973"/>
                    </a:lnTo>
                    <a:cubicBezTo>
                      <a:pt x="42403" y="190973"/>
                      <a:pt x="45747" y="187628"/>
                      <a:pt x="45747" y="183420"/>
                    </a:cubicBezTo>
                    <a:close/>
                    <a:moveTo>
                      <a:pt x="45747" y="218486"/>
                    </a:moveTo>
                    <a:cubicBezTo>
                      <a:pt x="45747" y="214278"/>
                      <a:pt x="42403" y="210934"/>
                      <a:pt x="38195" y="210934"/>
                    </a:cubicBezTo>
                    <a:lnTo>
                      <a:pt x="7553" y="210934"/>
                    </a:lnTo>
                    <a:cubicBezTo>
                      <a:pt x="3345" y="210934"/>
                      <a:pt x="0" y="214278"/>
                      <a:pt x="0" y="218486"/>
                    </a:cubicBezTo>
                    <a:cubicBezTo>
                      <a:pt x="0" y="222694"/>
                      <a:pt x="3345" y="226039"/>
                      <a:pt x="7553" y="226039"/>
                    </a:cubicBezTo>
                    <a:lnTo>
                      <a:pt x="38195" y="226039"/>
                    </a:lnTo>
                    <a:cubicBezTo>
                      <a:pt x="42403" y="226039"/>
                      <a:pt x="45747" y="222694"/>
                      <a:pt x="45747" y="218486"/>
                    </a:cubicBezTo>
                    <a:close/>
                    <a:moveTo>
                      <a:pt x="45747" y="253552"/>
                    </a:moveTo>
                    <a:cubicBezTo>
                      <a:pt x="45747" y="249344"/>
                      <a:pt x="42403" y="245999"/>
                      <a:pt x="38195" y="245999"/>
                    </a:cubicBezTo>
                    <a:lnTo>
                      <a:pt x="7553" y="245999"/>
                    </a:lnTo>
                    <a:cubicBezTo>
                      <a:pt x="3345" y="245999"/>
                      <a:pt x="0" y="249344"/>
                      <a:pt x="0" y="253552"/>
                    </a:cubicBezTo>
                    <a:cubicBezTo>
                      <a:pt x="0" y="257760"/>
                      <a:pt x="3345" y="261104"/>
                      <a:pt x="7553" y="261104"/>
                    </a:cubicBezTo>
                    <a:lnTo>
                      <a:pt x="38195" y="261104"/>
                    </a:lnTo>
                    <a:cubicBezTo>
                      <a:pt x="42403" y="261104"/>
                      <a:pt x="45747" y="257760"/>
                      <a:pt x="45747" y="253552"/>
                    </a:cubicBezTo>
                    <a:close/>
                    <a:moveTo>
                      <a:pt x="160331" y="8416"/>
                    </a:moveTo>
                    <a:cubicBezTo>
                      <a:pt x="160331" y="4208"/>
                      <a:pt x="156986" y="863"/>
                      <a:pt x="152778" y="863"/>
                    </a:cubicBezTo>
                    <a:lnTo>
                      <a:pt x="72397" y="863"/>
                    </a:lnTo>
                    <a:cubicBezTo>
                      <a:pt x="68189" y="863"/>
                      <a:pt x="64844" y="4208"/>
                      <a:pt x="64844" y="8416"/>
                    </a:cubicBezTo>
                    <a:cubicBezTo>
                      <a:pt x="64844" y="12624"/>
                      <a:pt x="68189" y="15968"/>
                      <a:pt x="72397" y="15968"/>
                    </a:cubicBezTo>
                    <a:lnTo>
                      <a:pt x="152778" y="15968"/>
                    </a:lnTo>
                    <a:cubicBezTo>
                      <a:pt x="156986" y="15968"/>
                      <a:pt x="160331" y="12624"/>
                      <a:pt x="160331" y="8416"/>
                    </a:cubicBezTo>
                    <a:close/>
                    <a:moveTo>
                      <a:pt x="160331" y="43481"/>
                    </a:moveTo>
                    <a:cubicBezTo>
                      <a:pt x="160331" y="39274"/>
                      <a:pt x="156986" y="35929"/>
                      <a:pt x="152778" y="35929"/>
                    </a:cubicBezTo>
                    <a:lnTo>
                      <a:pt x="72397" y="35929"/>
                    </a:lnTo>
                    <a:cubicBezTo>
                      <a:pt x="68189" y="35929"/>
                      <a:pt x="64844" y="39274"/>
                      <a:pt x="64844" y="43481"/>
                    </a:cubicBezTo>
                    <a:cubicBezTo>
                      <a:pt x="64844" y="47689"/>
                      <a:pt x="68189" y="51034"/>
                      <a:pt x="72397" y="51034"/>
                    </a:cubicBezTo>
                    <a:lnTo>
                      <a:pt x="152778" y="51034"/>
                    </a:lnTo>
                    <a:cubicBezTo>
                      <a:pt x="156986" y="51034"/>
                      <a:pt x="160331" y="47689"/>
                      <a:pt x="160331" y="43481"/>
                    </a:cubicBezTo>
                    <a:close/>
                    <a:moveTo>
                      <a:pt x="160331" y="78547"/>
                    </a:moveTo>
                    <a:cubicBezTo>
                      <a:pt x="160331" y="74339"/>
                      <a:pt x="156986" y="70995"/>
                      <a:pt x="152778" y="70995"/>
                    </a:cubicBezTo>
                    <a:lnTo>
                      <a:pt x="72397" y="70995"/>
                    </a:lnTo>
                    <a:cubicBezTo>
                      <a:pt x="68189" y="70995"/>
                      <a:pt x="64844" y="74339"/>
                      <a:pt x="64844" y="78547"/>
                    </a:cubicBezTo>
                    <a:cubicBezTo>
                      <a:pt x="64844" y="82755"/>
                      <a:pt x="68189" y="86100"/>
                      <a:pt x="72397" y="86100"/>
                    </a:cubicBezTo>
                    <a:lnTo>
                      <a:pt x="152778" y="86100"/>
                    </a:lnTo>
                    <a:cubicBezTo>
                      <a:pt x="156986" y="86100"/>
                      <a:pt x="160331" y="82755"/>
                      <a:pt x="160331" y="78547"/>
                    </a:cubicBezTo>
                    <a:close/>
                    <a:moveTo>
                      <a:pt x="160331" y="113613"/>
                    </a:moveTo>
                    <a:cubicBezTo>
                      <a:pt x="160331" y="109405"/>
                      <a:pt x="156986" y="106060"/>
                      <a:pt x="152778" y="106060"/>
                    </a:cubicBezTo>
                    <a:lnTo>
                      <a:pt x="72397" y="106060"/>
                    </a:lnTo>
                    <a:cubicBezTo>
                      <a:pt x="68189" y="106060"/>
                      <a:pt x="64844" y="109405"/>
                      <a:pt x="64844" y="113613"/>
                    </a:cubicBezTo>
                    <a:cubicBezTo>
                      <a:pt x="64844" y="117821"/>
                      <a:pt x="68189" y="121165"/>
                      <a:pt x="72397" y="121165"/>
                    </a:cubicBezTo>
                    <a:lnTo>
                      <a:pt x="152778" y="121165"/>
                    </a:lnTo>
                    <a:cubicBezTo>
                      <a:pt x="156986" y="121165"/>
                      <a:pt x="160331" y="117821"/>
                      <a:pt x="160331" y="113613"/>
                    </a:cubicBezTo>
                    <a:close/>
                    <a:moveTo>
                      <a:pt x="160331" y="148678"/>
                    </a:moveTo>
                    <a:cubicBezTo>
                      <a:pt x="160331" y="144471"/>
                      <a:pt x="156986" y="141126"/>
                      <a:pt x="152778" y="141126"/>
                    </a:cubicBezTo>
                    <a:lnTo>
                      <a:pt x="72397" y="141126"/>
                    </a:lnTo>
                    <a:cubicBezTo>
                      <a:pt x="68189" y="141126"/>
                      <a:pt x="64844" y="144471"/>
                      <a:pt x="64844" y="148678"/>
                    </a:cubicBezTo>
                    <a:cubicBezTo>
                      <a:pt x="64844" y="152886"/>
                      <a:pt x="68189" y="156231"/>
                      <a:pt x="72397" y="156231"/>
                    </a:cubicBezTo>
                    <a:lnTo>
                      <a:pt x="152778" y="156231"/>
                    </a:lnTo>
                    <a:cubicBezTo>
                      <a:pt x="156986" y="156231"/>
                      <a:pt x="160331" y="152886"/>
                      <a:pt x="160331" y="148678"/>
                    </a:cubicBezTo>
                    <a:close/>
                    <a:moveTo>
                      <a:pt x="256573" y="183744"/>
                    </a:moveTo>
                    <a:cubicBezTo>
                      <a:pt x="256573" y="179536"/>
                      <a:pt x="253228" y="176192"/>
                      <a:pt x="249020" y="176192"/>
                    </a:cubicBezTo>
                    <a:lnTo>
                      <a:pt x="168639" y="176192"/>
                    </a:lnTo>
                    <a:cubicBezTo>
                      <a:pt x="164431" y="176192"/>
                      <a:pt x="161086" y="179536"/>
                      <a:pt x="161086" y="183744"/>
                    </a:cubicBezTo>
                    <a:cubicBezTo>
                      <a:pt x="161086" y="187952"/>
                      <a:pt x="164431" y="191297"/>
                      <a:pt x="168639" y="191297"/>
                    </a:cubicBezTo>
                    <a:lnTo>
                      <a:pt x="249020" y="191297"/>
                    </a:lnTo>
                    <a:cubicBezTo>
                      <a:pt x="253228" y="191297"/>
                      <a:pt x="256573" y="187952"/>
                      <a:pt x="256573" y="183744"/>
                    </a:cubicBezTo>
                    <a:close/>
                    <a:moveTo>
                      <a:pt x="256573" y="218810"/>
                    </a:moveTo>
                    <a:cubicBezTo>
                      <a:pt x="256573" y="214602"/>
                      <a:pt x="253228" y="211257"/>
                      <a:pt x="249020" y="211257"/>
                    </a:cubicBezTo>
                    <a:lnTo>
                      <a:pt x="168639" y="211257"/>
                    </a:lnTo>
                    <a:cubicBezTo>
                      <a:pt x="164431" y="211257"/>
                      <a:pt x="161086" y="214602"/>
                      <a:pt x="161086" y="218810"/>
                    </a:cubicBezTo>
                    <a:cubicBezTo>
                      <a:pt x="161086" y="223018"/>
                      <a:pt x="164431" y="226362"/>
                      <a:pt x="168639" y="226362"/>
                    </a:cubicBezTo>
                    <a:lnTo>
                      <a:pt x="249020" y="226362"/>
                    </a:lnTo>
                    <a:cubicBezTo>
                      <a:pt x="253228" y="226362"/>
                      <a:pt x="256573" y="223018"/>
                      <a:pt x="256573" y="218810"/>
                    </a:cubicBezTo>
                    <a:close/>
                    <a:moveTo>
                      <a:pt x="256573" y="253875"/>
                    </a:moveTo>
                    <a:cubicBezTo>
                      <a:pt x="256573" y="249668"/>
                      <a:pt x="253228" y="246323"/>
                      <a:pt x="249020" y="246323"/>
                    </a:cubicBezTo>
                    <a:lnTo>
                      <a:pt x="168639" y="246323"/>
                    </a:lnTo>
                    <a:cubicBezTo>
                      <a:pt x="164431" y="246323"/>
                      <a:pt x="161086" y="249668"/>
                      <a:pt x="161086" y="253875"/>
                    </a:cubicBezTo>
                    <a:cubicBezTo>
                      <a:pt x="161086" y="258083"/>
                      <a:pt x="164431" y="261428"/>
                      <a:pt x="168639" y="261428"/>
                    </a:cubicBezTo>
                    <a:lnTo>
                      <a:pt x="249020" y="261428"/>
                    </a:lnTo>
                    <a:cubicBezTo>
                      <a:pt x="253228" y="261428"/>
                      <a:pt x="256573" y="258083"/>
                      <a:pt x="256573" y="253875"/>
                    </a:cubicBezTo>
                    <a:close/>
                    <a:moveTo>
                      <a:pt x="195720" y="8740"/>
                    </a:moveTo>
                    <a:cubicBezTo>
                      <a:pt x="195720" y="3884"/>
                      <a:pt x="191836" y="0"/>
                      <a:pt x="186981" y="0"/>
                    </a:cubicBezTo>
                    <a:cubicBezTo>
                      <a:pt x="182126" y="0"/>
                      <a:pt x="178242" y="3884"/>
                      <a:pt x="178242" y="8740"/>
                    </a:cubicBezTo>
                    <a:cubicBezTo>
                      <a:pt x="178242" y="13595"/>
                      <a:pt x="182126" y="17479"/>
                      <a:pt x="186981" y="17479"/>
                    </a:cubicBezTo>
                    <a:cubicBezTo>
                      <a:pt x="191836" y="17479"/>
                      <a:pt x="195720" y="13595"/>
                      <a:pt x="195720" y="8740"/>
                    </a:cubicBezTo>
                    <a:close/>
                    <a:moveTo>
                      <a:pt x="221939" y="8740"/>
                    </a:moveTo>
                    <a:cubicBezTo>
                      <a:pt x="221939" y="3884"/>
                      <a:pt x="218055" y="0"/>
                      <a:pt x="213199" y="0"/>
                    </a:cubicBezTo>
                    <a:cubicBezTo>
                      <a:pt x="208344" y="0"/>
                      <a:pt x="204460" y="3884"/>
                      <a:pt x="204460" y="8740"/>
                    </a:cubicBezTo>
                    <a:cubicBezTo>
                      <a:pt x="204460" y="13595"/>
                      <a:pt x="208344" y="17479"/>
                      <a:pt x="213199" y="17479"/>
                    </a:cubicBezTo>
                    <a:cubicBezTo>
                      <a:pt x="218055" y="17479"/>
                      <a:pt x="221939" y="13595"/>
                      <a:pt x="221939" y="8740"/>
                    </a:cubicBezTo>
                    <a:close/>
                    <a:moveTo>
                      <a:pt x="248157" y="8740"/>
                    </a:moveTo>
                    <a:cubicBezTo>
                      <a:pt x="248157" y="3884"/>
                      <a:pt x="244273" y="0"/>
                      <a:pt x="239418" y="0"/>
                    </a:cubicBezTo>
                    <a:cubicBezTo>
                      <a:pt x="234562" y="0"/>
                      <a:pt x="230678" y="3884"/>
                      <a:pt x="230678" y="8740"/>
                    </a:cubicBezTo>
                    <a:cubicBezTo>
                      <a:pt x="230678" y="13595"/>
                      <a:pt x="234562" y="17479"/>
                      <a:pt x="239418" y="17479"/>
                    </a:cubicBezTo>
                    <a:cubicBezTo>
                      <a:pt x="244273" y="17479"/>
                      <a:pt x="248157" y="13595"/>
                      <a:pt x="248157" y="8740"/>
                    </a:cubicBezTo>
                    <a:close/>
                    <a:moveTo>
                      <a:pt x="274375" y="8740"/>
                    </a:moveTo>
                    <a:cubicBezTo>
                      <a:pt x="274375" y="3884"/>
                      <a:pt x="270491" y="0"/>
                      <a:pt x="265636" y="0"/>
                    </a:cubicBezTo>
                    <a:cubicBezTo>
                      <a:pt x="260781" y="0"/>
                      <a:pt x="256896" y="3884"/>
                      <a:pt x="256896" y="8740"/>
                    </a:cubicBezTo>
                    <a:cubicBezTo>
                      <a:pt x="256896" y="13595"/>
                      <a:pt x="260781" y="17479"/>
                      <a:pt x="265636" y="17479"/>
                    </a:cubicBezTo>
                    <a:cubicBezTo>
                      <a:pt x="270491" y="17479"/>
                      <a:pt x="274375" y="13595"/>
                      <a:pt x="274375" y="8740"/>
                    </a:cubicBezTo>
                    <a:close/>
                    <a:moveTo>
                      <a:pt x="300594" y="8740"/>
                    </a:moveTo>
                    <a:cubicBezTo>
                      <a:pt x="300594" y="3884"/>
                      <a:pt x="296710" y="0"/>
                      <a:pt x="291854" y="0"/>
                    </a:cubicBezTo>
                    <a:cubicBezTo>
                      <a:pt x="286999" y="0"/>
                      <a:pt x="283115" y="3884"/>
                      <a:pt x="283115" y="8740"/>
                    </a:cubicBezTo>
                    <a:cubicBezTo>
                      <a:pt x="283115" y="13595"/>
                      <a:pt x="286999" y="17479"/>
                      <a:pt x="291854" y="17479"/>
                    </a:cubicBezTo>
                    <a:cubicBezTo>
                      <a:pt x="296710" y="17479"/>
                      <a:pt x="300594" y="13595"/>
                      <a:pt x="300594" y="8740"/>
                    </a:cubicBezTo>
                    <a:close/>
                    <a:moveTo>
                      <a:pt x="326812" y="8740"/>
                    </a:moveTo>
                    <a:cubicBezTo>
                      <a:pt x="326812" y="3884"/>
                      <a:pt x="322928" y="0"/>
                      <a:pt x="318073" y="0"/>
                    </a:cubicBezTo>
                    <a:cubicBezTo>
                      <a:pt x="313217" y="0"/>
                      <a:pt x="309333" y="3884"/>
                      <a:pt x="309333" y="8740"/>
                    </a:cubicBezTo>
                    <a:cubicBezTo>
                      <a:pt x="309333" y="13595"/>
                      <a:pt x="313217" y="17479"/>
                      <a:pt x="318073" y="17479"/>
                    </a:cubicBezTo>
                    <a:cubicBezTo>
                      <a:pt x="322928" y="17479"/>
                      <a:pt x="326812" y="13595"/>
                      <a:pt x="326812" y="8740"/>
                    </a:cubicBezTo>
                    <a:close/>
                    <a:moveTo>
                      <a:pt x="195505" y="78763"/>
                    </a:moveTo>
                    <a:cubicBezTo>
                      <a:pt x="195505" y="73908"/>
                      <a:pt x="191620" y="70024"/>
                      <a:pt x="186765" y="70024"/>
                    </a:cubicBezTo>
                    <a:cubicBezTo>
                      <a:pt x="181910" y="70024"/>
                      <a:pt x="178026" y="73908"/>
                      <a:pt x="178026" y="78763"/>
                    </a:cubicBezTo>
                    <a:cubicBezTo>
                      <a:pt x="178026" y="83618"/>
                      <a:pt x="181910" y="87502"/>
                      <a:pt x="186765" y="87502"/>
                    </a:cubicBezTo>
                    <a:cubicBezTo>
                      <a:pt x="191620" y="87502"/>
                      <a:pt x="195505" y="83618"/>
                      <a:pt x="195505" y="78763"/>
                    </a:cubicBezTo>
                    <a:close/>
                    <a:moveTo>
                      <a:pt x="221723" y="78763"/>
                    </a:moveTo>
                    <a:cubicBezTo>
                      <a:pt x="221723" y="73908"/>
                      <a:pt x="217839" y="70024"/>
                      <a:pt x="212984" y="70024"/>
                    </a:cubicBezTo>
                    <a:cubicBezTo>
                      <a:pt x="208128" y="70024"/>
                      <a:pt x="204244" y="73908"/>
                      <a:pt x="204244" y="78763"/>
                    </a:cubicBezTo>
                    <a:cubicBezTo>
                      <a:pt x="204244" y="83618"/>
                      <a:pt x="208128" y="87502"/>
                      <a:pt x="212984" y="87502"/>
                    </a:cubicBezTo>
                    <a:cubicBezTo>
                      <a:pt x="217839" y="87502"/>
                      <a:pt x="221723" y="83618"/>
                      <a:pt x="221723" y="78763"/>
                    </a:cubicBezTo>
                    <a:close/>
                    <a:moveTo>
                      <a:pt x="247941" y="78763"/>
                    </a:moveTo>
                    <a:cubicBezTo>
                      <a:pt x="247941" y="73908"/>
                      <a:pt x="244057" y="70024"/>
                      <a:pt x="239202" y="70024"/>
                    </a:cubicBezTo>
                    <a:cubicBezTo>
                      <a:pt x="234347" y="70024"/>
                      <a:pt x="230462" y="73908"/>
                      <a:pt x="230462" y="78763"/>
                    </a:cubicBezTo>
                    <a:cubicBezTo>
                      <a:pt x="230462" y="83618"/>
                      <a:pt x="234347" y="87502"/>
                      <a:pt x="239202" y="87502"/>
                    </a:cubicBezTo>
                    <a:cubicBezTo>
                      <a:pt x="244057" y="87502"/>
                      <a:pt x="247941" y="83618"/>
                      <a:pt x="247941" y="78763"/>
                    </a:cubicBezTo>
                    <a:close/>
                    <a:moveTo>
                      <a:pt x="274160" y="78763"/>
                    </a:moveTo>
                    <a:cubicBezTo>
                      <a:pt x="274160" y="73908"/>
                      <a:pt x="270275" y="70024"/>
                      <a:pt x="265420" y="70024"/>
                    </a:cubicBezTo>
                    <a:cubicBezTo>
                      <a:pt x="260565" y="70024"/>
                      <a:pt x="256681" y="73908"/>
                      <a:pt x="256681" y="78763"/>
                    </a:cubicBezTo>
                    <a:cubicBezTo>
                      <a:pt x="256681" y="83618"/>
                      <a:pt x="260565" y="87502"/>
                      <a:pt x="265420" y="87502"/>
                    </a:cubicBezTo>
                    <a:cubicBezTo>
                      <a:pt x="270275" y="87502"/>
                      <a:pt x="274160" y="83618"/>
                      <a:pt x="274160" y="78763"/>
                    </a:cubicBezTo>
                    <a:close/>
                    <a:moveTo>
                      <a:pt x="300378" y="78763"/>
                    </a:moveTo>
                    <a:cubicBezTo>
                      <a:pt x="300378" y="73908"/>
                      <a:pt x="296494" y="70024"/>
                      <a:pt x="291638" y="70024"/>
                    </a:cubicBezTo>
                    <a:cubicBezTo>
                      <a:pt x="286783" y="70024"/>
                      <a:pt x="282899" y="73908"/>
                      <a:pt x="282899" y="78763"/>
                    </a:cubicBezTo>
                    <a:cubicBezTo>
                      <a:pt x="282899" y="83618"/>
                      <a:pt x="286783" y="87502"/>
                      <a:pt x="291638" y="87502"/>
                    </a:cubicBezTo>
                    <a:cubicBezTo>
                      <a:pt x="296494" y="87502"/>
                      <a:pt x="300378" y="83618"/>
                      <a:pt x="300378" y="78763"/>
                    </a:cubicBezTo>
                    <a:close/>
                    <a:moveTo>
                      <a:pt x="326596" y="78763"/>
                    </a:moveTo>
                    <a:cubicBezTo>
                      <a:pt x="326596" y="73908"/>
                      <a:pt x="322712" y="70024"/>
                      <a:pt x="317857" y="70024"/>
                    </a:cubicBezTo>
                    <a:cubicBezTo>
                      <a:pt x="313002" y="70024"/>
                      <a:pt x="309117" y="73908"/>
                      <a:pt x="309117" y="78763"/>
                    </a:cubicBezTo>
                    <a:cubicBezTo>
                      <a:pt x="309117" y="83618"/>
                      <a:pt x="313002" y="87502"/>
                      <a:pt x="317857" y="87502"/>
                    </a:cubicBezTo>
                    <a:cubicBezTo>
                      <a:pt x="322712" y="87502"/>
                      <a:pt x="326596" y="83618"/>
                      <a:pt x="326596" y="78763"/>
                    </a:cubicBezTo>
                    <a:close/>
                    <a:moveTo>
                      <a:pt x="285057" y="179428"/>
                    </a:moveTo>
                    <a:cubicBezTo>
                      <a:pt x="285057" y="174573"/>
                      <a:pt x="281173" y="170689"/>
                      <a:pt x="276318" y="170689"/>
                    </a:cubicBezTo>
                    <a:cubicBezTo>
                      <a:pt x="271462" y="170689"/>
                      <a:pt x="267578" y="174573"/>
                      <a:pt x="267578" y="179428"/>
                    </a:cubicBezTo>
                    <a:cubicBezTo>
                      <a:pt x="267578" y="184284"/>
                      <a:pt x="271462" y="188168"/>
                      <a:pt x="276318" y="188168"/>
                    </a:cubicBezTo>
                    <a:cubicBezTo>
                      <a:pt x="281173" y="188168"/>
                      <a:pt x="285057" y="184284"/>
                      <a:pt x="285057" y="179428"/>
                    </a:cubicBezTo>
                    <a:close/>
                    <a:moveTo>
                      <a:pt x="311275" y="179428"/>
                    </a:moveTo>
                    <a:cubicBezTo>
                      <a:pt x="311275" y="174573"/>
                      <a:pt x="307391" y="170689"/>
                      <a:pt x="302536" y="170689"/>
                    </a:cubicBezTo>
                    <a:cubicBezTo>
                      <a:pt x="297681" y="170689"/>
                      <a:pt x="293796" y="174573"/>
                      <a:pt x="293796" y="179428"/>
                    </a:cubicBezTo>
                    <a:cubicBezTo>
                      <a:pt x="293796" y="184284"/>
                      <a:pt x="297681" y="188168"/>
                      <a:pt x="302536" y="188168"/>
                    </a:cubicBezTo>
                    <a:cubicBezTo>
                      <a:pt x="307391" y="188168"/>
                      <a:pt x="311275" y="184284"/>
                      <a:pt x="311275" y="179428"/>
                    </a:cubicBezTo>
                    <a:close/>
                    <a:moveTo>
                      <a:pt x="337494" y="179428"/>
                    </a:moveTo>
                    <a:cubicBezTo>
                      <a:pt x="337494" y="174573"/>
                      <a:pt x="333609" y="170689"/>
                      <a:pt x="328754" y="170689"/>
                    </a:cubicBezTo>
                    <a:cubicBezTo>
                      <a:pt x="323899" y="170689"/>
                      <a:pt x="320015" y="174573"/>
                      <a:pt x="320015" y="179428"/>
                    </a:cubicBezTo>
                    <a:cubicBezTo>
                      <a:pt x="320015" y="184284"/>
                      <a:pt x="323899" y="188168"/>
                      <a:pt x="328754" y="188168"/>
                    </a:cubicBezTo>
                    <a:cubicBezTo>
                      <a:pt x="333609" y="188168"/>
                      <a:pt x="337494" y="184284"/>
                      <a:pt x="337494" y="179428"/>
                    </a:cubicBezTo>
                    <a:close/>
                    <a:moveTo>
                      <a:pt x="363712" y="179428"/>
                    </a:moveTo>
                    <a:cubicBezTo>
                      <a:pt x="363712" y="174573"/>
                      <a:pt x="359828" y="170689"/>
                      <a:pt x="354972" y="170689"/>
                    </a:cubicBezTo>
                    <a:cubicBezTo>
                      <a:pt x="350117" y="170689"/>
                      <a:pt x="346233" y="174573"/>
                      <a:pt x="346233" y="179428"/>
                    </a:cubicBezTo>
                    <a:cubicBezTo>
                      <a:pt x="346233" y="184284"/>
                      <a:pt x="350117" y="188168"/>
                      <a:pt x="354972" y="188168"/>
                    </a:cubicBezTo>
                    <a:cubicBezTo>
                      <a:pt x="359828" y="188168"/>
                      <a:pt x="363712" y="184284"/>
                      <a:pt x="363712" y="179428"/>
                    </a:cubicBezTo>
                    <a:close/>
                    <a:moveTo>
                      <a:pt x="389930" y="179428"/>
                    </a:moveTo>
                    <a:cubicBezTo>
                      <a:pt x="389930" y="174573"/>
                      <a:pt x="386046" y="170689"/>
                      <a:pt x="381191" y="170689"/>
                    </a:cubicBezTo>
                    <a:cubicBezTo>
                      <a:pt x="376336" y="170689"/>
                      <a:pt x="372451" y="174573"/>
                      <a:pt x="372451" y="179428"/>
                    </a:cubicBezTo>
                    <a:cubicBezTo>
                      <a:pt x="372451" y="184284"/>
                      <a:pt x="376336" y="188168"/>
                      <a:pt x="381191" y="188168"/>
                    </a:cubicBezTo>
                    <a:cubicBezTo>
                      <a:pt x="386046" y="188168"/>
                      <a:pt x="389930" y="184284"/>
                      <a:pt x="389930" y="179428"/>
                    </a:cubicBezTo>
                    <a:close/>
                    <a:moveTo>
                      <a:pt x="416149" y="179428"/>
                    </a:moveTo>
                    <a:cubicBezTo>
                      <a:pt x="416149" y="174573"/>
                      <a:pt x="412264" y="170689"/>
                      <a:pt x="407409" y="170689"/>
                    </a:cubicBezTo>
                    <a:cubicBezTo>
                      <a:pt x="402554" y="170689"/>
                      <a:pt x="398670" y="174573"/>
                      <a:pt x="398670" y="179428"/>
                    </a:cubicBezTo>
                    <a:cubicBezTo>
                      <a:pt x="398670" y="184284"/>
                      <a:pt x="402554" y="188168"/>
                      <a:pt x="407409" y="188168"/>
                    </a:cubicBezTo>
                    <a:cubicBezTo>
                      <a:pt x="412264" y="188168"/>
                      <a:pt x="416149" y="184284"/>
                      <a:pt x="416149" y="179428"/>
                    </a:cubicBezTo>
                    <a:close/>
                    <a:moveTo>
                      <a:pt x="284841" y="251610"/>
                    </a:moveTo>
                    <a:cubicBezTo>
                      <a:pt x="284841" y="246754"/>
                      <a:pt x="280957" y="242870"/>
                      <a:pt x="276102" y="242870"/>
                    </a:cubicBezTo>
                    <a:cubicBezTo>
                      <a:pt x="271246" y="242870"/>
                      <a:pt x="267362" y="246754"/>
                      <a:pt x="267362" y="251610"/>
                    </a:cubicBezTo>
                    <a:cubicBezTo>
                      <a:pt x="267362" y="256465"/>
                      <a:pt x="271246" y="260349"/>
                      <a:pt x="276102" y="260349"/>
                    </a:cubicBezTo>
                    <a:cubicBezTo>
                      <a:pt x="280957" y="260349"/>
                      <a:pt x="284841" y="256465"/>
                      <a:pt x="284841" y="251610"/>
                    </a:cubicBezTo>
                    <a:close/>
                    <a:moveTo>
                      <a:pt x="311060" y="251610"/>
                    </a:moveTo>
                    <a:cubicBezTo>
                      <a:pt x="311060" y="246754"/>
                      <a:pt x="307175" y="242870"/>
                      <a:pt x="302320" y="242870"/>
                    </a:cubicBezTo>
                    <a:cubicBezTo>
                      <a:pt x="297465" y="242870"/>
                      <a:pt x="293581" y="246754"/>
                      <a:pt x="293581" y="251610"/>
                    </a:cubicBezTo>
                    <a:cubicBezTo>
                      <a:pt x="293581" y="256465"/>
                      <a:pt x="297465" y="260349"/>
                      <a:pt x="302320" y="260349"/>
                    </a:cubicBezTo>
                    <a:cubicBezTo>
                      <a:pt x="307175" y="260349"/>
                      <a:pt x="311060" y="256465"/>
                      <a:pt x="311060" y="251610"/>
                    </a:cubicBezTo>
                    <a:close/>
                    <a:moveTo>
                      <a:pt x="337278" y="251610"/>
                    </a:moveTo>
                    <a:cubicBezTo>
                      <a:pt x="337278" y="246754"/>
                      <a:pt x="333394" y="242870"/>
                      <a:pt x="328538" y="242870"/>
                    </a:cubicBezTo>
                    <a:cubicBezTo>
                      <a:pt x="323683" y="242870"/>
                      <a:pt x="319799" y="246754"/>
                      <a:pt x="319799" y="251610"/>
                    </a:cubicBezTo>
                    <a:cubicBezTo>
                      <a:pt x="319799" y="256465"/>
                      <a:pt x="323683" y="260349"/>
                      <a:pt x="328538" y="260349"/>
                    </a:cubicBezTo>
                    <a:cubicBezTo>
                      <a:pt x="333394" y="260349"/>
                      <a:pt x="337278" y="256465"/>
                      <a:pt x="337278" y="251610"/>
                    </a:cubicBezTo>
                    <a:close/>
                    <a:moveTo>
                      <a:pt x="363496" y="251610"/>
                    </a:moveTo>
                    <a:cubicBezTo>
                      <a:pt x="363496" y="246754"/>
                      <a:pt x="359612" y="242870"/>
                      <a:pt x="354757" y="242870"/>
                    </a:cubicBezTo>
                    <a:cubicBezTo>
                      <a:pt x="349902" y="242870"/>
                      <a:pt x="346017" y="246754"/>
                      <a:pt x="346017" y="251610"/>
                    </a:cubicBezTo>
                    <a:cubicBezTo>
                      <a:pt x="346017" y="256465"/>
                      <a:pt x="349902" y="260349"/>
                      <a:pt x="354757" y="260349"/>
                    </a:cubicBezTo>
                    <a:cubicBezTo>
                      <a:pt x="359612" y="260349"/>
                      <a:pt x="363496" y="256465"/>
                      <a:pt x="363496" y="251610"/>
                    </a:cubicBezTo>
                    <a:close/>
                    <a:moveTo>
                      <a:pt x="389714" y="251610"/>
                    </a:moveTo>
                    <a:cubicBezTo>
                      <a:pt x="389714" y="246754"/>
                      <a:pt x="385830" y="242870"/>
                      <a:pt x="380975" y="242870"/>
                    </a:cubicBezTo>
                    <a:cubicBezTo>
                      <a:pt x="376120" y="242870"/>
                      <a:pt x="372236" y="246754"/>
                      <a:pt x="372236" y="251610"/>
                    </a:cubicBezTo>
                    <a:cubicBezTo>
                      <a:pt x="372236" y="256465"/>
                      <a:pt x="376120" y="260349"/>
                      <a:pt x="380975" y="260349"/>
                    </a:cubicBezTo>
                    <a:cubicBezTo>
                      <a:pt x="385830" y="260349"/>
                      <a:pt x="389714" y="256465"/>
                      <a:pt x="389714" y="251610"/>
                    </a:cubicBezTo>
                    <a:close/>
                    <a:moveTo>
                      <a:pt x="415933" y="251610"/>
                    </a:moveTo>
                    <a:cubicBezTo>
                      <a:pt x="415933" y="246754"/>
                      <a:pt x="412049" y="242870"/>
                      <a:pt x="407193" y="242870"/>
                    </a:cubicBezTo>
                    <a:cubicBezTo>
                      <a:pt x="402338" y="242870"/>
                      <a:pt x="398454" y="246754"/>
                      <a:pt x="398454" y="251610"/>
                    </a:cubicBezTo>
                    <a:cubicBezTo>
                      <a:pt x="398454" y="256465"/>
                      <a:pt x="402338" y="260349"/>
                      <a:pt x="407193" y="260349"/>
                    </a:cubicBezTo>
                    <a:cubicBezTo>
                      <a:pt x="412049" y="260349"/>
                      <a:pt x="415933" y="256465"/>
                      <a:pt x="415933" y="25161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1" name="Полилиния: фигура 1620">
                <a:extLst>
                  <a:ext uri="{FF2B5EF4-FFF2-40B4-BE49-F238E27FC236}">
                    <a16:creationId xmlns:a16="http://schemas.microsoft.com/office/drawing/2014/main" id="{58C2D789-A27E-4114-A70D-0A271EA83427}"/>
                  </a:ext>
                </a:extLst>
              </p:cNvPr>
              <p:cNvSpPr/>
              <p:nvPr/>
            </p:nvSpPr>
            <p:spPr>
              <a:xfrm>
                <a:off x="1963626" y="2138426"/>
                <a:ext cx="416148" cy="261428"/>
              </a:xfrm>
              <a:custGeom>
                <a:avLst/>
                <a:gdLst>
                  <a:gd name="connsiteX0" fmla="*/ 38195 w 416148"/>
                  <a:gd name="connsiteY0" fmla="*/ 15753 h 261428"/>
                  <a:gd name="connsiteX1" fmla="*/ 7553 w 416148"/>
                  <a:gd name="connsiteY1" fmla="*/ 15753 h 261428"/>
                  <a:gd name="connsiteX2" fmla="*/ 0 w 416148"/>
                  <a:gd name="connsiteY2" fmla="*/ 8200 h 261428"/>
                  <a:gd name="connsiteX3" fmla="*/ 7553 w 416148"/>
                  <a:gd name="connsiteY3" fmla="*/ 647 h 261428"/>
                  <a:gd name="connsiteX4" fmla="*/ 38195 w 416148"/>
                  <a:gd name="connsiteY4" fmla="*/ 647 h 261428"/>
                  <a:gd name="connsiteX5" fmla="*/ 45747 w 416148"/>
                  <a:gd name="connsiteY5" fmla="*/ 8200 h 261428"/>
                  <a:gd name="connsiteX6" fmla="*/ 38195 w 416148"/>
                  <a:gd name="connsiteY6" fmla="*/ 15753 h 261428"/>
                  <a:gd name="connsiteX7" fmla="*/ 45747 w 416148"/>
                  <a:gd name="connsiteY7" fmla="*/ 43158 h 261428"/>
                  <a:gd name="connsiteX8" fmla="*/ 38195 w 416148"/>
                  <a:gd name="connsiteY8" fmla="*/ 35605 h 261428"/>
                  <a:gd name="connsiteX9" fmla="*/ 7553 w 416148"/>
                  <a:gd name="connsiteY9" fmla="*/ 35605 h 261428"/>
                  <a:gd name="connsiteX10" fmla="*/ 0 w 416148"/>
                  <a:gd name="connsiteY10" fmla="*/ 43158 h 261428"/>
                  <a:gd name="connsiteX11" fmla="*/ 7553 w 416148"/>
                  <a:gd name="connsiteY11" fmla="*/ 50710 h 261428"/>
                  <a:gd name="connsiteX12" fmla="*/ 38195 w 416148"/>
                  <a:gd name="connsiteY12" fmla="*/ 50710 h 261428"/>
                  <a:gd name="connsiteX13" fmla="*/ 45747 w 416148"/>
                  <a:gd name="connsiteY13" fmla="*/ 43158 h 261428"/>
                  <a:gd name="connsiteX14" fmla="*/ 45747 w 416148"/>
                  <a:gd name="connsiteY14" fmla="*/ 78223 h 261428"/>
                  <a:gd name="connsiteX15" fmla="*/ 38195 w 416148"/>
                  <a:gd name="connsiteY15" fmla="*/ 70671 h 261428"/>
                  <a:gd name="connsiteX16" fmla="*/ 7553 w 416148"/>
                  <a:gd name="connsiteY16" fmla="*/ 70671 h 261428"/>
                  <a:gd name="connsiteX17" fmla="*/ 0 w 416148"/>
                  <a:gd name="connsiteY17" fmla="*/ 78223 h 261428"/>
                  <a:gd name="connsiteX18" fmla="*/ 7553 w 416148"/>
                  <a:gd name="connsiteY18" fmla="*/ 85776 h 261428"/>
                  <a:gd name="connsiteX19" fmla="*/ 38195 w 416148"/>
                  <a:gd name="connsiteY19" fmla="*/ 85776 h 261428"/>
                  <a:gd name="connsiteX20" fmla="*/ 45747 w 416148"/>
                  <a:gd name="connsiteY20" fmla="*/ 78223 h 261428"/>
                  <a:gd name="connsiteX21" fmla="*/ 45747 w 416148"/>
                  <a:gd name="connsiteY21" fmla="*/ 113289 h 261428"/>
                  <a:gd name="connsiteX22" fmla="*/ 38195 w 416148"/>
                  <a:gd name="connsiteY22" fmla="*/ 105737 h 261428"/>
                  <a:gd name="connsiteX23" fmla="*/ 7553 w 416148"/>
                  <a:gd name="connsiteY23" fmla="*/ 105737 h 261428"/>
                  <a:gd name="connsiteX24" fmla="*/ 0 w 416148"/>
                  <a:gd name="connsiteY24" fmla="*/ 113289 h 261428"/>
                  <a:gd name="connsiteX25" fmla="*/ 7553 w 416148"/>
                  <a:gd name="connsiteY25" fmla="*/ 120842 h 261428"/>
                  <a:gd name="connsiteX26" fmla="*/ 38195 w 416148"/>
                  <a:gd name="connsiteY26" fmla="*/ 120842 h 261428"/>
                  <a:gd name="connsiteX27" fmla="*/ 45747 w 416148"/>
                  <a:gd name="connsiteY27" fmla="*/ 113289 h 261428"/>
                  <a:gd name="connsiteX28" fmla="*/ 45747 w 416148"/>
                  <a:gd name="connsiteY28" fmla="*/ 148355 h 261428"/>
                  <a:gd name="connsiteX29" fmla="*/ 38195 w 416148"/>
                  <a:gd name="connsiteY29" fmla="*/ 140802 h 261428"/>
                  <a:gd name="connsiteX30" fmla="*/ 7553 w 416148"/>
                  <a:gd name="connsiteY30" fmla="*/ 140802 h 261428"/>
                  <a:gd name="connsiteX31" fmla="*/ 0 w 416148"/>
                  <a:gd name="connsiteY31" fmla="*/ 148355 h 261428"/>
                  <a:gd name="connsiteX32" fmla="*/ 7553 w 416148"/>
                  <a:gd name="connsiteY32" fmla="*/ 155907 h 261428"/>
                  <a:gd name="connsiteX33" fmla="*/ 38195 w 416148"/>
                  <a:gd name="connsiteY33" fmla="*/ 155907 h 261428"/>
                  <a:gd name="connsiteX34" fmla="*/ 45747 w 416148"/>
                  <a:gd name="connsiteY34" fmla="*/ 148355 h 261428"/>
                  <a:gd name="connsiteX35" fmla="*/ 45747 w 416148"/>
                  <a:gd name="connsiteY35" fmla="*/ 183420 h 261428"/>
                  <a:gd name="connsiteX36" fmla="*/ 38195 w 416148"/>
                  <a:gd name="connsiteY36" fmla="*/ 175868 h 261428"/>
                  <a:gd name="connsiteX37" fmla="*/ 7553 w 416148"/>
                  <a:gd name="connsiteY37" fmla="*/ 175868 h 261428"/>
                  <a:gd name="connsiteX38" fmla="*/ 0 w 416148"/>
                  <a:gd name="connsiteY38" fmla="*/ 183420 h 261428"/>
                  <a:gd name="connsiteX39" fmla="*/ 7553 w 416148"/>
                  <a:gd name="connsiteY39" fmla="*/ 190973 h 261428"/>
                  <a:gd name="connsiteX40" fmla="*/ 38195 w 416148"/>
                  <a:gd name="connsiteY40" fmla="*/ 190973 h 261428"/>
                  <a:gd name="connsiteX41" fmla="*/ 45747 w 416148"/>
                  <a:gd name="connsiteY41" fmla="*/ 183420 h 261428"/>
                  <a:gd name="connsiteX42" fmla="*/ 45747 w 416148"/>
                  <a:gd name="connsiteY42" fmla="*/ 218486 h 261428"/>
                  <a:gd name="connsiteX43" fmla="*/ 38195 w 416148"/>
                  <a:gd name="connsiteY43" fmla="*/ 210934 h 261428"/>
                  <a:gd name="connsiteX44" fmla="*/ 7553 w 416148"/>
                  <a:gd name="connsiteY44" fmla="*/ 210934 h 261428"/>
                  <a:gd name="connsiteX45" fmla="*/ 0 w 416148"/>
                  <a:gd name="connsiteY45" fmla="*/ 218486 h 261428"/>
                  <a:gd name="connsiteX46" fmla="*/ 7553 w 416148"/>
                  <a:gd name="connsiteY46" fmla="*/ 226039 h 261428"/>
                  <a:gd name="connsiteX47" fmla="*/ 38195 w 416148"/>
                  <a:gd name="connsiteY47" fmla="*/ 226039 h 261428"/>
                  <a:gd name="connsiteX48" fmla="*/ 45747 w 416148"/>
                  <a:gd name="connsiteY48" fmla="*/ 218486 h 261428"/>
                  <a:gd name="connsiteX49" fmla="*/ 45747 w 416148"/>
                  <a:gd name="connsiteY49" fmla="*/ 253552 h 261428"/>
                  <a:gd name="connsiteX50" fmla="*/ 38195 w 416148"/>
                  <a:gd name="connsiteY50" fmla="*/ 245999 h 261428"/>
                  <a:gd name="connsiteX51" fmla="*/ 7553 w 416148"/>
                  <a:gd name="connsiteY51" fmla="*/ 245999 h 261428"/>
                  <a:gd name="connsiteX52" fmla="*/ 0 w 416148"/>
                  <a:gd name="connsiteY52" fmla="*/ 253552 h 261428"/>
                  <a:gd name="connsiteX53" fmla="*/ 7553 w 416148"/>
                  <a:gd name="connsiteY53" fmla="*/ 261104 h 261428"/>
                  <a:gd name="connsiteX54" fmla="*/ 38195 w 416148"/>
                  <a:gd name="connsiteY54" fmla="*/ 261104 h 261428"/>
                  <a:gd name="connsiteX55" fmla="*/ 45747 w 416148"/>
                  <a:gd name="connsiteY55" fmla="*/ 253552 h 261428"/>
                  <a:gd name="connsiteX56" fmla="*/ 160331 w 416148"/>
                  <a:gd name="connsiteY56" fmla="*/ 8416 h 261428"/>
                  <a:gd name="connsiteX57" fmla="*/ 152778 w 416148"/>
                  <a:gd name="connsiteY57" fmla="*/ 863 h 261428"/>
                  <a:gd name="connsiteX58" fmla="*/ 72397 w 416148"/>
                  <a:gd name="connsiteY58" fmla="*/ 863 h 261428"/>
                  <a:gd name="connsiteX59" fmla="*/ 64844 w 416148"/>
                  <a:gd name="connsiteY59" fmla="*/ 8416 h 261428"/>
                  <a:gd name="connsiteX60" fmla="*/ 72397 w 416148"/>
                  <a:gd name="connsiteY60" fmla="*/ 15968 h 261428"/>
                  <a:gd name="connsiteX61" fmla="*/ 152778 w 416148"/>
                  <a:gd name="connsiteY61" fmla="*/ 15968 h 261428"/>
                  <a:gd name="connsiteX62" fmla="*/ 160331 w 416148"/>
                  <a:gd name="connsiteY62" fmla="*/ 8416 h 261428"/>
                  <a:gd name="connsiteX63" fmla="*/ 160331 w 416148"/>
                  <a:gd name="connsiteY63" fmla="*/ 43482 h 261428"/>
                  <a:gd name="connsiteX64" fmla="*/ 152778 w 416148"/>
                  <a:gd name="connsiteY64" fmla="*/ 35929 h 261428"/>
                  <a:gd name="connsiteX65" fmla="*/ 72397 w 416148"/>
                  <a:gd name="connsiteY65" fmla="*/ 35929 h 261428"/>
                  <a:gd name="connsiteX66" fmla="*/ 64844 w 416148"/>
                  <a:gd name="connsiteY66" fmla="*/ 43482 h 261428"/>
                  <a:gd name="connsiteX67" fmla="*/ 72397 w 416148"/>
                  <a:gd name="connsiteY67" fmla="*/ 51034 h 261428"/>
                  <a:gd name="connsiteX68" fmla="*/ 152778 w 416148"/>
                  <a:gd name="connsiteY68" fmla="*/ 51034 h 261428"/>
                  <a:gd name="connsiteX69" fmla="*/ 160331 w 416148"/>
                  <a:gd name="connsiteY69" fmla="*/ 43482 h 261428"/>
                  <a:gd name="connsiteX70" fmla="*/ 160331 w 416148"/>
                  <a:gd name="connsiteY70" fmla="*/ 78547 h 261428"/>
                  <a:gd name="connsiteX71" fmla="*/ 152778 w 416148"/>
                  <a:gd name="connsiteY71" fmla="*/ 70995 h 261428"/>
                  <a:gd name="connsiteX72" fmla="*/ 72397 w 416148"/>
                  <a:gd name="connsiteY72" fmla="*/ 70995 h 261428"/>
                  <a:gd name="connsiteX73" fmla="*/ 64844 w 416148"/>
                  <a:gd name="connsiteY73" fmla="*/ 78547 h 261428"/>
                  <a:gd name="connsiteX74" fmla="*/ 72397 w 416148"/>
                  <a:gd name="connsiteY74" fmla="*/ 86100 h 261428"/>
                  <a:gd name="connsiteX75" fmla="*/ 152778 w 416148"/>
                  <a:gd name="connsiteY75" fmla="*/ 86100 h 261428"/>
                  <a:gd name="connsiteX76" fmla="*/ 160331 w 416148"/>
                  <a:gd name="connsiteY76" fmla="*/ 78547 h 261428"/>
                  <a:gd name="connsiteX77" fmla="*/ 160331 w 416148"/>
                  <a:gd name="connsiteY77" fmla="*/ 113613 h 261428"/>
                  <a:gd name="connsiteX78" fmla="*/ 152778 w 416148"/>
                  <a:gd name="connsiteY78" fmla="*/ 106060 h 261428"/>
                  <a:gd name="connsiteX79" fmla="*/ 72397 w 416148"/>
                  <a:gd name="connsiteY79" fmla="*/ 106060 h 261428"/>
                  <a:gd name="connsiteX80" fmla="*/ 64844 w 416148"/>
                  <a:gd name="connsiteY80" fmla="*/ 113613 h 261428"/>
                  <a:gd name="connsiteX81" fmla="*/ 72397 w 416148"/>
                  <a:gd name="connsiteY81" fmla="*/ 121165 h 261428"/>
                  <a:gd name="connsiteX82" fmla="*/ 152778 w 416148"/>
                  <a:gd name="connsiteY82" fmla="*/ 121165 h 261428"/>
                  <a:gd name="connsiteX83" fmla="*/ 160331 w 416148"/>
                  <a:gd name="connsiteY83" fmla="*/ 113613 h 261428"/>
                  <a:gd name="connsiteX84" fmla="*/ 160331 w 416148"/>
                  <a:gd name="connsiteY84" fmla="*/ 148678 h 261428"/>
                  <a:gd name="connsiteX85" fmla="*/ 152778 w 416148"/>
                  <a:gd name="connsiteY85" fmla="*/ 141126 h 261428"/>
                  <a:gd name="connsiteX86" fmla="*/ 72397 w 416148"/>
                  <a:gd name="connsiteY86" fmla="*/ 141126 h 261428"/>
                  <a:gd name="connsiteX87" fmla="*/ 64844 w 416148"/>
                  <a:gd name="connsiteY87" fmla="*/ 148678 h 261428"/>
                  <a:gd name="connsiteX88" fmla="*/ 72397 w 416148"/>
                  <a:gd name="connsiteY88" fmla="*/ 156231 h 261428"/>
                  <a:gd name="connsiteX89" fmla="*/ 152778 w 416148"/>
                  <a:gd name="connsiteY89" fmla="*/ 156231 h 261428"/>
                  <a:gd name="connsiteX90" fmla="*/ 160331 w 416148"/>
                  <a:gd name="connsiteY90" fmla="*/ 148678 h 261428"/>
                  <a:gd name="connsiteX91" fmla="*/ 256573 w 416148"/>
                  <a:gd name="connsiteY91" fmla="*/ 183744 h 261428"/>
                  <a:gd name="connsiteX92" fmla="*/ 249020 w 416148"/>
                  <a:gd name="connsiteY92" fmla="*/ 176192 h 261428"/>
                  <a:gd name="connsiteX93" fmla="*/ 168639 w 416148"/>
                  <a:gd name="connsiteY93" fmla="*/ 176192 h 261428"/>
                  <a:gd name="connsiteX94" fmla="*/ 161086 w 416148"/>
                  <a:gd name="connsiteY94" fmla="*/ 183744 h 261428"/>
                  <a:gd name="connsiteX95" fmla="*/ 168639 w 416148"/>
                  <a:gd name="connsiteY95" fmla="*/ 191297 h 261428"/>
                  <a:gd name="connsiteX96" fmla="*/ 249020 w 416148"/>
                  <a:gd name="connsiteY96" fmla="*/ 191297 h 261428"/>
                  <a:gd name="connsiteX97" fmla="*/ 256573 w 416148"/>
                  <a:gd name="connsiteY97" fmla="*/ 183744 h 261428"/>
                  <a:gd name="connsiteX98" fmla="*/ 256573 w 416148"/>
                  <a:gd name="connsiteY98" fmla="*/ 218810 h 261428"/>
                  <a:gd name="connsiteX99" fmla="*/ 249020 w 416148"/>
                  <a:gd name="connsiteY99" fmla="*/ 211257 h 261428"/>
                  <a:gd name="connsiteX100" fmla="*/ 168639 w 416148"/>
                  <a:gd name="connsiteY100" fmla="*/ 211257 h 261428"/>
                  <a:gd name="connsiteX101" fmla="*/ 161086 w 416148"/>
                  <a:gd name="connsiteY101" fmla="*/ 218810 h 261428"/>
                  <a:gd name="connsiteX102" fmla="*/ 168639 w 416148"/>
                  <a:gd name="connsiteY102" fmla="*/ 226363 h 261428"/>
                  <a:gd name="connsiteX103" fmla="*/ 249020 w 416148"/>
                  <a:gd name="connsiteY103" fmla="*/ 226363 h 261428"/>
                  <a:gd name="connsiteX104" fmla="*/ 256573 w 416148"/>
                  <a:gd name="connsiteY104" fmla="*/ 218810 h 261428"/>
                  <a:gd name="connsiteX105" fmla="*/ 256573 w 416148"/>
                  <a:gd name="connsiteY105" fmla="*/ 253875 h 261428"/>
                  <a:gd name="connsiteX106" fmla="*/ 249020 w 416148"/>
                  <a:gd name="connsiteY106" fmla="*/ 246323 h 261428"/>
                  <a:gd name="connsiteX107" fmla="*/ 168639 w 416148"/>
                  <a:gd name="connsiteY107" fmla="*/ 246323 h 261428"/>
                  <a:gd name="connsiteX108" fmla="*/ 161086 w 416148"/>
                  <a:gd name="connsiteY108" fmla="*/ 253875 h 261428"/>
                  <a:gd name="connsiteX109" fmla="*/ 168639 w 416148"/>
                  <a:gd name="connsiteY109" fmla="*/ 261428 h 261428"/>
                  <a:gd name="connsiteX110" fmla="*/ 249020 w 416148"/>
                  <a:gd name="connsiteY110" fmla="*/ 261428 h 261428"/>
                  <a:gd name="connsiteX111" fmla="*/ 256573 w 416148"/>
                  <a:gd name="connsiteY111" fmla="*/ 253875 h 261428"/>
                  <a:gd name="connsiteX112" fmla="*/ 195720 w 416148"/>
                  <a:gd name="connsiteY112" fmla="*/ 8740 h 261428"/>
                  <a:gd name="connsiteX113" fmla="*/ 186981 w 416148"/>
                  <a:gd name="connsiteY113" fmla="*/ 0 h 261428"/>
                  <a:gd name="connsiteX114" fmla="*/ 178242 w 416148"/>
                  <a:gd name="connsiteY114" fmla="*/ 8740 h 261428"/>
                  <a:gd name="connsiteX115" fmla="*/ 186981 w 416148"/>
                  <a:gd name="connsiteY115" fmla="*/ 17479 h 261428"/>
                  <a:gd name="connsiteX116" fmla="*/ 195720 w 416148"/>
                  <a:gd name="connsiteY116" fmla="*/ 8740 h 261428"/>
                  <a:gd name="connsiteX117" fmla="*/ 221939 w 416148"/>
                  <a:gd name="connsiteY117" fmla="*/ 8740 h 261428"/>
                  <a:gd name="connsiteX118" fmla="*/ 213199 w 416148"/>
                  <a:gd name="connsiteY118" fmla="*/ 0 h 261428"/>
                  <a:gd name="connsiteX119" fmla="*/ 204460 w 416148"/>
                  <a:gd name="connsiteY119" fmla="*/ 8740 h 261428"/>
                  <a:gd name="connsiteX120" fmla="*/ 213199 w 416148"/>
                  <a:gd name="connsiteY120" fmla="*/ 17479 h 261428"/>
                  <a:gd name="connsiteX121" fmla="*/ 221939 w 416148"/>
                  <a:gd name="connsiteY121" fmla="*/ 8740 h 261428"/>
                  <a:gd name="connsiteX122" fmla="*/ 248157 w 416148"/>
                  <a:gd name="connsiteY122" fmla="*/ 8740 h 261428"/>
                  <a:gd name="connsiteX123" fmla="*/ 239418 w 416148"/>
                  <a:gd name="connsiteY123" fmla="*/ 0 h 261428"/>
                  <a:gd name="connsiteX124" fmla="*/ 230678 w 416148"/>
                  <a:gd name="connsiteY124" fmla="*/ 8740 h 261428"/>
                  <a:gd name="connsiteX125" fmla="*/ 239418 w 416148"/>
                  <a:gd name="connsiteY125" fmla="*/ 17479 h 261428"/>
                  <a:gd name="connsiteX126" fmla="*/ 248157 w 416148"/>
                  <a:gd name="connsiteY126" fmla="*/ 8740 h 261428"/>
                  <a:gd name="connsiteX127" fmla="*/ 274375 w 416148"/>
                  <a:gd name="connsiteY127" fmla="*/ 8740 h 261428"/>
                  <a:gd name="connsiteX128" fmla="*/ 265636 w 416148"/>
                  <a:gd name="connsiteY128" fmla="*/ 0 h 261428"/>
                  <a:gd name="connsiteX129" fmla="*/ 256896 w 416148"/>
                  <a:gd name="connsiteY129" fmla="*/ 8740 h 261428"/>
                  <a:gd name="connsiteX130" fmla="*/ 265636 w 416148"/>
                  <a:gd name="connsiteY130" fmla="*/ 17479 h 261428"/>
                  <a:gd name="connsiteX131" fmla="*/ 274375 w 416148"/>
                  <a:gd name="connsiteY131" fmla="*/ 8740 h 261428"/>
                  <a:gd name="connsiteX132" fmla="*/ 300594 w 416148"/>
                  <a:gd name="connsiteY132" fmla="*/ 8740 h 261428"/>
                  <a:gd name="connsiteX133" fmla="*/ 291854 w 416148"/>
                  <a:gd name="connsiteY133" fmla="*/ 0 h 261428"/>
                  <a:gd name="connsiteX134" fmla="*/ 283115 w 416148"/>
                  <a:gd name="connsiteY134" fmla="*/ 8740 h 261428"/>
                  <a:gd name="connsiteX135" fmla="*/ 291854 w 416148"/>
                  <a:gd name="connsiteY135" fmla="*/ 17479 h 261428"/>
                  <a:gd name="connsiteX136" fmla="*/ 300594 w 416148"/>
                  <a:gd name="connsiteY136" fmla="*/ 8740 h 261428"/>
                  <a:gd name="connsiteX137" fmla="*/ 326812 w 416148"/>
                  <a:gd name="connsiteY137" fmla="*/ 8740 h 261428"/>
                  <a:gd name="connsiteX138" fmla="*/ 318073 w 416148"/>
                  <a:gd name="connsiteY138" fmla="*/ 0 h 261428"/>
                  <a:gd name="connsiteX139" fmla="*/ 309333 w 416148"/>
                  <a:gd name="connsiteY139" fmla="*/ 8740 h 261428"/>
                  <a:gd name="connsiteX140" fmla="*/ 318073 w 416148"/>
                  <a:gd name="connsiteY140" fmla="*/ 17479 h 261428"/>
                  <a:gd name="connsiteX141" fmla="*/ 326812 w 416148"/>
                  <a:gd name="connsiteY141" fmla="*/ 8740 h 261428"/>
                  <a:gd name="connsiteX142" fmla="*/ 195505 w 416148"/>
                  <a:gd name="connsiteY142" fmla="*/ 78763 h 261428"/>
                  <a:gd name="connsiteX143" fmla="*/ 186765 w 416148"/>
                  <a:gd name="connsiteY143" fmla="*/ 70024 h 261428"/>
                  <a:gd name="connsiteX144" fmla="*/ 178026 w 416148"/>
                  <a:gd name="connsiteY144" fmla="*/ 78763 h 261428"/>
                  <a:gd name="connsiteX145" fmla="*/ 186765 w 416148"/>
                  <a:gd name="connsiteY145" fmla="*/ 87502 h 261428"/>
                  <a:gd name="connsiteX146" fmla="*/ 195505 w 416148"/>
                  <a:gd name="connsiteY146" fmla="*/ 78763 h 261428"/>
                  <a:gd name="connsiteX147" fmla="*/ 221723 w 416148"/>
                  <a:gd name="connsiteY147" fmla="*/ 78763 h 261428"/>
                  <a:gd name="connsiteX148" fmla="*/ 212984 w 416148"/>
                  <a:gd name="connsiteY148" fmla="*/ 70024 h 261428"/>
                  <a:gd name="connsiteX149" fmla="*/ 204244 w 416148"/>
                  <a:gd name="connsiteY149" fmla="*/ 78763 h 261428"/>
                  <a:gd name="connsiteX150" fmla="*/ 212984 w 416148"/>
                  <a:gd name="connsiteY150" fmla="*/ 87502 h 261428"/>
                  <a:gd name="connsiteX151" fmla="*/ 221723 w 416148"/>
                  <a:gd name="connsiteY151" fmla="*/ 78763 h 261428"/>
                  <a:gd name="connsiteX152" fmla="*/ 247941 w 416148"/>
                  <a:gd name="connsiteY152" fmla="*/ 78763 h 261428"/>
                  <a:gd name="connsiteX153" fmla="*/ 239202 w 416148"/>
                  <a:gd name="connsiteY153" fmla="*/ 70024 h 261428"/>
                  <a:gd name="connsiteX154" fmla="*/ 230462 w 416148"/>
                  <a:gd name="connsiteY154" fmla="*/ 78763 h 261428"/>
                  <a:gd name="connsiteX155" fmla="*/ 239202 w 416148"/>
                  <a:gd name="connsiteY155" fmla="*/ 87502 h 261428"/>
                  <a:gd name="connsiteX156" fmla="*/ 247941 w 416148"/>
                  <a:gd name="connsiteY156" fmla="*/ 78763 h 261428"/>
                  <a:gd name="connsiteX157" fmla="*/ 274160 w 416148"/>
                  <a:gd name="connsiteY157" fmla="*/ 78763 h 261428"/>
                  <a:gd name="connsiteX158" fmla="*/ 265420 w 416148"/>
                  <a:gd name="connsiteY158" fmla="*/ 70024 h 261428"/>
                  <a:gd name="connsiteX159" fmla="*/ 256681 w 416148"/>
                  <a:gd name="connsiteY159" fmla="*/ 78763 h 261428"/>
                  <a:gd name="connsiteX160" fmla="*/ 265420 w 416148"/>
                  <a:gd name="connsiteY160" fmla="*/ 87502 h 261428"/>
                  <a:gd name="connsiteX161" fmla="*/ 274160 w 416148"/>
                  <a:gd name="connsiteY161" fmla="*/ 78763 h 261428"/>
                  <a:gd name="connsiteX162" fmla="*/ 300378 w 416148"/>
                  <a:gd name="connsiteY162" fmla="*/ 78763 h 261428"/>
                  <a:gd name="connsiteX163" fmla="*/ 291638 w 416148"/>
                  <a:gd name="connsiteY163" fmla="*/ 70024 h 261428"/>
                  <a:gd name="connsiteX164" fmla="*/ 282899 w 416148"/>
                  <a:gd name="connsiteY164" fmla="*/ 78763 h 261428"/>
                  <a:gd name="connsiteX165" fmla="*/ 291638 w 416148"/>
                  <a:gd name="connsiteY165" fmla="*/ 87502 h 261428"/>
                  <a:gd name="connsiteX166" fmla="*/ 300378 w 416148"/>
                  <a:gd name="connsiteY166" fmla="*/ 78763 h 261428"/>
                  <a:gd name="connsiteX167" fmla="*/ 326596 w 416148"/>
                  <a:gd name="connsiteY167" fmla="*/ 78763 h 261428"/>
                  <a:gd name="connsiteX168" fmla="*/ 317857 w 416148"/>
                  <a:gd name="connsiteY168" fmla="*/ 70024 h 261428"/>
                  <a:gd name="connsiteX169" fmla="*/ 309117 w 416148"/>
                  <a:gd name="connsiteY169" fmla="*/ 78763 h 261428"/>
                  <a:gd name="connsiteX170" fmla="*/ 317857 w 416148"/>
                  <a:gd name="connsiteY170" fmla="*/ 87502 h 261428"/>
                  <a:gd name="connsiteX171" fmla="*/ 326596 w 416148"/>
                  <a:gd name="connsiteY171" fmla="*/ 78763 h 261428"/>
                  <a:gd name="connsiteX172" fmla="*/ 285057 w 416148"/>
                  <a:gd name="connsiteY172" fmla="*/ 179428 h 261428"/>
                  <a:gd name="connsiteX173" fmla="*/ 276318 w 416148"/>
                  <a:gd name="connsiteY173" fmla="*/ 170689 h 261428"/>
                  <a:gd name="connsiteX174" fmla="*/ 267578 w 416148"/>
                  <a:gd name="connsiteY174" fmla="*/ 179428 h 261428"/>
                  <a:gd name="connsiteX175" fmla="*/ 276318 w 416148"/>
                  <a:gd name="connsiteY175" fmla="*/ 188168 h 261428"/>
                  <a:gd name="connsiteX176" fmla="*/ 285057 w 416148"/>
                  <a:gd name="connsiteY176" fmla="*/ 179428 h 261428"/>
                  <a:gd name="connsiteX177" fmla="*/ 311275 w 416148"/>
                  <a:gd name="connsiteY177" fmla="*/ 179428 h 261428"/>
                  <a:gd name="connsiteX178" fmla="*/ 302536 w 416148"/>
                  <a:gd name="connsiteY178" fmla="*/ 170689 h 261428"/>
                  <a:gd name="connsiteX179" fmla="*/ 293796 w 416148"/>
                  <a:gd name="connsiteY179" fmla="*/ 179428 h 261428"/>
                  <a:gd name="connsiteX180" fmla="*/ 302536 w 416148"/>
                  <a:gd name="connsiteY180" fmla="*/ 188168 h 261428"/>
                  <a:gd name="connsiteX181" fmla="*/ 311275 w 416148"/>
                  <a:gd name="connsiteY181" fmla="*/ 179428 h 261428"/>
                  <a:gd name="connsiteX182" fmla="*/ 337494 w 416148"/>
                  <a:gd name="connsiteY182" fmla="*/ 179428 h 261428"/>
                  <a:gd name="connsiteX183" fmla="*/ 328754 w 416148"/>
                  <a:gd name="connsiteY183" fmla="*/ 170689 h 261428"/>
                  <a:gd name="connsiteX184" fmla="*/ 320015 w 416148"/>
                  <a:gd name="connsiteY184" fmla="*/ 179428 h 261428"/>
                  <a:gd name="connsiteX185" fmla="*/ 328754 w 416148"/>
                  <a:gd name="connsiteY185" fmla="*/ 188168 h 261428"/>
                  <a:gd name="connsiteX186" fmla="*/ 337494 w 416148"/>
                  <a:gd name="connsiteY186" fmla="*/ 179428 h 261428"/>
                  <a:gd name="connsiteX187" fmla="*/ 363712 w 416148"/>
                  <a:gd name="connsiteY187" fmla="*/ 179428 h 261428"/>
                  <a:gd name="connsiteX188" fmla="*/ 354972 w 416148"/>
                  <a:gd name="connsiteY188" fmla="*/ 170689 h 261428"/>
                  <a:gd name="connsiteX189" fmla="*/ 346233 w 416148"/>
                  <a:gd name="connsiteY189" fmla="*/ 179428 h 261428"/>
                  <a:gd name="connsiteX190" fmla="*/ 354972 w 416148"/>
                  <a:gd name="connsiteY190" fmla="*/ 188168 h 261428"/>
                  <a:gd name="connsiteX191" fmla="*/ 363712 w 416148"/>
                  <a:gd name="connsiteY191" fmla="*/ 179428 h 261428"/>
                  <a:gd name="connsiteX192" fmla="*/ 389930 w 416148"/>
                  <a:gd name="connsiteY192" fmla="*/ 179428 h 261428"/>
                  <a:gd name="connsiteX193" fmla="*/ 381191 w 416148"/>
                  <a:gd name="connsiteY193" fmla="*/ 170689 h 261428"/>
                  <a:gd name="connsiteX194" fmla="*/ 372451 w 416148"/>
                  <a:gd name="connsiteY194" fmla="*/ 179428 h 261428"/>
                  <a:gd name="connsiteX195" fmla="*/ 381191 w 416148"/>
                  <a:gd name="connsiteY195" fmla="*/ 188168 h 261428"/>
                  <a:gd name="connsiteX196" fmla="*/ 389930 w 416148"/>
                  <a:gd name="connsiteY196" fmla="*/ 179428 h 261428"/>
                  <a:gd name="connsiteX197" fmla="*/ 416149 w 416148"/>
                  <a:gd name="connsiteY197" fmla="*/ 179428 h 261428"/>
                  <a:gd name="connsiteX198" fmla="*/ 407409 w 416148"/>
                  <a:gd name="connsiteY198" fmla="*/ 170689 h 261428"/>
                  <a:gd name="connsiteX199" fmla="*/ 398670 w 416148"/>
                  <a:gd name="connsiteY199" fmla="*/ 179428 h 261428"/>
                  <a:gd name="connsiteX200" fmla="*/ 407409 w 416148"/>
                  <a:gd name="connsiteY200" fmla="*/ 188168 h 261428"/>
                  <a:gd name="connsiteX201" fmla="*/ 416149 w 416148"/>
                  <a:gd name="connsiteY201" fmla="*/ 179428 h 261428"/>
                  <a:gd name="connsiteX202" fmla="*/ 284841 w 416148"/>
                  <a:gd name="connsiteY202" fmla="*/ 251610 h 261428"/>
                  <a:gd name="connsiteX203" fmla="*/ 276102 w 416148"/>
                  <a:gd name="connsiteY203" fmla="*/ 242870 h 261428"/>
                  <a:gd name="connsiteX204" fmla="*/ 267362 w 416148"/>
                  <a:gd name="connsiteY204" fmla="*/ 251610 h 261428"/>
                  <a:gd name="connsiteX205" fmla="*/ 276102 w 416148"/>
                  <a:gd name="connsiteY205" fmla="*/ 260349 h 261428"/>
                  <a:gd name="connsiteX206" fmla="*/ 284841 w 416148"/>
                  <a:gd name="connsiteY206" fmla="*/ 251610 h 261428"/>
                  <a:gd name="connsiteX207" fmla="*/ 311060 w 416148"/>
                  <a:gd name="connsiteY207" fmla="*/ 251610 h 261428"/>
                  <a:gd name="connsiteX208" fmla="*/ 302320 w 416148"/>
                  <a:gd name="connsiteY208" fmla="*/ 242870 h 261428"/>
                  <a:gd name="connsiteX209" fmla="*/ 293581 w 416148"/>
                  <a:gd name="connsiteY209" fmla="*/ 251610 h 261428"/>
                  <a:gd name="connsiteX210" fmla="*/ 302320 w 416148"/>
                  <a:gd name="connsiteY210" fmla="*/ 260349 h 261428"/>
                  <a:gd name="connsiteX211" fmla="*/ 311060 w 416148"/>
                  <a:gd name="connsiteY211" fmla="*/ 251610 h 261428"/>
                  <a:gd name="connsiteX212" fmla="*/ 337278 w 416148"/>
                  <a:gd name="connsiteY212" fmla="*/ 251610 h 261428"/>
                  <a:gd name="connsiteX213" fmla="*/ 328538 w 416148"/>
                  <a:gd name="connsiteY213" fmla="*/ 242870 h 261428"/>
                  <a:gd name="connsiteX214" fmla="*/ 319799 w 416148"/>
                  <a:gd name="connsiteY214" fmla="*/ 251610 h 261428"/>
                  <a:gd name="connsiteX215" fmla="*/ 328538 w 416148"/>
                  <a:gd name="connsiteY215" fmla="*/ 260349 h 261428"/>
                  <a:gd name="connsiteX216" fmla="*/ 337278 w 416148"/>
                  <a:gd name="connsiteY216" fmla="*/ 251610 h 261428"/>
                  <a:gd name="connsiteX217" fmla="*/ 363496 w 416148"/>
                  <a:gd name="connsiteY217" fmla="*/ 251610 h 261428"/>
                  <a:gd name="connsiteX218" fmla="*/ 354757 w 416148"/>
                  <a:gd name="connsiteY218" fmla="*/ 242870 h 261428"/>
                  <a:gd name="connsiteX219" fmla="*/ 346017 w 416148"/>
                  <a:gd name="connsiteY219" fmla="*/ 251610 h 261428"/>
                  <a:gd name="connsiteX220" fmla="*/ 354757 w 416148"/>
                  <a:gd name="connsiteY220" fmla="*/ 260349 h 261428"/>
                  <a:gd name="connsiteX221" fmla="*/ 363496 w 416148"/>
                  <a:gd name="connsiteY221" fmla="*/ 251610 h 261428"/>
                  <a:gd name="connsiteX222" fmla="*/ 389714 w 416148"/>
                  <a:gd name="connsiteY222" fmla="*/ 251610 h 261428"/>
                  <a:gd name="connsiteX223" fmla="*/ 380975 w 416148"/>
                  <a:gd name="connsiteY223" fmla="*/ 242870 h 261428"/>
                  <a:gd name="connsiteX224" fmla="*/ 372236 w 416148"/>
                  <a:gd name="connsiteY224" fmla="*/ 251610 h 261428"/>
                  <a:gd name="connsiteX225" fmla="*/ 380975 w 416148"/>
                  <a:gd name="connsiteY225" fmla="*/ 260349 h 261428"/>
                  <a:gd name="connsiteX226" fmla="*/ 389714 w 416148"/>
                  <a:gd name="connsiteY226" fmla="*/ 251610 h 261428"/>
                  <a:gd name="connsiteX227" fmla="*/ 415933 w 416148"/>
                  <a:gd name="connsiteY227" fmla="*/ 251610 h 261428"/>
                  <a:gd name="connsiteX228" fmla="*/ 407193 w 416148"/>
                  <a:gd name="connsiteY228" fmla="*/ 242870 h 261428"/>
                  <a:gd name="connsiteX229" fmla="*/ 398454 w 416148"/>
                  <a:gd name="connsiteY229" fmla="*/ 251610 h 261428"/>
                  <a:gd name="connsiteX230" fmla="*/ 407193 w 416148"/>
                  <a:gd name="connsiteY230" fmla="*/ 260349 h 261428"/>
                  <a:gd name="connsiteX231" fmla="*/ 415933 w 416148"/>
                  <a:gd name="connsiteY231" fmla="*/ 251610 h 26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416148" h="261428">
                    <a:moveTo>
                      <a:pt x="38195" y="15753"/>
                    </a:moveTo>
                    <a:lnTo>
                      <a:pt x="7553" y="15753"/>
                    </a:lnTo>
                    <a:cubicBezTo>
                      <a:pt x="3345" y="15753"/>
                      <a:pt x="0" y="12408"/>
                      <a:pt x="0" y="8200"/>
                    </a:cubicBezTo>
                    <a:cubicBezTo>
                      <a:pt x="0" y="3992"/>
                      <a:pt x="3345" y="647"/>
                      <a:pt x="7553" y="647"/>
                    </a:cubicBezTo>
                    <a:lnTo>
                      <a:pt x="38195" y="647"/>
                    </a:lnTo>
                    <a:cubicBezTo>
                      <a:pt x="42403" y="647"/>
                      <a:pt x="45747" y="3992"/>
                      <a:pt x="45747" y="8200"/>
                    </a:cubicBezTo>
                    <a:cubicBezTo>
                      <a:pt x="45747" y="12408"/>
                      <a:pt x="42403" y="15753"/>
                      <a:pt x="38195" y="15753"/>
                    </a:cubicBezTo>
                    <a:close/>
                    <a:moveTo>
                      <a:pt x="45747" y="43158"/>
                    </a:moveTo>
                    <a:cubicBezTo>
                      <a:pt x="45747" y="38950"/>
                      <a:pt x="42403" y="35605"/>
                      <a:pt x="38195" y="35605"/>
                    </a:cubicBezTo>
                    <a:lnTo>
                      <a:pt x="7553" y="35605"/>
                    </a:lnTo>
                    <a:cubicBezTo>
                      <a:pt x="3345" y="35605"/>
                      <a:pt x="0" y="38950"/>
                      <a:pt x="0" y="43158"/>
                    </a:cubicBezTo>
                    <a:cubicBezTo>
                      <a:pt x="0" y="47366"/>
                      <a:pt x="3345" y="50710"/>
                      <a:pt x="7553" y="50710"/>
                    </a:cubicBezTo>
                    <a:lnTo>
                      <a:pt x="38195" y="50710"/>
                    </a:lnTo>
                    <a:cubicBezTo>
                      <a:pt x="42403" y="50710"/>
                      <a:pt x="45747" y="47366"/>
                      <a:pt x="45747" y="43158"/>
                    </a:cubicBezTo>
                    <a:close/>
                    <a:moveTo>
                      <a:pt x="45747" y="78223"/>
                    </a:moveTo>
                    <a:cubicBezTo>
                      <a:pt x="45747" y="74016"/>
                      <a:pt x="42403" y="70671"/>
                      <a:pt x="38195" y="70671"/>
                    </a:cubicBezTo>
                    <a:lnTo>
                      <a:pt x="7553" y="70671"/>
                    </a:lnTo>
                    <a:cubicBezTo>
                      <a:pt x="3345" y="70671"/>
                      <a:pt x="0" y="74016"/>
                      <a:pt x="0" y="78223"/>
                    </a:cubicBezTo>
                    <a:cubicBezTo>
                      <a:pt x="0" y="82431"/>
                      <a:pt x="3345" y="85776"/>
                      <a:pt x="7553" y="85776"/>
                    </a:cubicBezTo>
                    <a:lnTo>
                      <a:pt x="38195" y="85776"/>
                    </a:lnTo>
                    <a:cubicBezTo>
                      <a:pt x="42403" y="85776"/>
                      <a:pt x="45747" y="82431"/>
                      <a:pt x="45747" y="78223"/>
                    </a:cubicBezTo>
                    <a:close/>
                    <a:moveTo>
                      <a:pt x="45747" y="113289"/>
                    </a:moveTo>
                    <a:cubicBezTo>
                      <a:pt x="45747" y="109081"/>
                      <a:pt x="42403" y="105737"/>
                      <a:pt x="38195" y="105737"/>
                    </a:cubicBezTo>
                    <a:lnTo>
                      <a:pt x="7553" y="105737"/>
                    </a:lnTo>
                    <a:cubicBezTo>
                      <a:pt x="3345" y="105737"/>
                      <a:pt x="0" y="109081"/>
                      <a:pt x="0" y="113289"/>
                    </a:cubicBezTo>
                    <a:cubicBezTo>
                      <a:pt x="0" y="117497"/>
                      <a:pt x="3345" y="120842"/>
                      <a:pt x="7553" y="120842"/>
                    </a:cubicBezTo>
                    <a:lnTo>
                      <a:pt x="38195" y="120842"/>
                    </a:lnTo>
                    <a:cubicBezTo>
                      <a:pt x="42403" y="120842"/>
                      <a:pt x="45747" y="117497"/>
                      <a:pt x="45747" y="113289"/>
                    </a:cubicBezTo>
                    <a:close/>
                    <a:moveTo>
                      <a:pt x="45747" y="148355"/>
                    </a:moveTo>
                    <a:cubicBezTo>
                      <a:pt x="45747" y="144147"/>
                      <a:pt x="42403" y="140802"/>
                      <a:pt x="38195" y="140802"/>
                    </a:cubicBezTo>
                    <a:lnTo>
                      <a:pt x="7553" y="140802"/>
                    </a:lnTo>
                    <a:cubicBezTo>
                      <a:pt x="3345" y="140802"/>
                      <a:pt x="0" y="144147"/>
                      <a:pt x="0" y="148355"/>
                    </a:cubicBezTo>
                    <a:cubicBezTo>
                      <a:pt x="0" y="152563"/>
                      <a:pt x="3345" y="155907"/>
                      <a:pt x="7553" y="155907"/>
                    </a:cubicBezTo>
                    <a:lnTo>
                      <a:pt x="38195" y="155907"/>
                    </a:lnTo>
                    <a:cubicBezTo>
                      <a:pt x="42403" y="155907"/>
                      <a:pt x="45747" y="152563"/>
                      <a:pt x="45747" y="148355"/>
                    </a:cubicBezTo>
                    <a:close/>
                    <a:moveTo>
                      <a:pt x="45747" y="183420"/>
                    </a:moveTo>
                    <a:cubicBezTo>
                      <a:pt x="45747" y="179213"/>
                      <a:pt x="42403" y="175868"/>
                      <a:pt x="38195" y="175868"/>
                    </a:cubicBezTo>
                    <a:lnTo>
                      <a:pt x="7553" y="175868"/>
                    </a:lnTo>
                    <a:cubicBezTo>
                      <a:pt x="3345" y="175868"/>
                      <a:pt x="0" y="179213"/>
                      <a:pt x="0" y="183420"/>
                    </a:cubicBezTo>
                    <a:cubicBezTo>
                      <a:pt x="0" y="187628"/>
                      <a:pt x="3345" y="190973"/>
                      <a:pt x="7553" y="190973"/>
                    </a:cubicBezTo>
                    <a:lnTo>
                      <a:pt x="38195" y="190973"/>
                    </a:lnTo>
                    <a:cubicBezTo>
                      <a:pt x="42403" y="190973"/>
                      <a:pt x="45747" y="187628"/>
                      <a:pt x="45747" y="183420"/>
                    </a:cubicBezTo>
                    <a:close/>
                    <a:moveTo>
                      <a:pt x="45747" y="218486"/>
                    </a:moveTo>
                    <a:cubicBezTo>
                      <a:pt x="45747" y="214278"/>
                      <a:pt x="42403" y="210934"/>
                      <a:pt x="38195" y="210934"/>
                    </a:cubicBezTo>
                    <a:lnTo>
                      <a:pt x="7553" y="210934"/>
                    </a:lnTo>
                    <a:cubicBezTo>
                      <a:pt x="3345" y="210934"/>
                      <a:pt x="0" y="214278"/>
                      <a:pt x="0" y="218486"/>
                    </a:cubicBezTo>
                    <a:cubicBezTo>
                      <a:pt x="0" y="222694"/>
                      <a:pt x="3345" y="226039"/>
                      <a:pt x="7553" y="226039"/>
                    </a:cubicBezTo>
                    <a:lnTo>
                      <a:pt x="38195" y="226039"/>
                    </a:lnTo>
                    <a:cubicBezTo>
                      <a:pt x="42403" y="226039"/>
                      <a:pt x="45747" y="222694"/>
                      <a:pt x="45747" y="218486"/>
                    </a:cubicBezTo>
                    <a:close/>
                    <a:moveTo>
                      <a:pt x="45747" y="253552"/>
                    </a:moveTo>
                    <a:cubicBezTo>
                      <a:pt x="45747" y="249344"/>
                      <a:pt x="42403" y="245999"/>
                      <a:pt x="38195" y="245999"/>
                    </a:cubicBezTo>
                    <a:lnTo>
                      <a:pt x="7553" y="245999"/>
                    </a:lnTo>
                    <a:cubicBezTo>
                      <a:pt x="3345" y="245999"/>
                      <a:pt x="0" y="249344"/>
                      <a:pt x="0" y="253552"/>
                    </a:cubicBezTo>
                    <a:cubicBezTo>
                      <a:pt x="0" y="257760"/>
                      <a:pt x="3345" y="261104"/>
                      <a:pt x="7553" y="261104"/>
                    </a:cubicBezTo>
                    <a:lnTo>
                      <a:pt x="38195" y="261104"/>
                    </a:lnTo>
                    <a:cubicBezTo>
                      <a:pt x="42403" y="261104"/>
                      <a:pt x="45747" y="257760"/>
                      <a:pt x="45747" y="253552"/>
                    </a:cubicBezTo>
                    <a:close/>
                    <a:moveTo>
                      <a:pt x="160331" y="8416"/>
                    </a:moveTo>
                    <a:cubicBezTo>
                      <a:pt x="160331" y="4208"/>
                      <a:pt x="156986" y="863"/>
                      <a:pt x="152778" y="863"/>
                    </a:cubicBezTo>
                    <a:lnTo>
                      <a:pt x="72397" y="863"/>
                    </a:lnTo>
                    <a:cubicBezTo>
                      <a:pt x="68189" y="863"/>
                      <a:pt x="64844" y="4208"/>
                      <a:pt x="64844" y="8416"/>
                    </a:cubicBezTo>
                    <a:cubicBezTo>
                      <a:pt x="64844" y="12624"/>
                      <a:pt x="68189" y="15968"/>
                      <a:pt x="72397" y="15968"/>
                    </a:cubicBezTo>
                    <a:lnTo>
                      <a:pt x="152778" y="15968"/>
                    </a:lnTo>
                    <a:cubicBezTo>
                      <a:pt x="156986" y="15968"/>
                      <a:pt x="160331" y="12624"/>
                      <a:pt x="160331" y="8416"/>
                    </a:cubicBezTo>
                    <a:close/>
                    <a:moveTo>
                      <a:pt x="160331" y="43482"/>
                    </a:moveTo>
                    <a:cubicBezTo>
                      <a:pt x="160331" y="39274"/>
                      <a:pt x="156986" y="35929"/>
                      <a:pt x="152778" y="35929"/>
                    </a:cubicBezTo>
                    <a:lnTo>
                      <a:pt x="72397" y="35929"/>
                    </a:lnTo>
                    <a:cubicBezTo>
                      <a:pt x="68189" y="35929"/>
                      <a:pt x="64844" y="39274"/>
                      <a:pt x="64844" y="43482"/>
                    </a:cubicBezTo>
                    <a:cubicBezTo>
                      <a:pt x="64844" y="47689"/>
                      <a:pt x="68189" y="51034"/>
                      <a:pt x="72397" y="51034"/>
                    </a:cubicBezTo>
                    <a:lnTo>
                      <a:pt x="152778" y="51034"/>
                    </a:lnTo>
                    <a:cubicBezTo>
                      <a:pt x="156986" y="51034"/>
                      <a:pt x="160331" y="47689"/>
                      <a:pt x="160331" y="43482"/>
                    </a:cubicBezTo>
                    <a:close/>
                    <a:moveTo>
                      <a:pt x="160331" y="78547"/>
                    </a:moveTo>
                    <a:cubicBezTo>
                      <a:pt x="160331" y="74339"/>
                      <a:pt x="156986" y="70995"/>
                      <a:pt x="152778" y="70995"/>
                    </a:cubicBezTo>
                    <a:lnTo>
                      <a:pt x="72397" y="70995"/>
                    </a:lnTo>
                    <a:cubicBezTo>
                      <a:pt x="68189" y="70995"/>
                      <a:pt x="64844" y="74339"/>
                      <a:pt x="64844" y="78547"/>
                    </a:cubicBezTo>
                    <a:cubicBezTo>
                      <a:pt x="64844" y="82755"/>
                      <a:pt x="68189" y="86100"/>
                      <a:pt x="72397" y="86100"/>
                    </a:cubicBezTo>
                    <a:lnTo>
                      <a:pt x="152778" y="86100"/>
                    </a:lnTo>
                    <a:cubicBezTo>
                      <a:pt x="156986" y="86100"/>
                      <a:pt x="160331" y="82755"/>
                      <a:pt x="160331" y="78547"/>
                    </a:cubicBezTo>
                    <a:close/>
                    <a:moveTo>
                      <a:pt x="160331" y="113613"/>
                    </a:moveTo>
                    <a:cubicBezTo>
                      <a:pt x="160331" y="109405"/>
                      <a:pt x="156986" y="106060"/>
                      <a:pt x="152778" y="106060"/>
                    </a:cubicBezTo>
                    <a:lnTo>
                      <a:pt x="72397" y="106060"/>
                    </a:lnTo>
                    <a:cubicBezTo>
                      <a:pt x="68189" y="106060"/>
                      <a:pt x="64844" y="109405"/>
                      <a:pt x="64844" y="113613"/>
                    </a:cubicBezTo>
                    <a:cubicBezTo>
                      <a:pt x="64844" y="117821"/>
                      <a:pt x="68189" y="121165"/>
                      <a:pt x="72397" y="121165"/>
                    </a:cubicBezTo>
                    <a:lnTo>
                      <a:pt x="152778" y="121165"/>
                    </a:lnTo>
                    <a:cubicBezTo>
                      <a:pt x="156986" y="121165"/>
                      <a:pt x="160331" y="117821"/>
                      <a:pt x="160331" y="113613"/>
                    </a:cubicBezTo>
                    <a:close/>
                    <a:moveTo>
                      <a:pt x="160331" y="148678"/>
                    </a:moveTo>
                    <a:cubicBezTo>
                      <a:pt x="160331" y="144471"/>
                      <a:pt x="156986" y="141126"/>
                      <a:pt x="152778" y="141126"/>
                    </a:cubicBezTo>
                    <a:lnTo>
                      <a:pt x="72397" y="141126"/>
                    </a:lnTo>
                    <a:cubicBezTo>
                      <a:pt x="68189" y="141126"/>
                      <a:pt x="64844" y="144471"/>
                      <a:pt x="64844" y="148678"/>
                    </a:cubicBezTo>
                    <a:cubicBezTo>
                      <a:pt x="64844" y="152886"/>
                      <a:pt x="68189" y="156231"/>
                      <a:pt x="72397" y="156231"/>
                    </a:cubicBezTo>
                    <a:lnTo>
                      <a:pt x="152778" y="156231"/>
                    </a:lnTo>
                    <a:cubicBezTo>
                      <a:pt x="156986" y="156231"/>
                      <a:pt x="160331" y="152886"/>
                      <a:pt x="160331" y="148678"/>
                    </a:cubicBezTo>
                    <a:close/>
                    <a:moveTo>
                      <a:pt x="256573" y="183744"/>
                    </a:moveTo>
                    <a:cubicBezTo>
                      <a:pt x="256573" y="179536"/>
                      <a:pt x="253228" y="176192"/>
                      <a:pt x="249020" y="176192"/>
                    </a:cubicBezTo>
                    <a:lnTo>
                      <a:pt x="168639" y="176192"/>
                    </a:lnTo>
                    <a:cubicBezTo>
                      <a:pt x="164431" y="176192"/>
                      <a:pt x="161086" y="179536"/>
                      <a:pt x="161086" y="183744"/>
                    </a:cubicBezTo>
                    <a:cubicBezTo>
                      <a:pt x="161086" y="187952"/>
                      <a:pt x="164431" y="191297"/>
                      <a:pt x="168639" y="191297"/>
                    </a:cubicBezTo>
                    <a:lnTo>
                      <a:pt x="249020" y="191297"/>
                    </a:lnTo>
                    <a:cubicBezTo>
                      <a:pt x="253228" y="191297"/>
                      <a:pt x="256573" y="187952"/>
                      <a:pt x="256573" y="183744"/>
                    </a:cubicBezTo>
                    <a:close/>
                    <a:moveTo>
                      <a:pt x="256573" y="218810"/>
                    </a:moveTo>
                    <a:cubicBezTo>
                      <a:pt x="256573" y="214602"/>
                      <a:pt x="253228" y="211257"/>
                      <a:pt x="249020" y="211257"/>
                    </a:cubicBezTo>
                    <a:lnTo>
                      <a:pt x="168639" y="211257"/>
                    </a:lnTo>
                    <a:cubicBezTo>
                      <a:pt x="164431" y="211257"/>
                      <a:pt x="161086" y="214602"/>
                      <a:pt x="161086" y="218810"/>
                    </a:cubicBezTo>
                    <a:cubicBezTo>
                      <a:pt x="161086" y="223018"/>
                      <a:pt x="164431" y="226363"/>
                      <a:pt x="168639" y="226363"/>
                    </a:cubicBezTo>
                    <a:lnTo>
                      <a:pt x="249020" y="226363"/>
                    </a:lnTo>
                    <a:cubicBezTo>
                      <a:pt x="253228" y="226363"/>
                      <a:pt x="256573" y="223018"/>
                      <a:pt x="256573" y="218810"/>
                    </a:cubicBezTo>
                    <a:close/>
                    <a:moveTo>
                      <a:pt x="256573" y="253875"/>
                    </a:moveTo>
                    <a:cubicBezTo>
                      <a:pt x="256573" y="249668"/>
                      <a:pt x="253228" y="246323"/>
                      <a:pt x="249020" y="246323"/>
                    </a:cubicBezTo>
                    <a:lnTo>
                      <a:pt x="168639" y="246323"/>
                    </a:lnTo>
                    <a:cubicBezTo>
                      <a:pt x="164431" y="246323"/>
                      <a:pt x="161086" y="249668"/>
                      <a:pt x="161086" y="253875"/>
                    </a:cubicBezTo>
                    <a:cubicBezTo>
                      <a:pt x="161086" y="258083"/>
                      <a:pt x="164431" y="261428"/>
                      <a:pt x="168639" y="261428"/>
                    </a:cubicBezTo>
                    <a:lnTo>
                      <a:pt x="249020" y="261428"/>
                    </a:lnTo>
                    <a:cubicBezTo>
                      <a:pt x="253228" y="261428"/>
                      <a:pt x="256573" y="258083"/>
                      <a:pt x="256573" y="253875"/>
                    </a:cubicBezTo>
                    <a:close/>
                    <a:moveTo>
                      <a:pt x="195720" y="8740"/>
                    </a:moveTo>
                    <a:cubicBezTo>
                      <a:pt x="195720" y="3884"/>
                      <a:pt x="191836" y="0"/>
                      <a:pt x="186981" y="0"/>
                    </a:cubicBezTo>
                    <a:cubicBezTo>
                      <a:pt x="182126" y="0"/>
                      <a:pt x="178242" y="3884"/>
                      <a:pt x="178242" y="8740"/>
                    </a:cubicBezTo>
                    <a:cubicBezTo>
                      <a:pt x="178242" y="13595"/>
                      <a:pt x="182126" y="17479"/>
                      <a:pt x="186981" y="17479"/>
                    </a:cubicBezTo>
                    <a:cubicBezTo>
                      <a:pt x="191836" y="17479"/>
                      <a:pt x="195720" y="13595"/>
                      <a:pt x="195720" y="8740"/>
                    </a:cubicBezTo>
                    <a:close/>
                    <a:moveTo>
                      <a:pt x="221939" y="8740"/>
                    </a:moveTo>
                    <a:cubicBezTo>
                      <a:pt x="221939" y="3884"/>
                      <a:pt x="218055" y="0"/>
                      <a:pt x="213199" y="0"/>
                    </a:cubicBezTo>
                    <a:cubicBezTo>
                      <a:pt x="208344" y="0"/>
                      <a:pt x="204460" y="3884"/>
                      <a:pt x="204460" y="8740"/>
                    </a:cubicBezTo>
                    <a:cubicBezTo>
                      <a:pt x="204460" y="13595"/>
                      <a:pt x="208344" y="17479"/>
                      <a:pt x="213199" y="17479"/>
                    </a:cubicBezTo>
                    <a:cubicBezTo>
                      <a:pt x="218055" y="17479"/>
                      <a:pt x="221939" y="13595"/>
                      <a:pt x="221939" y="8740"/>
                    </a:cubicBezTo>
                    <a:close/>
                    <a:moveTo>
                      <a:pt x="248157" y="8740"/>
                    </a:moveTo>
                    <a:cubicBezTo>
                      <a:pt x="248157" y="3884"/>
                      <a:pt x="244273" y="0"/>
                      <a:pt x="239418" y="0"/>
                    </a:cubicBezTo>
                    <a:cubicBezTo>
                      <a:pt x="234562" y="0"/>
                      <a:pt x="230678" y="3884"/>
                      <a:pt x="230678" y="8740"/>
                    </a:cubicBezTo>
                    <a:cubicBezTo>
                      <a:pt x="230678" y="13595"/>
                      <a:pt x="234562" y="17479"/>
                      <a:pt x="239418" y="17479"/>
                    </a:cubicBezTo>
                    <a:cubicBezTo>
                      <a:pt x="244273" y="17479"/>
                      <a:pt x="248157" y="13595"/>
                      <a:pt x="248157" y="8740"/>
                    </a:cubicBezTo>
                    <a:close/>
                    <a:moveTo>
                      <a:pt x="274375" y="8740"/>
                    </a:moveTo>
                    <a:cubicBezTo>
                      <a:pt x="274375" y="3884"/>
                      <a:pt x="270491" y="0"/>
                      <a:pt x="265636" y="0"/>
                    </a:cubicBezTo>
                    <a:cubicBezTo>
                      <a:pt x="260781" y="0"/>
                      <a:pt x="256896" y="3884"/>
                      <a:pt x="256896" y="8740"/>
                    </a:cubicBezTo>
                    <a:cubicBezTo>
                      <a:pt x="256896" y="13595"/>
                      <a:pt x="260781" y="17479"/>
                      <a:pt x="265636" y="17479"/>
                    </a:cubicBezTo>
                    <a:cubicBezTo>
                      <a:pt x="270491" y="17479"/>
                      <a:pt x="274375" y="13595"/>
                      <a:pt x="274375" y="8740"/>
                    </a:cubicBezTo>
                    <a:close/>
                    <a:moveTo>
                      <a:pt x="300594" y="8740"/>
                    </a:moveTo>
                    <a:cubicBezTo>
                      <a:pt x="300594" y="3884"/>
                      <a:pt x="296710" y="0"/>
                      <a:pt x="291854" y="0"/>
                    </a:cubicBezTo>
                    <a:cubicBezTo>
                      <a:pt x="286999" y="0"/>
                      <a:pt x="283115" y="3884"/>
                      <a:pt x="283115" y="8740"/>
                    </a:cubicBezTo>
                    <a:cubicBezTo>
                      <a:pt x="283115" y="13595"/>
                      <a:pt x="286999" y="17479"/>
                      <a:pt x="291854" y="17479"/>
                    </a:cubicBezTo>
                    <a:cubicBezTo>
                      <a:pt x="296710" y="17479"/>
                      <a:pt x="300594" y="13595"/>
                      <a:pt x="300594" y="8740"/>
                    </a:cubicBezTo>
                    <a:close/>
                    <a:moveTo>
                      <a:pt x="326812" y="8740"/>
                    </a:moveTo>
                    <a:cubicBezTo>
                      <a:pt x="326812" y="3884"/>
                      <a:pt x="322928" y="0"/>
                      <a:pt x="318073" y="0"/>
                    </a:cubicBezTo>
                    <a:cubicBezTo>
                      <a:pt x="313217" y="0"/>
                      <a:pt x="309333" y="3884"/>
                      <a:pt x="309333" y="8740"/>
                    </a:cubicBezTo>
                    <a:cubicBezTo>
                      <a:pt x="309333" y="13595"/>
                      <a:pt x="313217" y="17479"/>
                      <a:pt x="318073" y="17479"/>
                    </a:cubicBezTo>
                    <a:cubicBezTo>
                      <a:pt x="322928" y="17479"/>
                      <a:pt x="326812" y="13595"/>
                      <a:pt x="326812" y="8740"/>
                    </a:cubicBezTo>
                    <a:close/>
                    <a:moveTo>
                      <a:pt x="195505" y="78763"/>
                    </a:moveTo>
                    <a:cubicBezTo>
                      <a:pt x="195505" y="73908"/>
                      <a:pt x="191620" y="70024"/>
                      <a:pt x="186765" y="70024"/>
                    </a:cubicBezTo>
                    <a:cubicBezTo>
                      <a:pt x="181910" y="70024"/>
                      <a:pt x="178026" y="73908"/>
                      <a:pt x="178026" y="78763"/>
                    </a:cubicBezTo>
                    <a:cubicBezTo>
                      <a:pt x="178026" y="83618"/>
                      <a:pt x="181910" y="87502"/>
                      <a:pt x="186765" y="87502"/>
                    </a:cubicBezTo>
                    <a:cubicBezTo>
                      <a:pt x="191620" y="87502"/>
                      <a:pt x="195505" y="83618"/>
                      <a:pt x="195505" y="78763"/>
                    </a:cubicBezTo>
                    <a:close/>
                    <a:moveTo>
                      <a:pt x="221723" y="78763"/>
                    </a:moveTo>
                    <a:cubicBezTo>
                      <a:pt x="221723" y="73908"/>
                      <a:pt x="217839" y="70024"/>
                      <a:pt x="212984" y="70024"/>
                    </a:cubicBezTo>
                    <a:cubicBezTo>
                      <a:pt x="208128" y="70024"/>
                      <a:pt x="204244" y="73908"/>
                      <a:pt x="204244" y="78763"/>
                    </a:cubicBezTo>
                    <a:cubicBezTo>
                      <a:pt x="204244" y="83618"/>
                      <a:pt x="208128" y="87502"/>
                      <a:pt x="212984" y="87502"/>
                    </a:cubicBezTo>
                    <a:cubicBezTo>
                      <a:pt x="217839" y="87502"/>
                      <a:pt x="221723" y="83618"/>
                      <a:pt x="221723" y="78763"/>
                    </a:cubicBezTo>
                    <a:close/>
                    <a:moveTo>
                      <a:pt x="247941" y="78763"/>
                    </a:moveTo>
                    <a:cubicBezTo>
                      <a:pt x="247941" y="73908"/>
                      <a:pt x="244057" y="70024"/>
                      <a:pt x="239202" y="70024"/>
                    </a:cubicBezTo>
                    <a:cubicBezTo>
                      <a:pt x="234347" y="70024"/>
                      <a:pt x="230462" y="73908"/>
                      <a:pt x="230462" y="78763"/>
                    </a:cubicBezTo>
                    <a:cubicBezTo>
                      <a:pt x="230462" y="83618"/>
                      <a:pt x="234347" y="87502"/>
                      <a:pt x="239202" y="87502"/>
                    </a:cubicBezTo>
                    <a:cubicBezTo>
                      <a:pt x="244057" y="87502"/>
                      <a:pt x="247941" y="83618"/>
                      <a:pt x="247941" y="78763"/>
                    </a:cubicBezTo>
                    <a:close/>
                    <a:moveTo>
                      <a:pt x="274160" y="78763"/>
                    </a:moveTo>
                    <a:cubicBezTo>
                      <a:pt x="274160" y="73908"/>
                      <a:pt x="270275" y="70024"/>
                      <a:pt x="265420" y="70024"/>
                    </a:cubicBezTo>
                    <a:cubicBezTo>
                      <a:pt x="260565" y="70024"/>
                      <a:pt x="256681" y="73908"/>
                      <a:pt x="256681" y="78763"/>
                    </a:cubicBezTo>
                    <a:cubicBezTo>
                      <a:pt x="256681" y="83618"/>
                      <a:pt x="260565" y="87502"/>
                      <a:pt x="265420" y="87502"/>
                    </a:cubicBezTo>
                    <a:cubicBezTo>
                      <a:pt x="270275" y="87502"/>
                      <a:pt x="274160" y="83618"/>
                      <a:pt x="274160" y="78763"/>
                    </a:cubicBezTo>
                    <a:close/>
                    <a:moveTo>
                      <a:pt x="300378" y="78763"/>
                    </a:moveTo>
                    <a:cubicBezTo>
                      <a:pt x="300378" y="73908"/>
                      <a:pt x="296494" y="70024"/>
                      <a:pt x="291638" y="70024"/>
                    </a:cubicBezTo>
                    <a:cubicBezTo>
                      <a:pt x="286783" y="70024"/>
                      <a:pt x="282899" y="73908"/>
                      <a:pt x="282899" y="78763"/>
                    </a:cubicBezTo>
                    <a:cubicBezTo>
                      <a:pt x="282899" y="83618"/>
                      <a:pt x="286783" y="87502"/>
                      <a:pt x="291638" y="87502"/>
                    </a:cubicBezTo>
                    <a:cubicBezTo>
                      <a:pt x="296494" y="87502"/>
                      <a:pt x="300378" y="83618"/>
                      <a:pt x="300378" y="78763"/>
                    </a:cubicBezTo>
                    <a:close/>
                    <a:moveTo>
                      <a:pt x="326596" y="78763"/>
                    </a:moveTo>
                    <a:cubicBezTo>
                      <a:pt x="326596" y="73908"/>
                      <a:pt x="322712" y="70024"/>
                      <a:pt x="317857" y="70024"/>
                    </a:cubicBezTo>
                    <a:cubicBezTo>
                      <a:pt x="313002" y="70024"/>
                      <a:pt x="309117" y="73908"/>
                      <a:pt x="309117" y="78763"/>
                    </a:cubicBezTo>
                    <a:cubicBezTo>
                      <a:pt x="309117" y="83618"/>
                      <a:pt x="313002" y="87502"/>
                      <a:pt x="317857" y="87502"/>
                    </a:cubicBezTo>
                    <a:cubicBezTo>
                      <a:pt x="322712" y="87502"/>
                      <a:pt x="326596" y="83618"/>
                      <a:pt x="326596" y="78763"/>
                    </a:cubicBezTo>
                    <a:close/>
                    <a:moveTo>
                      <a:pt x="285057" y="179428"/>
                    </a:moveTo>
                    <a:cubicBezTo>
                      <a:pt x="285057" y="174573"/>
                      <a:pt x="281173" y="170689"/>
                      <a:pt x="276318" y="170689"/>
                    </a:cubicBezTo>
                    <a:cubicBezTo>
                      <a:pt x="271462" y="170689"/>
                      <a:pt x="267578" y="174573"/>
                      <a:pt x="267578" y="179428"/>
                    </a:cubicBezTo>
                    <a:cubicBezTo>
                      <a:pt x="267578" y="184284"/>
                      <a:pt x="271462" y="188168"/>
                      <a:pt x="276318" y="188168"/>
                    </a:cubicBezTo>
                    <a:cubicBezTo>
                      <a:pt x="281173" y="188168"/>
                      <a:pt x="285057" y="184284"/>
                      <a:pt x="285057" y="179428"/>
                    </a:cubicBezTo>
                    <a:close/>
                    <a:moveTo>
                      <a:pt x="311275" y="179428"/>
                    </a:moveTo>
                    <a:cubicBezTo>
                      <a:pt x="311275" y="174573"/>
                      <a:pt x="307391" y="170689"/>
                      <a:pt x="302536" y="170689"/>
                    </a:cubicBezTo>
                    <a:cubicBezTo>
                      <a:pt x="297681" y="170689"/>
                      <a:pt x="293796" y="174573"/>
                      <a:pt x="293796" y="179428"/>
                    </a:cubicBezTo>
                    <a:cubicBezTo>
                      <a:pt x="293796" y="184284"/>
                      <a:pt x="297681" y="188168"/>
                      <a:pt x="302536" y="188168"/>
                    </a:cubicBezTo>
                    <a:cubicBezTo>
                      <a:pt x="307391" y="188168"/>
                      <a:pt x="311275" y="184284"/>
                      <a:pt x="311275" y="179428"/>
                    </a:cubicBezTo>
                    <a:close/>
                    <a:moveTo>
                      <a:pt x="337494" y="179428"/>
                    </a:moveTo>
                    <a:cubicBezTo>
                      <a:pt x="337494" y="174573"/>
                      <a:pt x="333609" y="170689"/>
                      <a:pt x="328754" y="170689"/>
                    </a:cubicBezTo>
                    <a:cubicBezTo>
                      <a:pt x="323899" y="170689"/>
                      <a:pt x="320015" y="174573"/>
                      <a:pt x="320015" y="179428"/>
                    </a:cubicBezTo>
                    <a:cubicBezTo>
                      <a:pt x="320015" y="184284"/>
                      <a:pt x="323899" y="188168"/>
                      <a:pt x="328754" y="188168"/>
                    </a:cubicBezTo>
                    <a:cubicBezTo>
                      <a:pt x="333609" y="188168"/>
                      <a:pt x="337494" y="184284"/>
                      <a:pt x="337494" y="179428"/>
                    </a:cubicBezTo>
                    <a:close/>
                    <a:moveTo>
                      <a:pt x="363712" y="179428"/>
                    </a:moveTo>
                    <a:cubicBezTo>
                      <a:pt x="363712" y="174573"/>
                      <a:pt x="359828" y="170689"/>
                      <a:pt x="354972" y="170689"/>
                    </a:cubicBezTo>
                    <a:cubicBezTo>
                      <a:pt x="350117" y="170689"/>
                      <a:pt x="346233" y="174573"/>
                      <a:pt x="346233" y="179428"/>
                    </a:cubicBezTo>
                    <a:cubicBezTo>
                      <a:pt x="346233" y="184284"/>
                      <a:pt x="350117" y="188168"/>
                      <a:pt x="354972" y="188168"/>
                    </a:cubicBezTo>
                    <a:cubicBezTo>
                      <a:pt x="359828" y="188168"/>
                      <a:pt x="363712" y="184284"/>
                      <a:pt x="363712" y="179428"/>
                    </a:cubicBezTo>
                    <a:close/>
                    <a:moveTo>
                      <a:pt x="389930" y="179428"/>
                    </a:moveTo>
                    <a:cubicBezTo>
                      <a:pt x="389930" y="174573"/>
                      <a:pt x="386046" y="170689"/>
                      <a:pt x="381191" y="170689"/>
                    </a:cubicBezTo>
                    <a:cubicBezTo>
                      <a:pt x="376336" y="170689"/>
                      <a:pt x="372451" y="174573"/>
                      <a:pt x="372451" y="179428"/>
                    </a:cubicBezTo>
                    <a:cubicBezTo>
                      <a:pt x="372451" y="184284"/>
                      <a:pt x="376336" y="188168"/>
                      <a:pt x="381191" y="188168"/>
                    </a:cubicBezTo>
                    <a:cubicBezTo>
                      <a:pt x="386046" y="188168"/>
                      <a:pt x="389930" y="184284"/>
                      <a:pt x="389930" y="179428"/>
                    </a:cubicBezTo>
                    <a:close/>
                    <a:moveTo>
                      <a:pt x="416149" y="179428"/>
                    </a:moveTo>
                    <a:cubicBezTo>
                      <a:pt x="416149" y="174573"/>
                      <a:pt x="412264" y="170689"/>
                      <a:pt x="407409" y="170689"/>
                    </a:cubicBezTo>
                    <a:cubicBezTo>
                      <a:pt x="402554" y="170689"/>
                      <a:pt x="398670" y="174573"/>
                      <a:pt x="398670" y="179428"/>
                    </a:cubicBezTo>
                    <a:cubicBezTo>
                      <a:pt x="398670" y="184284"/>
                      <a:pt x="402554" y="188168"/>
                      <a:pt x="407409" y="188168"/>
                    </a:cubicBezTo>
                    <a:cubicBezTo>
                      <a:pt x="412264" y="188168"/>
                      <a:pt x="416149" y="184284"/>
                      <a:pt x="416149" y="179428"/>
                    </a:cubicBezTo>
                    <a:close/>
                    <a:moveTo>
                      <a:pt x="284841" y="251610"/>
                    </a:moveTo>
                    <a:cubicBezTo>
                      <a:pt x="284841" y="246755"/>
                      <a:pt x="280957" y="242870"/>
                      <a:pt x="276102" y="242870"/>
                    </a:cubicBezTo>
                    <a:cubicBezTo>
                      <a:pt x="271246" y="242870"/>
                      <a:pt x="267362" y="246755"/>
                      <a:pt x="267362" y="251610"/>
                    </a:cubicBezTo>
                    <a:cubicBezTo>
                      <a:pt x="267362" y="256465"/>
                      <a:pt x="271246" y="260349"/>
                      <a:pt x="276102" y="260349"/>
                    </a:cubicBezTo>
                    <a:cubicBezTo>
                      <a:pt x="280957" y="260349"/>
                      <a:pt x="284841" y="256465"/>
                      <a:pt x="284841" y="251610"/>
                    </a:cubicBezTo>
                    <a:close/>
                    <a:moveTo>
                      <a:pt x="311060" y="251610"/>
                    </a:moveTo>
                    <a:cubicBezTo>
                      <a:pt x="311060" y="246755"/>
                      <a:pt x="307175" y="242870"/>
                      <a:pt x="302320" y="242870"/>
                    </a:cubicBezTo>
                    <a:cubicBezTo>
                      <a:pt x="297465" y="242870"/>
                      <a:pt x="293581" y="246755"/>
                      <a:pt x="293581" y="251610"/>
                    </a:cubicBezTo>
                    <a:cubicBezTo>
                      <a:pt x="293581" y="256465"/>
                      <a:pt x="297465" y="260349"/>
                      <a:pt x="302320" y="260349"/>
                    </a:cubicBezTo>
                    <a:cubicBezTo>
                      <a:pt x="307175" y="260349"/>
                      <a:pt x="311060" y="256465"/>
                      <a:pt x="311060" y="251610"/>
                    </a:cubicBezTo>
                    <a:close/>
                    <a:moveTo>
                      <a:pt x="337278" y="251610"/>
                    </a:moveTo>
                    <a:cubicBezTo>
                      <a:pt x="337278" y="246755"/>
                      <a:pt x="333394" y="242870"/>
                      <a:pt x="328538" y="242870"/>
                    </a:cubicBezTo>
                    <a:cubicBezTo>
                      <a:pt x="323683" y="242870"/>
                      <a:pt x="319799" y="246755"/>
                      <a:pt x="319799" y="251610"/>
                    </a:cubicBezTo>
                    <a:cubicBezTo>
                      <a:pt x="319799" y="256465"/>
                      <a:pt x="323683" y="260349"/>
                      <a:pt x="328538" y="260349"/>
                    </a:cubicBezTo>
                    <a:cubicBezTo>
                      <a:pt x="333394" y="260349"/>
                      <a:pt x="337278" y="256465"/>
                      <a:pt x="337278" y="251610"/>
                    </a:cubicBezTo>
                    <a:close/>
                    <a:moveTo>
                      <a:pt x="363496" y="251610"/>
                    </a:moveTo>
                    <a:cubicBezTo>
                      <a:pt x="363496" y="246755"/>
                      <a:pt x="359612" y="242870"/>
                      <a:pt x="354757" y="242870"/>
                    </a:cubicBezTo>
                    <a:cubicBezTo>
                      <a:pt x="349902" y="242870"/>
                      <a:pt x="346017" y="246755"/>
                      <a:pt x="346017" y="251610"/>
                    </a:cubicBezTo>
                    <a:cubicBezTo>
                      <a:pt x="346017" y="256465"/>
                      <a:pt x="349902" y="260349"/>
                      <a:pt x="354757" y="260349"/>
                    </a:cubicBezTo>
                    <a:cubicBezTo>
                      <a:pt x="359612" y="260349"/>
                      <a:pt x="363496" y="256465"/>
                      <a:pt x="363496" y="251610"/>
                    </a:cubicBezTo>
                    <a:close/>
                    <a:moveTo>
                      <a:pt x="389714" y="251610"/>
                    </a:moveTo>
                    <a:cubicBezTo>
                      <a:pt x="389714" y="246755"/>
                      <a:pt x="385830" y="242870"/>
                      <a:pt x="380975" y="242870"/>
                    </a:cubicBezTo>
                    <a:cubicBezTo>
                      <a:pt x="376120" y="242870"/>
                      <a:pt x="372236" y="246755"/>
                      <a:pt x="372236" y="251610"/>
                    </a:cubicBezTo>
                    <a:cubicBezTo>
                      <a:pt x="372236" y="256465"/>
                      <a:pt x="376120" y="260349"/>
                      <a:pt x="380975" y="260349"/>
                    </a:cubicBezTo>
                    <a:cubicBezTo>
                      <a:pt x="385830" y="260349"/>
                      <a:pt x="389714" y="256465"/>
                      <a:pt x="389714" y="251610"/>
                    </a:cubicBezTo>
                    <a:close/>
                    <a:moveTo>
                      <a:pt x="415933" y="251610"/>
                    </a:moveTo>
                    <a:cubicBezTo>
                      <a:pt x="415933" y="246755"/>
                      <a:pt x="412049" y="242870"/>
                      <a:pt x="407193" y="242870"/>
                    </a:cubicBezTo>
                    <a:cubicBezTo>
                      <a:pt x="402338" y="242870"/>
                      <a:pt x="398454" y="246755"/>
                      <a:pt x="398454" y="251610"/>
                    </a:cubicBezTo>
                    <a:cubicBezTo>
                      <a:pt x="398454" y="256465"/>
                      <a:pt x="402338" y="260349"/>
                      <a:pt x="407193" y="260349"/>
                    </a:cubicBezTo>
                    <a:cubicBezTo>
                      <a:pt x="412049" y="260349"/>
                      <a:pt x="415933" y="256465"/>
                      <a:pt x="415933" y="251610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622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492451" y="1740080"/>
              <a:ext cx="160007" cy="29131"/>
              <a:chOff x="1492451" y="1740080"/>
              <a:chExt cx="160007" cy="29131"/>
            </a:xfrm>
            <a:solidFill>
              <a:srgbClr val="263238"/>
            </a:solidFill>
          </p:grpSpPr>
          <p:sp>
            <p:nvSpPr>
              <p:cNvPr id="1623" name="Полилиния: фигура 1622">
                <a:extLst>
                  <a:ext uri="{FF2B5EF4-FFF2-40B4-BE49-F238E27FC236}">
                    <a16:creationId xmlns:a16="http://schemas.microsoft.com/office/drawing/2014/main" id="{17BFEC16-D512-4D6B-87A9-1A3FC1F2630C}"/>
                  </a:ext>
                </a:extLst>
              </p:cNvPr>
              <p:cNvSpPr/>
              <p:nvPr/>
            </p:nvSpPr>
            <p:spPr>
              <a:xfrm>
                <a:off x="1492451" y="1740080"/>
                <a:ext cx="29131" cy="29131"/>
              </a:xfrm>
              <a:custGeom>
                <a:avLst/>
                <a:gdLst>
                  <a:gd name="connsiteX0" fmla="*/ 29131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1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1" y="14566"/>
                    </a:moveTo>
                    <a:cubicBezTo>
                      <a:pt x="29131" y="22550"/>
                      <a:pt x="22658" y="29132"/>
                      <a:pt x="14566" y="29132"/>
                    </a:cubicBezTo>
                    <a:cubicBezTo>
                      <a:pt x="6474" y="29132"/>
                      <a:pt x="0" y="22658"/>
                      <a:pt x="0" y="14566"/>
                    </a:cubicBezTo>
                    <a:cubicBezTo>
                      <a:pt x="0" y="6474"/>
                      <a:pt x="6474" y="0"/>
                      <a:pt x="14566" y="0"/>
                    </a:cubicBezTo>
                    <a:cubicBezTo>
                      <a:pt x="22658" y="0"/>
                      <a:pt x="29131" y="6474"/>
                      <a:pt x="29131" y="1456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4" name="Полилиния: фигура 1623">
                <a:extLst>
                  <a:ext uri="{FF2B5EF4-FFF2-40B4-BE49-F238E27FC236}">
                    <a16:creationId xmlns:a16="http://schemas.microsoft.com/office/drawing/2014/main" id="{7E9DE5A1-C82C-40DC-BFC2-42C49B4D4289}"/>
                  </a:ext>
                </a:extLst>
              </p:cNvPr>
              <p:cNvSpPr/>
              <p:nvPr/>
            </p:nvSpPr>
            <p:spPr>
              <a:xfrm>
                <a:off x="1557835" y="1740080"/>
                <a:ext cx="29131" cy="29131"/>
              </a:xfrm>
              <a:custGeom>
                <a:avLst/>
                <a:gdLst>
                  <a:gd name="connsiteX0" fmla="*/ 29132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2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2" y="14566"/>
                    </a:moveTo>
                    <a:cubicBezTo>
                      <a:pt x="29132" y="22550"/>
                      <a:pt x="22658" y="29132"/>
                      <a:pt x="14566" y="29132"/>
                    </a:cubicBezTo>
                    <a:cubicBezTo>
                      <a:pt x="6474" y="29132"/>
                      <a:pt x="0" y="22658"/>
                      <a:pt x="0" y="14566"/>
                    </a:cubicBezTo>
                    <a:cubicBezTo>
                      <a:pt x="0" y="6474"/>
                      <a:pt x="6474" y="0"/>
                      <a:pt x="14566" y="0"/>
                    </a:cubicBezTo>
                    <a:cubicBezTo>
                      <a:pt x="22658" y="0"/>
                      <a:pt x="29132" y="6474"/>
                      <a:pt x="29132" y="1456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5" name="Полилиния: фигура 1624">
                <a:extLst>
                  <a:ext uri="{FF2B5EF4-FFF2-40B4-BE49-F238E27FC236}">
                    <a16:creationId xmlns:a16="http://schemas.microsoft.com/office/drawing/2014/main" id="{853EC09F-CC66-4A71-B78A-C36B1AFEF0CA}"/>
                  </a:ext>
                </a:extLst>
              </p:cNvPr>
              <p:cNvSpPr/>
              <p:nvPr/>
            </p:nvSpPr>
            <p:spPr>
              <a:xfrm>
                <a:off x="1623327" y="1740080"/>
                <a:ext cx="29131" cy="29131"/>
              </a:xfrm>
              <a:custGeom>
                <a:avLst/>
                <a:gdLst>
                  <a:gd name="connsiteX0" fmla="*/ 29132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2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2" y="14566"/>
                    </a:moveTo>
                    <a:cubicBezTo>
                      <a:pt x="29132" y="22550"/>
                      <a:pt x="22658" y="29132"/>
                      <a:pt x="14566" y="29132"/>
                    </a:cubicBezTo>
                    <a:cubicBezTo>
                      <a:pt x="6474" y="29132"/>
                      <a:pt x="0" y="22658"/>
                      <a:pt x="0" y="14566"/>
                    </a:cubicBezTo>
                    <a:cubicBezTo>
                      <a:pt x="0" y="6474"/>
                      <a:pt x="6474" y="0"/>
                      <a:pt x="14566" y="0"/>
                    </a:cubicBezTo>
                    <a:cubicBezTo>
                      <a:pt x="22658" y="0"/>
                      <a:pt x="29132" y="6474"/>
                      <a:pt x="29132" y="1456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284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1434835" y="2882141"/>
            <a:ext cx="1172811" cy="523611"/>
            <a:chOff x="1434835" y="2882141"/>
            <a:chExt cx="1172811" cy="523611"/>
          </a:xfrm>
        </p:grpSpPr>
        <p:sp>
          <p:nvSpPr>
            <p:cNvPr id="386" name="Полилиния: фигура 385">
              <a:extLst>
                <a:ext uri="{FF2B5EF4-FFF2-40B4-BE49-F238E27FC236}">
                  <a16:creationId xmlns:a16="http://schemas.microsoft.com/office/drawing/2014/main" id="{944723FA-7C0B-47D0-A37F-2FBF871CCB67}"/>
                </a:ext>
              </a:extLst>
            </p:cNvPr>
            <p:cNvSpPr/>
            <p:nvPr/>
          </p:nvSpPr>
          <p:spPr>
            <a:xfrm>
              <a:off x="1434835" y="2910086"/>
              <a:ext cx="1172811" cy="495666"/>
            </a:xfrm>
            <a:custGeom>
              <a:avLst/>
              <a:gdLst>
                <a:gd name="connsiteX0" fmla="*/ 0 w 1172811"/>
                <a:gd name="connsiteY0" fmla="*/ 0 h 495666"/>
                <a:gd name="connsiteX1" fmla="*/ 1172812 w 1172811"/>
                <a:gd name="connsiteY1" fmla="*/ 0 h 495666"/>
                <a:gd name="connsiteX2" fmla="*/ 1172812 w 1172811"/>
                <a:gd name="connsiteY2" fmla="*/ 495667 h 495666"/>
                <a:gd name="connsiteX3" fmla="*/ 0 w 1172811"/>
                <a:gd name="connsiteY3" fmla="*/ 495667 h 49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2811" h="495666">
                  <a:moveTo>
                    <a:pt x="0" y="0"/>
                  </a:moveTo>
                  <a:lnTo>
                    <a:pt x="1172812" y="0"/>
                  </a:lnTo>
                  <a:lnTo>
                    <a:pt x="1172812" y="495667"/>
                  </a:lnTo>
                  <a:lnTo>
                    <a:pt x="0" y="495667"/>
                  </a:ln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grpSp>
          <p:nvGrpSpPr>
            <p:cNvPr id="414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434835" y="2882141"/>
              <a:ext cx="1172811" cy="83726"/>
              <a:chOff x="1434835" y="2882141"/>
              <a:chExt cx="1172811" cy="83726"/>
            </a:xfrm>
          </p:grpSpPr>
          <p:sp>
            <p:nvSpPr>
              <p:cNvPr id="415" name="Полилиния: фигура 414">
                <a:extLst>
                  <a:ext uri="{FF2B5EF4-FFF2-40B4-BE49-F238E27FC236}">
                    <a16:creationId xmlns:a16="http://schemas.microsoft.com/office/drawing/2014/main" id="{8782DDB8-690D-4286-89EF-156ACA43D10C}"/>
                  </a:ext>
                </a:extLst>
              </p:cNvPr>
              <p:cNvSpPr/>
              <p:nvPr/>
            </p:nvSpPr>
            <p:spPr>
              <a:xfrm>
                <a:off x="1434835" y="2882141"/>
                <a:ext cx="1172811" cy="83726"/>
              </a:xfrm>
              <a:custGeom>
                <a:avLst/>
                <a:gdLst>
                  <a:gd name="connsiteX0" fmla="*/ 0 w 1172811"/>
                  <a:gd name="connsiteY0" fmla="*/ 0 h 83726"/>
                  <a:gd name="connsiteX1" fmla="*/ 1172812 w 1172811"/>
                  <a:gd name="connsiteY1" fmla="*/ 0 h 83726"/>
                  <a:gd name="connsiteX2" fmla="*/ 1172812 w 1172811"/>
                  <a:gd name="connsiteY2" fmla="*/ 83726 h 83726"/>
                  <a:gd name="connsiteX3" fmla="*/ 0 w 1172811"/>
                  <a:gd name="connsiteY3" fmla="*/ 83726 h 83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72811" h="83726">
                    <a:moveTo>
                      <a:pt x="0" y="0"/>
                    </a:moveTo>
                    <a:lnTo>
                      <a:pt x="1172812" y="0"/>
                    </a:lnTo>
                    <a:lnTo>
                      <a:pt x="1172812" y="83726"/>
                    </a:lnTo>
                    <a:lnTo>
                      <a:pt x="0" y="83726"/>
                    </a:ln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340" name="Рисунок 2">
                <a:extLst>
                  <a:ext uri="{FF2B5EF4-FFF2-40B4-BE49-F238E27FC236}">
                    <a16:creationId xmlns:a16="http://schemas.microsoft.com/office/drawing/2014/main" id="{6A5E939F-2E60-48FC-B2E3-2F9F53B5A2F9}"/>
                  </a:ext>
                </a:extLst>
              </p:cNvPr>
              <p:cNvGrpSpPr/>
              <p:nvPr/>
            </p:nvGrpSpPr>
            <p:grpSpPr>
              <a:xfrm>
                <a:off x="1459975" y="2911597"/>
                <a:ext cx="143931" cy="26110"/>
                <a:chOff x="1459975" y="2911597"/>
                <a:chExt cx="143931" cy="26110"/>
              </a:xfrm>
              <a:solidFill>
                <a:srgbClr val="006D3F"/>
              </a:solidFill>
            </p:grpSpPr>
            <p:sp>
              <p:nvSpPr>
                <p:cNvPr id="1342" name="Полилиния: фигура 1341">
                  <a:extLst>
                    <a:ext uri="{FF2B5EF4-FFF2-40B4-BE49-F238E27FC236}">
                      <a16:creationId xmlns:a16="http://schemas.microsoft.com/office/drawing/2014/main" id="{4FC48C0B-4B9F-4CEE-A5DE-79AAA134A7FC}"/>
                    </a:ext>
                  </a:extLst>
                </p:cNvPr>
                <p:cNvSpPr/>
                <p:nvPr/>
              </p:nvSpPr>
              <p:spPr>
                <a:xfrm>
                  <a:off x="1459975" y="2911597"/>
                  <a:ext cx="26110" cy="26110"/>
                </a:xfrm>
                <a:custGeom>
                  <a:avLst/>
                  <a:gdLst>
                    <a:gd name="connsiteX0" fmla="*/ 26110 w 26110"/>
                    <a:gd name="connsiteY0" fmla="*/ 13055 h 26110"/>
                    <a:gd name="connsiteX1" fmla="*/ 13055 w 26110"/>
                    <a:gd name="connsiteY1" fmla="*/ 26110 h 26110"/>
                    <a:gd name="connsiteX2" fmla="*/ 0 w 26110"/>
                    <a:gd name="connsiteY2" fmla="*/ 13055 h 26110"/>
                    <a:gd name="connsiteX3" fmla="*/ 13055 w 26110"/>
                    <a:gd name="connsiteY3" fmla="*/ 0 h 26110"/>
                    <a:gd name="connsiteX4" fmla="*/ 26110 w 26110"/>
                    <a:gd name="connsiteY4" fmla="*/ 13055 h 26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110" h="26110">
                      <a:moveTo>
                        <a:pt x="26110" y="13055"/>
                      </a:moveTo>
                      <a:cubicBezTo>
                        <a:pt x="26110" y="20284"/>
                        <a:pt x="20284" y="26110"/>
                        <a:pt x="13055" y="26110"/>
                      </a:cubicBezTo>
                      <a:cubicBezTo>
                        <a:pt x="5826" y="26110"/>
                        <a:pt x="0" y="20284"/>
                        <a:pt x="0" y="13055"/>
                      </a:cubicBezTo>
                      <a:cubicBezTo>
                        <a:pt x="0" y="5826"/>
                        <a:pt x="5826" y="0"/>
                        <a:pt x="13055" y="0"/>
                      </a:cubicBezTo>
                      <a:cubicBezTo>
                        <a:pt x="20284" y="0"/>
                        <a:pt x="26110" y="5826"/>
                        <a:pt x="26110" y="13055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43" name="Полилиния: фигура 1342">
                  <a:extLst>
                    <a:ext uri="{FF2B5EF4-FFF2-40B4-BE49-F238E27FC236}">
                      <a16:creationId xmlns:a16="http://schemas.microsoft.com/office/drawing/2014/main" id="{44BF08C8-0251-4174-9FAD-0E99BE1B72D3}"/>
                    </a:ext>
                  </a:extLst>
                </p:cNvPr>
                <p:cNvSpPr/>
                <p:nvPr/>
              </p:nvSpPr>
              <p:spPr>
                <a:xfrm>
                  <a:off x="1518885" y="2911597"/>
                  <a:ext cx="26110" cy="26110"/>
                </a:xfrm>
                <a:custGeom>
                  <a:avLst/>
                  <a:gdLst>
                    <a:gd name="connsiteX0" fmla="*/ 26110 w 26110"/>
                    <a:gd name="connsiteY0" fmla="*/ 13055 h 26110"/>
                    <a:gd name="connsiteX1" fmla="*/ 13055 w 26110"/>
                    <a:gd name="connsiteY1" fmla="*/ 26111 h 26110"/>
                    <a:gd name="connsiteX2" fmla="*/ 0 w 26110"/>
                    <a:gd name="connsiteY2" fmla="*/ 13055 h 26110"/>
                    <a:gd name="connsiteX3" fmla="*/ 13055 w 26110"/>
                    <a:gd name="connsiteY3" fmla="*/ 0 h 26110"/>
                    <a:gd name="connsiteX4" fmla="*/ 26110 w 26110"/>
                    <a:gd name="connsiteY4" fmla="*/ 13055 h 26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110" h="26110">
                      <a:moveTo>
                        <a:pt x="26110" y="13055"/>
                      </a:moveTo>
                      <a:cubicBezTo>
                        <a:pt x="26110" y="20265"/>
                        <a:pt x="20265" y="26111"/>
                        <a:pt x="13055" y="26111"/>
                      </a:cubicBezTo>
                      <a:cubicBezTo>
                        <a:pt x="5845" y="26111"/>
                        <a:pt x="0" y="20266"/>
                        <a:pt x="0" y="13055"/>
                      </a:cubicBezTo>
                      <a:cubicBezTo>
                        <a:pt x="0" y="5845"/>
                        <a:pt x="5845" y="0"/>
                        <a:pt x="13055" y="0"/>
                      </a:cubicBezTo>
                      <a:cubicBezTo>
                        <a:pt x="20265" y="0"/>
                        <a:pt x="26110" y="5845"/>
                        <a:pt x="26110" y="13055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56" name="Полилиния: фигура 1355">
                  <a:extLst>
                    <a:ext uri="{FF2B5EF4-FFF2-40B4-BE49-F238E27FC236}">
                      <a16:creationId xmlns:a16="http://schemas.microsoft.com/office/drawing/2014/main" id="{AD81C3E7-2810-4FF5-86E1-92031E3DB65B}"/>
                    </a:ext>
                  </a:extLst>
                </p:cNvPr>
                <p:cNvSpPr/>
                <p:nvPr/>
              </p:nvSpPr>
              <p:spPr>
                <a:xfrm>
                  <a:off x="1577795" y="2911597"/>
                  <a:ext cx="26110" cy="26110"/>
                </a:xfrm>
                <a:custGeom>
                  <a:avLst/>
                  <a:gdLst>
                    <a:gd name="connsiteX0" fmla="*/ 26110 w 26110"/>
                    <a:gd name="connsiteY0" fmla="*/ 13055 h 26110"/>
                    <a:gd name="connsiteX1" fmla="*/ 13055 w 26110"/>
                    <a:gd name="connsiteY1" fmla="*/ 26111 h 26110"/>
                    <a:gd name="connsiteX2" fmla="*/ 0 w 26110"/>
                    <a:gd name="connsiteY2" fmla="*/ 13055 h 26110"/>
                    <a:gd name="connsiteX3" fmla="*/ 13055 w 26110"/>
                    <a:gd name="connsiteY3" fmla="*/ 0 h 26110"/>
                    <a:gd name="connsiteX4" fmla="*/ 26110 w 26110"/>
                    <a:gd name="connsiteY4" fmla="*/ 13055 h 26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110" h="26110">
                      <a:moveTo>
                        <a:pt x="26110" y="13055"/>
                      </a:moveTo>
                      <a:cubicBezTo>
                        <a:pt x="26110" y="20265"/>
                        <a:pt x="20265" y="26111"/>
                        <a:pt x="13055" y="26111"/>
                      </a:cubicBezTo>
                      <a:cubicBezTo>
                        <a:pt x="5845" y="26111"/>
                        <a:pt x="0" y="20266"/>
                        <a:pt x="0" y="13055"/>
                      </a:cubicBezTo>
                      <a:cubicBezTo>
                        <a:pt x="0" y="5845"/>
                        <a:pt x="5845" y="0"/>
                        <a:pt x="13055" y="0"/>
                      </a:cubicBezTo>
                      <a:cubicBezTo>
                        <a:pt x="20265" y="0"/>
                        <a:pt x="26110" y="5845"/>
                        <a:pt x="26110" y="13055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777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1576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497630" y="3027475"/>
              <a:ext cx="404927" cy="342133"/>
              <a:chOff x="1497630" y="3027475"/>
              <a:chExt cx="404927" cy="342133"/>
            </a:xfrm>
          </p:grpSpPr>
          <p:sp>
            <p:nvSpPr>
              <p:cNvPr id="1577" name="Полилиния: фигура 1576">
                <a:extLst>
                  <a:ext uri="{FF2B5EF4-FFF2-40B4-BE49-F238E27FC236}">
                    <a16:creationId xmlns:a16="http://schemas.microsoft.com/office/drawing/2014/main" id="{3549838F-C7A1-4ECE-BD85-FB94DC30026F}"/>
                  </a:ext>
                </a:extLst>
              </p:cNvPr>
              <p:cNvSpPr/>
              <p:nvPr/>
            </p:nvSpPr>
            <p:spPr>
              <a:xfrm>
                <a:off x="1574451" y="3027475"/>
                <a:ext cx="251285" cy="104765"/>
              </a:xfrm>
              <a:custGeom>
                <a:avLst/>
                <a:gdLst>
                  <a:gd name="connsiteX0" fmla="*/ 0 w 251285"/>
                  <a:gd name="connsiteY0" fmla="*/ 0 h 104765"/>
                  <a:gd name="connsiteX1" fmla="*/ 251286 w 251285"/>
                  <a:gd name="connsiteY1" fmla="*/ 0 h 104765"/>
                  <a:gd name="connsiteX2" fmla="*/ 251286 w 251285"/>
                  <a:gd name="connsiteY2" fmla="*/ 104766 h 104765"/>
                  <a:gd name="connsiteX3" fmla="*/ 0 w 251285"/>
                  <a:gd name="connsiteY3" fmla="*/ 104766 h 10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285" h="104765">
                    <a:moveTo>
                      <a:pt x="0" y="0"/>
                    </a:moveTo>
                    <a:lnTo>
                      <a:pt x="251286" y="0"/>
                    </a:lnTo>
                    <a:lnTo>
                      <a:pt x="251286" y="104766"/>
                    </a:lnTo>
                    <a:lnTo>
                      <a:pt x="0" y="104766"/>
                    </a:ln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78" name="Полилиния: фигура 1577">
                <a:extLst>
                  <a:ext uri="{FF2B5EF4-FFF2-40B4-BE49-F238E27FC236}">
                    <a16:creationId xmlns:a16="http://schemas.microsoft.com/office/drawing/2014/main" id="{FE912C1B-F991-44BB-B17F-0BB262A89F2B}"/>
                  </a:ext>
                </a:extLst>
              </p:cNvPr>
              <p:cNvSpPr/>
              <p:nvPr/>
            </p:nvSpPr>
            <p:spPr>
              <a:xfrm>
                <a:off x="1497630" y="3100735"/>
                <a:ext cx="404927" cy="209422"/>
              </a:xfrm>
              <a:custGeom>
                <a:avLst/>
                <a:gdLst>
                  <a:gd name="connsiteX0" fmla="*/ 0 w 404927"/>
                  <a:gd name="connsiteY0" fmla="*/ 0 h 209422"/>
                  <a:gd name="connsiteX1" fmla="*/ 404928 w 404927"/>
                  <a:gd name="connsiteY1" fmla="*/ 0 h 209422"/>
                  <a:gd name="connsiteX2" fmla="*/ 404928 w 404927"/>
                  <a:gd name="connsiteY2" fmla="*/ 209423 h 209422"/>
                  <a:gd name="connsiteX3" fmla="*/ 0 w 404927"/>
                  <a:gd name="connsiteY3" fmla="*/ 209423 h 20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4927" h="209422">
                    <a:moveTo>
                      <a:pt x="0" y="0"/>
                    </a:moveTo>
                    <a:lnTo>
                      <a:pt x="404928" y="0"/>
                    </a:lnTo>
                    <a:lnTo>
                      <a:pt x="404928" y="209423"/>
                    </a:lnTo>
                    <a:lnTo>
                      <a:pt x="0" y="209423"/>
                    </a:lnTo>
                    <a:close/>
                  </a:path>
                </a:pathLst>
              </a:custGeom>
              <a:solidFill>
                <a:srgbClr val="525252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79" name="Полилиния: фигура 1578">
                <a:extLst>
                  <a:ext uri="{FF2B5EF4-FFF2-40B4-BE49-F238E27FC236}">
                    <a16:creationId xmlns:a16="http://schemas.microsoft.com/office/drawing/2014/main" id="{87283CE5-E757-4CDC-9745-CF5C2BF615E4}"/>
                  </a:ext>
                </a:extLst>
              </p:cNvPr>
              <p:cNvSpPr/>
              <p:nvPr/>
            </p:nvSpPr>
            <p:spPr>
              <a:xfrm>
                <a:off x="1574451" y="3100735"/>
                <a:ext cx="251285" cy="69807"/>
              </a:xfrm>
              <a:custGeom>
                <a:avLst/>
                <a:gdLst>
                  <a:gd name="connsiteX0" fmla="*/ 0 w 251285"/>
                  <a:gd name="connsiteY0" fmla="*/ 0 h 69807"/>
                  <a:gd name="connsiteX1" fmla="*/ 251286 w 251285"/>
                  <a:gd name="connsiteY1" fmla="*/ 0 h 69807"/>
                  <a:gd name="connsiteX2" fmla="*/ 251286 w 251285"/>
                  <a:gd name="connsiteY2" fmla="*/ 69808 h 69807"/>
                  <a:gd name="connsiteX3" fmla="*/ 0 w 251285"/>
                  <a:gd name="connsiteY3" fmla="*/ 69808 h 69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285" h="69807">
                    <a:moveTo>
                      <a:pt x="0" y="0"/>
                    </a:moveTo>
                    <a:lnTo>
                      <a:pt x="251286" y="0"/>
                    </a:lnTo>
                    <a:lnTo>
                      <a:pt x="251286" y="69808"/>
                    </a:lnTo>
                    <a:lnTo>
                      <a:pt x="0" y="69808"/>
                    </a:lnTo>
                    <a:close/>
                  </a:path>
                </a:pathLst>
              </a:custGeom>
              <a:solidFill>
                <a:srgbClr val="757575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80" name="Полилиния: фигура 1579">
                <a:extLst>
                  <a:ext uri="{FF2B5EF4-FFF2-40B4-BE49-F238E27FC236}">
                    <a16:creationId xmlns:a16="http://schemas.microsoft.com/office/drawing/2014/main" id="{3DA4FA89-589F-4D2C-BFB4-B9F1A805141B}"/>
                  </a:ext>
                </a:extLst>
              </p:cNvPr>
              <p:cNvSpPr/>
              <p:nvPr/>
            </p:nvSpPr>
            <p:spPr>
              <a:xfrm>
                <a:off x="1574451" y="3205501"/>
                <a:ext cx="251285" cy="104765"/>
              </a:xfrm>
              <a:custGeom>
                <a:avLst/>
                <a:gdLst>
                  <a:gd name="connsiteX0" fmla="*/ 0 w 251285"/>
                  <a:gd name="connsiteY0" fmla="*/ 0 h 104765"/>
                  <a:gd name="connsiteX1" fmla="*/ 251286 w 251285"/>
                  <a:gd name="connsiteY1" fmla="*/ 0 h 104765"/>
                  <a:gd name="connsiteX2" fmla="*/ 251286 w 251285"/>
                  <a:gd name="connsiteY2" fmla="*/ 104766 h 104765"/>
                  <a:gd name="connsiteX3" fmla="*/ 0 w 251285"/>
                  <a:gd name="connsiteY3" fmla="*/ 104766 h 10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285" h="104765">
                    <a:moveTo>
                      <a:pt x="0" y="0"/>
                    </a:moveTo>
                    <a:lnTo>
                      <a:pt x="251286" y="0"/>
                    </a:lnTo>
                    <a:lnTo>
                      <a:pt x="251286" y="104766"/>
                    </a:lnTo>
                    <a:lnTo>
                      <a:pt x="0" y="104766"/>
                    </a:ln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81" name="Полилиния: фигура 1580">
                <a:extLst>
                  <a:ext uri="{FF2B5EF4-FFF2-40B4-BE49-F238E27FC236}">
                    <a16:creationId xmlns:a16="http://schemas.microsoft.com/office/drawing/2014/main" id="{B98415AF-5295-4467-B2B0-45AB57EBD5DE}"/>
                  </a:ext>
                </a:extLst>
              </p:cNvPr>
              <p:cNvSpPr/>
              <p:nvPr/>
            </p:nvSpPr>
            <p:spPr>
              <a:xfrm>
                <a:off x="1574451" y="3264843"/>
                <a:ext cx="251285" cy="104765"/>
              </a:xfrm>
              <a:custGeom>
                <a:avLst/>
                <a:gdLst>
                  <a:gd name="connsiteX0" fmla="*/ 0 w 251285"/>
                  <a:gd name="connsiteY0" fmla="*/ 0 h 104765"/>
                  <a:gd name="connsiteX1" fmla="*/ 251286 w 251285"/>
                  <a:gd name="connsiteY1" fmla="*/ 0 h 104765"/>
                  <a:gd name="connsiteX2" fmla="*/ 251286 w 251285"/>
                  <a:gd name="connsiteY2" fmla="*/ 104766 h 104765"/>
                  <a:gd name="connsiteX3" fmla="*/ 0 w 251285"/>
                  <a:gd name="connsiteY3" fmla="*/ 104766 h 10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1285" h="104765">
                    <a:moveTo>
                      <a:pt x="0" y="0"/>
                    </a:moveTo>
                    <a:lnTo>
                      <a:pt x="251286" y="0"/>
                    </a:lnTo>
                    <a:lnTo>
                      <a:pt x="251286" y="104766"/>
                    </a:lnTo>
                    <a:lnTo>
                      <a:pt x="0" y="104766"/>
                    </a:ln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582" name="Полилиния: фигура 1581">
              <a:extLst>
                <a:ext uri="{FF2B5EF4-FFF2-40B4-BE49-F238E27FC236}">
                  <a16:creationId xmlns:a16="http://schemas.microsoft.com/office/drawing/2014/main" id="{1CBC6B0A-C922-4E9A-B52E-23B361798C7C}"/>
                </a:ext>
              </a:extLst>
            </p:cNvPr>
            <p:cNvSpPr/>
            <p:nvPr/>
          </p:nvSpPr>
          <p:spPr>
            <a:xfrm>
              <a:off x="1979378" y="3198488"/>
              <a:ext cx="258299" cy="90739"/>
            </a:xfrm>
            <a:custGeom>
              <a:avLst/>
              <a:gdLst>
                <a:gd name="connsiteX0" fmla="*/ 0 w 258299"/>
                <a:gd name="connsiteY0" fmla="*/ 0 h 90739"/>
                <a:gd name="connsiteX1" fmla="*/ 258299 w 258299"/>
                <a:gd name="connsiteY1" fmla="*/ 0 h 90739"/>
                <a:gd name="connsiteX2" fmla="*/ 258299 w 258299"/>
                <a:gd name="connsiteY2" fmla="*/ 90739 h 90739"/>
                <a:gd name="connsiteX3" fmla="*/ 0 w 258299"/>
                <a:gd name="connsiteY3" fmla="*/ 90739 h 90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299" h="90739">
                  <a:moveTo>
                    <a:pt x="0" y="0"/>
                  </a:moveTo>
                  <a:lnTo>
                    <a:pt x="258299" y="0"/>
                  </a:lnTo>
                  <a:lnTo>
                    <a:pt x="258299" y="90739"/>
                  </a:lnTo>
                  <a:lnTo>
                    <a:pt x="0" y="90739"/>
                  </a:lnTo>
                  <a:close/>
                </a:path>
              </a:pathLst>
            </a:custGeom>
            <a:solidFill>
              <a:srgbClr val="CCCCCC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83" name="Полилиния: фигура 1582">
              <a:extLst>
                <a:ext uri="{FF2B5EF4-FFF2-40B4-BE49-F238E27FC236}">
                  <a16:creationId xmlns:a16="http://schemas.microsoft.com/office/drawing/2014/main" id="{C111CE10-CF40-4299-B1D0-E742D7604E7A}"/>
                </a:ext>
              </a:extLst>
            </p:cNvPr>
            <p:cNvSpPr/>
            <p:nvPr/>
          </p:nvSpPr>
          <p:spPr>
            <a:xfrm>
              <a:off x="2279540" y="3198488"/>
              <a:ext cx="258299" cy="90739"/>
            </a:xfrm>
            <a:custGeom>
              <a:avLst/>
              <a:gdLst>
                <a:gd name="connsiteX0" fmla="*/ 0 w 258299"/>
                <a:gd name="connsiteY0" fmla="*/ 0 h 90739"/>
                <a:gd name="connsiteX1" fmla="*/ 258299 w 258299"/>
                <a:gd name="connsiteY1" fmla="*/ 0 h 90739"/>
                <a:gd name="connsiteX2" fmla="*/ 258299 w 258299"/>
                <a:gd name="connsiteY2" fmla="*/ 90739 h 90739"/>
                <a:gd name="connsiteX3" fmla="*/ 0 w 258299"/>
                <a:gd name="connsiteY3" fmla="*/ 90739 h 90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299" h="90739">
                  <a:moveTo>
                    <a:pt x="0" y="0"/>
                  </a:moveTo>
                  <a:lnTo>
                    <a:pt x="258299" y="0"/>
                  </a:lnTo>
                  <a:lnTo>
                    <a:pt x="258299" y="90739"/>
                  </a:lnTo>
                  <a:lnTo>
                    <a:pt x="0" y="90739"/>
                  </a:lnTo>
                  <a:close/>
                </a:path>
              </a:pathLst>
            </a:custGeom>
            <a:solidFill>
              <a:srgbClr val="006D3F"/>
            </a:solidFill>
            <a:ln w="10777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27" name="Полилиния: фигура 1626">
            <a:extLst>
              <a:ext uri="{FF2B5EF4-FFF2-40B4-BE49-F238E27FC236}">
                <a16:creationId xmlns:a16="http://schemas.microsoft.com/office/drawing/2014/main" id="{2313BF23-DEE1-4DE5-B380-17577779F1EA}"/>
              </a:ext>
            </a:extLst>
          </p:cNvPr>
          <p:cNvSpPr/>
          <p:nvPr/>
        </p:nvSpPr>
        <p:spPr>
          <a:xfrm>
            <a:off x="2400058" y="2249233"/>
            <a:ext cx="1511600" cy="871894"/>
          </a:xfrm>
          <a:custGeom>
            <a:avLst/>
            <a:gdLst>
              <a:gd name="connsiteX0" fmla="*/ 0 w 1511600"/>
              <a:gd name="connsiteY0" fmla="*/ 0 h 871894"/>
              <a:gd name="connsiteX1" fmla="*/ 1511600 w 1511600"/>
              <a:gd name="connsiteY1" fmla="*/ 0 h 871894"/>
              <a:gd name="connsiteX2" fmla="*/ 1511600 w 1511600"/>
              <a:gd name="connsiteY2" fmla="*/ 871894 h 871894"/>
              <a:gd name="connsiteX3" fmla="*/ 0 w 1511600"/>
              <a:gd name="connsiteY3" fmla="*/ 871894 h 871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1600" h="871894">
                <a:moveTo>
                  <a:pt x="0" y="0"/>
                </a:moveTo>
                <a:lnTo>
                  <a:pt x="1511600" y="0"/>
                </a:lnTo>
                <a:lnTo>
                  <a:pt x="1511600" y="871894"/>
                </a:lnTo>
                <a:lnTo>
                  <a:pt x="0" y="871894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 w="1077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28" name="Полилиния: фигура 1627">
            <a:extLst>
              <a:ext uri="{FF2B5EF4-FFF2-40B4-BE49-F238E27FC236}">
                <a16:creationId xmlns:a16="http://schemas.microsoft.com/office/drawing/2014/main" id="{A6C86CAA-7CFF-46FB-B8A7-EA280B95B745}"/>
              </a:ext>
            </a:extLst>
          </p:cNvPr>
          <p:cNvSpPr/>
          <p:nvPr/>
        </p:nvSpPr>
        <p:spPr>
          <a:xfrm>
            <a:off x="2376753" y="2226036"/>
            <a:ext cx="1511600" cy="871894"/>
          </a:xfrm>
          <a:custGeom>
            <a:avLst/>
            <a:gdLst>
              <a:gd name="connsiteX0" fmla="*/ 0 w 1511600"/>
              <a:gd name="connsiteY0" fmla="*/ 0 h 871894"/>
              <a:gd name="connsiteX1" fmla="*/ 1511600 w 1511600"/>
              <a:gd name="connsiteY1" fmla="*/ 0 h 871894"/>
              <a:gd name="connsiteX2" fmla="*/ 1511600 w 1511600"/>
              <a:gd name="connsiteY2" fmla="*/ 871894 h 871894"/>
              <a:gd name="connsiteX3" fmla="*/ 0 w 1511600"/>
              <a:gd name="connsiteY3" fmla="*/ 871894 h 871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1600" h="871894">
                <a:moveTo>
                  <a:pt x="0" y="0"/>
                </a:moveTo>
                <a:lnTo>
                  <a:pt x="1511600" y="0"/>
                </a:lnTo>
                <a:lnTo>
                  <a:pt x="1511600" y="871894"/>
                </a:lnTo>
                <a:lnTo>
                  <a:pt x="0" y="871894"/>
                </a:lnTo>
                <a:close/>
              </a:path>
            </a:pathLst>
          </a:custGeom>
          <a:solidFill>
            <a:srgbClr val="FFFFFF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grpSp>
        <p:nvGrpSpPr>
          <p:cNvPr id="1629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2997448" y="2640674"/>
            <a:ext cx="180642" cy="179801"/>
            <a:chOff x="2997448" y="2640674"/>
            <a:chExt cx="180642" cy="179801"/>
          </a:xfrm>
        </p:grpSpPr>
        <p:sp>
          <p:nvSpPr>
            <p:cNvPr id="1630" name="Полилиния: фигура 1629">
              <a:extLst>
                <a:ext uri="{FF2B5EF4-FFF2-40B4-BE49-F238E27FC236}">
                  <a16:creationId xmlns:a16="http://schemas.microsoft.com/office/drawing/2014/main" id="{A2BF227A-12E5-4FAF-97A7-2CBBF6D0288E}"/>
                </a:ext>
              </a:extLst>
            </p:cNvPr>
            <p:cNvSpPr/>
            <p:nvPr/>
          </p:nvSpPr>
          <p:spPr>
            <a:xfrm>
              <a:off x="2997448" y="2640674"/>
              <a:ext cx="180642" cy="179801"/>
            </a:xfrm>
            <a:custGeom>
              <a:avLst/>
              <a:gdLst>
                <a:gd name="connsiteX0" fmla="*/ 177184 w 180642"/>
                <a:gd name="connsiteY0" fmla="*/ 90092 h 179801"/>
                <a:gd name="connsiteX1" fmla="*/ 165100 w 180642"/>
                <a:gd name="connsiteY1" fmla="*/ 89229 h 179801"/>
                <a:gd name="connsiteX2" fmla="*/ 163914 w 180642"/>
                <a:gd name="connsiteY2" fmla="*/ 77037 h 179801"/>
                <a:gd name="connsiteX3" fmla="*/ 175674 w 180642"/>
                <a:gd name="connsiteY3" fmla="*/ 73908 h 179801"/>
                <a:gd name="connsiteX4" fmla="*/ 178155 w 180642"/>
                <a:gd name="connsiteY4" fmla="*/ 69700 h 179801"/>
                <a:gd name="connsiteX5" fmla="*/ 176645 w 180642"/>
                <a:gd name="connsiteY5" fmla="*/ 64197 h 179801"/>
                <a:gd name="connsiteX6" fmla="*/ 172437 w 180642"/>
                <a:gd name="connsiteY6" fmla="*/ 61716 h 179801"/>
                <a:gd name="connsiteX7" fmla="*/ 160784 w 180642"/>
                <a:gd name="connsiteY7" fmla="*/ 64844 h 179801"/>
                <a:gd name="connsiteX8" fmla="*/ 155713 w 180642"/>
                <a:gd name="connsiteY8" fmla="*/ 53731 h 179801"/>
                <a:gd name="connsiteX9" fmla="*/ 165748 w 180642"/>
                <a:gd name="connsiteY9" fmla="*/ 46934 h 179801"/>
                <a:gd name="connsiteX10" fmla="*/ 166719 w 180642"/>
                <a:gd name="connsiteY10" fmla="*/ 42187 h 179801"/>
                <a:gd name="connsiteX11" fmla="*/ 163590 w 180642"/>
                <a:gd name="connsiteY11" fmla="*/ 37547 h 179801"/>
                <a:gd name="connsiteX12" fmla="*/ 158842 w 180642"/>
                <a:gd name="connsiteY12" fmla="*/ 36576 h 179801"/>
                <a:gd name="connsiteX13" fmla="*/ 148808 w 180642"/>
                <a:gd name="connsiteY13" fmla="*/ 43374 h 179801"/>
                <a:gd name="connsiteX14" fmla="*/ 140392 w 180642"/>
                <a:gd name="connsiteY14" fmla="*/ 34526 h 179801"/>
                <a:gd name="connsiteX15" fmla="*/ 147729 w 180642"/>
                <a:gd name="connsiteY15" fmla="*/ 24816 h 179801"/>
                <a:gd name="connsiteX16" fmla="*/ 147082 w 180642"/>
                <a:gd name="connsiteY16" fmla="*/ 19961 h 179801"/>
                <a:gd name="connsiteX17" fmla="*/ 142550 w 180642"/>
                <a:gd name="connsiteY17" fmla="*/ 16508 h 179801"/>
                <a:gd name="connsiteX18" fmla="*/ 137695 w 180642"/>
                <a:gd name="connsiteY18" fmla="*/ 17155 h 179801"/>
                <a:gd name="connsiteX19" fmla="*/ 130358 w 180642"/>
                <a:gd name="connsiteY19" fmla="*/ 26866 h 179801"/>
                <a:gd name="connsiteX20" fmla="*/ 119461 w 180642"/>
                <a:gd name="connsiteY20" fmla="*/ 21147 h 179801"/>
                <a:gd name="connsiteX21" fmla="*/ 123237 w 180642"/>
                <a:gd name="connsiteY21" fmla="*/ 9603 h 179801"/>
                <a:gd name="connsiteX22" fmla="*/ 120971 w 180642"/>
                <a:gd name="connsiteY22" fmla="*/ 5287 h 179801"/>
                <a:gd name="connsiteX23" fmla="*/ 115577 w 180642"/>
                <a:gd name="connsiteY23" fmla="*/ 3561 h 179801"/>
                <a:gd name="connsiteX24" fmla="*/ 111261 w 180642"/>
                <a:gd name="connsiteY24" fmla="*/ 5826 h 179801"/>
                <a:gd name="connsiteX25" fmla="*/ 107485 w 180642"/>
                <a:gd name="connsiteY25" fmla="*/ 17371 h 179801"/>
                <a:gd name="connsiteX26" fmla="*/ 96695 w 180642"/>
                <a:gd name="connsiteY26" fmla="*/ 15645 h 179801"/>
                <a:gd name="connsiteX27" fmla="*/ 96695 w 180642"/>
                <a:gd name="connsiteY27" fmla="*/ 3453 h 179801"/>
                <a:gd name="connsiteX28" fmla="*/ 93243 w 180642"/>
                <a:gd name="connsiteY28" fmla="*/ 0 h 179801"/>
                <a:gd name="connsiteX29" fmla="*/ 87632 w 180642"/>
                <a:gd name="connsiteY29" fmla="*/ 0 h 179801"/>
                <a:gd name="connsiteX30" fmla="*/ 84179 w 180642"/>
                <a:gd name="connsiteY30" fmla="*/ 3453 h 179801"/>
                <a:gd name="connsiteX31" fmla="*/ 84179 w 180642"/>
                <a:gd name="connsiteY31" fmla="*/ 15645 h 179801"/>
                <a:gd name="connsiteX32" fmla="*/ 72095 w 180642"/>
                <a:gd name="connsiteY32" fmla="*/ 17695 h 179801"/>
                <a:gd name="connsiteX33" fmla="*/ 68103 w 180642"/>
                <a:gd name="connsiteY33" fmla="*/ 6258 h 179801"/>
                <a:gd name="connsiteX34" fmla="*/ 63680 w 180642"/>
                <a:gd name="connsiteY34" fmla="*/ 4100 h 179801"/>
                <a:gd name="connsiteX35" fmla="*/ 58285 w 180642"/>
                <a:gd name="connsiteY35" fmla="*/ 5934 h 179801"/>
                <a:gd name="connsiteX36" fmla="*/ 56127 w 180642"/>
                <a:gd name="connsiteY36" fmla="*/ 10358 h 179801"/>
                <a:gd name="connsiteX37" fmla="*/ 60119 w 180642"/>
                <a:gd name="connsiteY37" fmla="*/ 21795 h 179801"/>
                <a:gd name="connsiteX38" fmla="*/ 49330 w 180642"/>
                <a:gd name="connsiteY38" fmla="*/ 27621 h 179801"/>
                <a:gd name="connsiteX39" fmla="*/ 41885 w 180642"/>
                <a:gd name="connsiteY39" fmla="*/ 18018 h 179801"/>
                <a:gd name="connsiteX40" fmla="*/ 37030 w 180642"/>
                <a:gd name="connsiteY40" fmla="*/ 17371 h 179801"/>
                <a:gd name="connsiteX41" fmla="*/ 32606 w 180642"/>
                <a:gd name="connsiteY41" fmla="*/ 20824 h 179801"/>
                <a:gd name="connsiteX42" fmla="*/ 31959 w 180642"/>
                <a:gd name="connsiteY42" fmla="*/ 25679 h 179801"/>
                <a:gd name="connsiteX43" fmla="*/ 39403 w 180642"/>
                <a:gd name="connsiteY43" fmla="*/ 35282 h 179801"/>
                <a:gd name="connsiteX44" fmla="*/ 31095 w 180642"/>
                <a:gd name="connsiteY44" fmla="*/ 44345 h 179801"/>
                <a:gd name="connsiteX45" fmla="*/ 20953 w 180642"/>
                <a:gd name="connsiteY45" fmla="*/ 37763 h 179801"/>
                <a:gd name="connsiteX46" fmla="*/ 16206 w 180642"/>
                <a:gd name="connsiteY46" fmla="*/ 38734 h 179801"/>
                <a:gd name="connsiteX47" fmla="*/ 13077 w 180642"/>
                <a:gd name="connsiteY47" fmla="*/ 43481 h 179801"/>
                <a:gd name="connsiteX48" fmla="*/ 14048 w 180642"/>
                <a:gd name="connsiteY48" fmla="*/ 48229 h 179801"/>
                <a:gd name="connsiteX49" fmla="*/ 24190 w 180642"/>
                <a:gd name="connsiteY49" fmla="*/ 54810 h 179801"/>
                <a:gd name="connsiteX50" fmla="*/ 19335 w 180642"/>
                <a:gd name="connsiteY50" fmla="*/ 66031 h 179801"/>
                <a:gd name="connsiteX51" fmla="*/ 7574 w 180642"/>
                <a:gd name="connsiteY51" fmla="*/ 63118 h 179801"/>
                <a:gd name="connsiteX52" fmla="*/ 3367 w 180642"/>
                <a:gd name="connsiteY52" fmla="*/ 65600 h 179801"/>
                <a:gd name="connsiteX53" fmla="*/ 1964 w 180642"/>
                <a:gd name="connsiteY53" fmla="*/ 71102 h 179801"/>
                <a:gd name="connsiteX54" fmla="*/ 4445 w 180642"/>
                <a:gd name="connsiteY54" fmla="*/ 75310 h 179801"/>
                <a:gd name="connsiteX55" fmla="*/ 16206 w 180642"/>
                <a:gd name="connsiteY55" fmla="*/ 78223 h 179801"/>
                <a:gd name="connsiteX56" fmla="*/ 15235 w 180642"/>
                <a:gd name="connsiteY56" fmla="*/ 90200 h 179801"/>
                <a:gd name="connsiteX57" fmla="*/ 15235 w 180642"/>
                <a:gd name="connsiteY57" fmla="*/ 90416 h 179801"/>
                <a:gd name="connsiteX58" fmla="*/ 3151 w 180642"/>
                <a:gd name="connsiteY58" fmla="*/ 91494 h 179801"/>
                <a:gd name="connsiteX59" fmla="*/ 22 w 180642"/>
                <a:gd name="connsiteY59" fmla="*/ 95271 h 179801"/>
                <a:gd name="connsiteX60" fmla="*/ 561 w 180642"/>
                <a:gd name="connsiteY60" fmla="*/ 100881 h 179801"/>
                <a:gd name="connsiteX61" fmla="*/ 4338 w 180642"/>
                <a:gd name="connsiteY61" fmla="*/ 104010 h 179801"/>
                <a:gd name="connsiteX62" fmla="*/ 16422 w 180642"/>
                <a:gd name="connsiteY62" fmla="*/ 102931 h 179801"/>
                <a:gd name="connsiteX63" fmla="*/ 19443 w 180642"/>
                <a:gd name="connsiteY63" fmla="*/ 114800 h 179801"/>
                <a:gd name="connsiteX64" fmla="*/ 8330 w 180642"/>
                <a:gd name="connsiteY64" fmla="*/ 119763 h 179801"/>
                <a:gd name="connsiteX65" fmla="*/ 6603 w 180642"/>
                <a:gd name="connsiteY65" fmla="*/ 124294 h 179801"/>
                <a:gd name="connsiteX66" fmla="*/ 8869 w 180642"/>
                <a:gd name="connsiteY66" fmla="*/ 129473 h 179801"/>
                <a:gd name="connsiteX67" fmla="*/ 13401 w 180642"/>
                <a:gd name="connsiteY67" fmla="*/ 131200 h 179801"/>
                <a:gd name="connsiteX68" fmla="*/ 24514 w 180642"/>
                <a:gd name="connsiteY68" fmla="*/ 126236 h 179801"/>
                <a:gd name="connsiteX69" fmla="*/ 31311 w 180642"/>
                <a:gd name="connsiteY69" fmla="*/ 136486 h 179801"/>
                <a:gd name="connsiteX70" fmla="*/ 22464 w 180642"/>
                <a:gd name="connsiteY70" fmla="*/ 144794 h 179801"/>
                <a:gd name="connsiteX71" fmla="*/ 22248 w 180642"/>
                <a:gd name="connsiteY71" fmla="*/ 149649 h 179801"/>
                <a:gd name="connsiteX72" fmla="*/ 26132 w 180642"/>
                <a:gd name="connsiteY72" fmla="*/ 153749 h 179801"/>
                <a:gd name="connsiteX73" fmla="*/ 30988 w 180642"/>
                <a:gd name="connsiteY73" fmla="*/ 153965 h 179801"/>
                <a:gd name="connsiteX74" fmla="*/ 39835 w 180642"/>
                <a:gd name="connsiteY74" fmla="*/ 145657 h 179801"/>
                <a:gd name="connsiteX75" fmla="*/ 49545 w 180642"/>
                <a:gd name="connsiteY75" fmla="*/ 153102 h 179801"/>
                <a:gd name="connsiteX76" fmla="*/ 43827 w 180642"/>
                <a:gd name="connsiteY76" fmla="*/ 163784 h 179801"/>
                <a:gd name="connsiteX77" fmla="*/ 45230 w 180642"/>
                <a:gd name="connsiteY77" fmla="*/ 168423 h 179801"/>
                <a:gd name="connsiteX78" fmla="*/ 50193 w 180642"/>
                <a:gd name="connsiteY78" fmla="*/ 171120 h 179801"/>
                <a:gd name="connsiteX79" fmla="*/ 54832 w 180642"/>
                <a:gd name="connsiteY79" fmla="*/ 169718 h 179801"/>
                <a:gd name="connsiteX80" fmla="*/ 60551 w 180642"/>
                <a:gd name="connsiteY80" fmla="*/ 159036 h 179801"/>
                <a:gd name="connsiteX81" fmla="*/ 72203 w 180642"/>
                <a:gd name="connsiteY81" fmla="*/ 162921 h 179801"/>
                <a:gd name="connsiteX82" fmla="*/ 70261 w 180642"/>
                <a:gd name="connsiteY82" fmla="*/ 174897 h 179801"/>
                <a:gd name="connsiteX83" fmla="*/ 73174 w 180642"/>
                <a:gd name="connsiteY83" fmla="*/ 178889 h 179801"/>
                <a:gd name="connsiteX84" fmla="*/ 78785 w 180642"/>
                <a:gd name="connsiteY84" fmla="*/ 179752 h 179801"/>
                <a:gd name="connsiteX85" fmla="*/ 82777 w 180642"/>
                <a:gd name="connsiteY85" fmla="*/ 176839 h 179801"/>
                <a:gd name="connsiteX86" fmla="*/ 84719 w 180642"/>
                <a:gd name="connsiteY86" fmla="*/ 164863 h 179801"/>
                <a:gd name="connsiteX87" fmla="*/ 90222 w 180642"/>
                <a:gd name="connsiteY87" fmla="*/ 165078 h 179801"/>
                <a:gd name="connsiteX88" fmla="*/ 97019 w 180642"/>
                <a:gd name="connsiteY88" fmla="*/ 164755 h 179801"/>
                <a:gd name="connsiteX89" fmla="*/ 99177 w 180642"/>
                <a:gd name="connsiteY89" fmla="*/ 176731 h 179801"/>
                <a:gd name="connsiteX90" fmla="*/ 103169 w 180642"/>
                <a:gd name="connsiteY90" fmla="*/ 179536 h 179801"/>
                <a:gd name="connsiteX91" fmla="*/ 108779 w 180642"/>
                <a:gd name="connsiteY91" fmla="*/ 178565 h 179801"/>
                <a:gd name="connsiteX92" fmla="*/ 111585 w 180642"/>
                <a:gd name="connsiteY92" fmla="*/ 174573 h 179801"/>
                <a:gd name="connsiteX93" fmla="*/ 109427 w 180642"/>
                <a:gd name="connsiteY93" fmla="*/ 162597 h 179801"/>
                <a:gd name="connsiteX94" fmla="*/ 120971 w 180642"/>
                <a:gd name="connsiteY94" fmla="*/ 158497 h 179801"/>
                <a:gd name="connsiteX95" fmla="*/ 126906 w 180642"/>
                <a:gd name="connsiteY95" fmla="*/ 169070 h 179801"/>
                <a:gd name="connsiteX96" fmla="*/ 131653 w 180642"/>
                <a:gd name="connsiteY96" fmla="*/ 170365 h 179801"/>
                <a:gd name="connsiteX97" fmla="*/ 136616 w 180642"/>
                <a:gd name="connsiteY97" fmla="*/ 167668 h 179801"/>
                <a:gd name="connsiteX98" fmla="*/ 137911 w 180642"/>
                <a:gd name="connsiteY98" fmla="*/ 162921 h 179801"/>
                <a:gd name="connsiteX99" fmla="*/ 132085 w 180642"/>
                <a:gd name="connsiteY99" fmla="*/ 152347 h 179801"/>
                <a:gd name="connsiteX100" fmla="*/ 141687 w 180642"/>
                <a:gd name="connsiteY100" fmla="*/ 144686 h 179801"/>
                <a:gd name="connsiteX101" fmla="*/ 150750 w 180642"/>
                <a:gd name="connsiteY101" fmla="*/ 152778 h 179801"/>
                <a:gd name="connsiteX102" fmla="*/ 155606 w 180642"/>
                <a:gd name="connsiteY102" fmla="*/ 152563 h 179801"/>
                <a:gd name="connsiteX103" fmla="*/ 159382 w 180642"/>
                <a:gd name="connsiteY103" fmla="*/ 148355 h 179801"/>
                <a:gd name="connsiteX104" fmla="*/ 159166 w 180642"/>
                <a:gd name="connsiteY104" fmla="*/ 143500 h 179801"/>
                <a:gd name="connsiteX105" fmla="*/ 150103 w 180642"/>
                <a:gd name="connsiteY105" fmla="*/ 135407 h 179801"/>
                <a:gd name="connsiteX106" fmla="*/ 156684 w 180642"/>
                <a:gd name="connsiteY106" fmla="*/ 125050 h 179801"/>
                <a:gd name="connsiteX107" fmla="*/ 167798 w 180642"/>
                <a:gd name="connsiteY107" fmla="*/ 129797 h 179801"/>
                <a:gd name="connsiteX108" fmla="*/ 172329 w 180642"/>
                <a:gd name="connsiteY108" fmla="*/ 127963 h 179801"/>
                <a:gd name="connsiteX109" fmla="*/ 174487 w 180642"/>
                <a:gd name="connsiteY109" fmla="*/ 122784 h 179801"/>
                <a:gd name="connsiteX110" fmla="*/ 172653 w 180642"/>
                <a:gd name="connsiteY110" fmla="*/ 118252 h 179801"/>
                <a:gd name="connsiteX111" fmla="*/ 161540 w 180642"/>
                <a:gd name="connsiteY111" fmla="*/ 113505 h 179801"/>
                <a:gd name="connsiteX112" fmla="*/ 164453 w 180642"/>
                <a:gd name="connsiteY112" fmla="*/ 101529 h 179801"/>
                <a:gd name="connsiteX113" fmla="*/ 176537 w 180642"/>
                <a:gd name="connsiteY113" fmla="*/ 102392 h 179801"/>
                <a:gd name="connsiteX114" fmla="*/ 180205 w 180642"/>
                <a:gd name="connsiteY114" fmla="*/ 99155 h 179801"/>
                <a:gd name="connsiteX115" fmla="*/ 180637 w 180642"/>
                <a:gd name="connsiteY115" fmla="*/ 93544 h 179801"/>
                <a:gd name="connsiteX116" fmla="*/ 177400 w 180642"/>
                <a:gd name="connsiteY116" fmla="*/ 89876 h 179801"/>
                <a:gd name="connsiteX117" fmla="*/ 90114 w 180642"/>
                <a:gd name="connsiteY117" fmla="*/ 132386 h 179801"/>
                <a:gd name="connsiteX118" fmla="*/ 48035 w 180642"/>
                <a:gd name="connsiteY118" fmla="*/ 90308 h 179801"/>
                <a:gd name="connsiteX119" fmla="*/ 90114 w 180642"/>
                <a:gd name="connsiteY119" fmla="*/ 48229 h 179801"/>
                <a:gd name="connsiteX120" fmla="*/ 132193 w 180642"/>
                <a:gd name="connsiteY120" fmla="*/ 90308 h 179801"/>
                <a:gd name="connsiteX121" fmla="*/ 90114 w 180642"/>
                <a:gd name="connsiteY121" fmla="*/ 132386 h 179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80642" h="179801">
                  <a:moveTo>
                    <a:pt x="177184" y="90092"/>
                  </a:moveTo>
                  <a:lnTo>
                    <a:pt x="165100" y="89229"/>
                  </a:lnTo>
                  <a:cubicBezTo>
                    <a:pt x="165100" y="85021"/>
                    <a:pt x="164669" y="81029"/>
                    <a:pt x="163914" y="77037"/>
                  </a:cubicBezTo>
                  <a:lnTo>
                    <a:pt x="175674" y="73908"/>
                  </a:lnTo>
                  <a:cubicBezTo>
                    <a:pt x="177508" y="73368"/>
                    <a:pt x="178587" y="71534"/>
                    <a:pt x="178155" y="69700"/>
                  </a:cubicBezTo>
                  <a:lnTo>
                    <a:pt x="176645" y="64197"/>
                  </a:lnTo>
                  <a:cubicBezTo>
                    <a:pt x="176106" y="62363"/>
                    <a:pt x="174271" y="61284"/>
                    <a:pt x="172437" y="61716"/>
                  </a:cubicBezTo>
                  <a:lnTo>
                    <a:pt x="160784" y="64844"/>
                  </a:lnTo>
                  <a:cubicBezTo>
                    <a:pt x="159382" y="60960"/>
                    <a:pt x="157656" y="57292"/>
                    <a:pt x="155713" y="53731"/>
                  </a:cubicBezTo>
                  <a:lnTo>
                    <a:pt x="165748" y="46934"/>
                  </a:lnTo>
                  <a:cubicBezTo>
                    <a:pt x="167366" y="45855"/>
                    <a:pt x="167798" y="43697"/>
                    <a:pt x="166719" y="42187"/>
                  </a:cubicBezTo>
                  <a:lnTo>
                    <a:pt x="163590" y="37547"/>
                  </a:lnTo>
                  <a:cubicBezTo>
                    <a:pt x="162511" y="35929"/>
                    <a:pt x="160353" y="35497"/>
                    <a:pt x="158842" y="36576"/>
                  </a:cubicBezTo>
                  <a:lnTo>
                    <a:pt x="148808" y="43374"/>
                  </a:lnTo>
                  <a:cubicBezTo>
                    <a:pt x="146219" y="40137"/>
                    <a:pt x="143413" y="37224"/>
                    <a:pt x="140392" y="34526"/>
                  </a:cubicBezTo>
                  <a:lnTo>
                    <a:pt x="147729" y="24816"/>
                  </a:lnTo>
                  <a:cubicBezTo>
                    <a:pt x="148916" y="23305"/>
                    <a:pt x="148592" y="21147"/>
                    <a:pt x="147082" y="19961"/>
                  </a:cubicBezTo>
                  <a:lnTo>
                    <a:pt x="142550" y="16508"/>
                  </a:lnTo>
                  <a:cubicBezTo>
                    <a:pt x="141040" y="15321"/>
                    <a:pt x="138882" y="15645"/>
                    <a:pt x="137695" y="17155"/>
                  </a:cubicBezTo>
                  <a:lnTo>
                    <a:pt x="130358" y="26866"/>
                  </a:lnTo>
                  <a:cubicBezTo>
                    <a:pt x="126906" y="24708"/>
                    <a:pt x="123237" y="22766"/>
                    <a:pt x="119461" y="21147"/>
                  </a:cubicBezTo>
                  <a:lnTo>
                    <a:pt x="123237" y="9603"/>
                  </a:lnTo>
                  <a:cubicBezTo>
                    <a:pt x="123777" y="7768"/>
                    <a:pt x="122806" y="5826"/>
                    <a:pt x="120971" y="5287"/>
                  </a:cubicBezTo>
                  <a:lnTo>
                    <a:pt x="115577" y="3561"/>
                  </a:lnTo>
                  <a:cubicBezTo>
                    <a:pt x="113743" y="3021"/>
                    <a:pt x="111801" y="3992"/>
                    <a:pt x="111261" y="5826"/>
                  </a:cubicBezTo>
                  <a:lnTo>
                    <a:pt x="107485" y="17371"/>
                  </a:lnTo>
                  <a:cubicBezTo>
                    <a:pt x="103924" y="16508"/>
                    <a:pt x="100364" y="15968"/>
                    <a:pt x="96695" y="15645"/>
                  </a:cubicBezTo>
                  <a:lnTo>
                    <a:pt x="96695" y="3453"/>
                  </a:lnTo>
                  <a:cubicBezTo>
                    <a:pt x="96695" y="1511"/>
                    <a:pt x="95185" y="0"/>
                    <a:pt x="93243" y="0"/>
                  </a:cubicBezTo>
                  <a:lnTo>
                    <a:pt x="87632" y="0"/>
                  </a:lnTo>
                  <a:cubicBezTo>
                    <a:pt x="85690" y="0"/>
                    <a:pt x="84179" y="1511"/>
                    <a:pt x="84179" y="3453"/>
                  </a:cubicBezTo>
                  <a:lnTo>
                    <a:pt x="84179" y="15645"/>
                  </a:lnTo>
                  <a:cubicBezTo>
                    <a:pt x="80080" y="15968"/>
                    <a:pt x="75979" y="16616"/>
                    <a:pt x="72095" y="17695"/>
                  </a:cubicBezTo>
                  <a:lnTo>
                    <a:pt x="68103" y="6258"/>
                  </a:lnTo>
                  <a:cubicBezTo>
                    <a:pt x="67456" y="4424"/>
                    <a:pt x="65514" y="3453"/>
                    <a:pt x="63680" y="4100"/>
                  </a:cubicBezTo>
                  <a:lnTo>
                    <a:pt x="58285" y="5934"/>
                  </a:lnTo>
                  <a:cubicBezTo>
                    <a:pt x="56451" y="6582"/>
                    <a:pt x="55480" y="8524"/>
                    <a:pt x="56127" y="10358"/>
                  </a:cubicBezTo>
                  <a:lnTo>
                    <a:pt x="60119" y="21795"/>
                  </a:lnTo>
                  <a:cubicBezTo>
                    <a:pt x="56343" y="23413"/>
                    <a:pt x="52782" y="25463"/>
                    <a:pt x="49330" y="27621"/>
                  </a:cubicBezTo>
                  <a:lnTo>
                    <a:pt x="41885" y="18018"/>
                  </a:lnTo>
                  <a:cubicBezTo>
                    <a:pt x="40698" y="16508"/>
                    <a:pt x="38540" y="16292"/>
                    <a:pt x="37030" y="17371"/>
                  </a:cubicBezTo>
                  <a:lnTo>
                    <a:pt x="32606" y="20824"/>
                  </a:lnTo>
                  <a:cubicBezTo>
                    <a:pt x="31095" y="22010"/>
                    <a:pt x="30880" y="24168"/>
                    <a:pt x="31959" y="25679"/>
                  </a:cubicBezTo>
                  <a:lnTo>
                    <a:pt x="39403" y="35282"/>
                  </a:lnTo>
                  <a:cubicBezTo>
                    <a:pt x="36382" y="38087"/>
                    <a:pt x="33685" y="41108"/>
                    <a:pt x="31095" y="44345"/>
                  </a:cubicBezTo>
                  <a:lnTo>
                    <a:pt x="20953" y="37763"/>
                  </a:lnTo>
                  <a:cubicBezTo>
                    <a:pt x="19335" y="36684"/>
                    <a:pt x="17177" y="37224"/>
                    <a:pt x="16206" y="38734"/>
                  </a:cubicBezTo>
                  <a:lnTo>
                    <a:pt x="13077" y="43481"/>
                  </a:lnTo>
                  <a:cubicBezTo>
                    <a:pt x="11998" y="45100"/>
                    <a:pt x="12538" y="47258"/>
                    <a:pt x="14048" y="48229"/>
                  </a:cubicBezTo>
                  <a:lnTo>
                    <a:pt x="24190" y="54810"/>
                  </a:lnTo>
                  <a:cubicBezTo>
                    <a:pt x="22248" y="58371"/>
                    <a:pt x="20630" y="62147"/>
                    <a:pt x="19335" y="66031"/>
                  </a:cubicBezTo>
                  <a:lnTo>
                    <a:pt x="7574" y="63118"/>
                  </a:lnTo>
                  <a:cubicBezTo>
                    <a:pt x="5740" y="62687"/>
                    <a:pt x="3798" y="63766"/>
                    <a:pt x="3367" y="65600"/>
                  </a:cubicBezTo>
                  <a:lnTo>
                    <a:pt x="1964" y="71102"/>
                  </a:lnTo>
                  <a:cubicBezTo>
                    <a:pt x="1532" y="72937"/>
                    <a:pt x="2611" y="74879"/>
                    <a:pt x="4445" y="75310"/>
                  </a:cubicBezTo>
                  <a:lnTo>
                    <a:pt x="16206" y="78223"/>
                  </a:lnTo>
                  <a:cubicBezTo>
                    <a:pt x="15559" y="82108"/>
                    <a:pt x="15235" y="86100"/>
                    <a:pt x="15235" y="90200"/>
                  </a:cubicBezTo>
                  <a:cubicBezTo>
                    <a:pt x="15235" y="90200"/>
                    <a:pt x="15235" y="90416"/>
                    <a:pt x="15235" y="90416"/>
                  </a:cubicBezTo>
                  <a:lnTo>
                    <a:pt x="3151" y="91494"/>
                  </a:lnTo>
                  <a:cubicBezTo>
                    <a:pt x="1209" y="91710"/>
                    <a:pt x="-194" y="93329"/>
                    <a:pt x="22" y="95271"/>
                  </a:cubicBezTo>
                  <a:lnTo>
                    <a:pt x="561" y="100881"/>
                  </a:lnTo>
                  <a:cubicBezTo>
                    <a:pt x="777" y="102823"/>
                    <a:pt x="2396" y="104226"/>
                    <a:pt x="4338" y="104010"/>
                  </a:cubicBezTo>
                  <a:lnTo>
                    <a:pt x="16422" y="102931"/>
                  </a:lnTo>
                  <a:cubicBezTo>
                    <a:pt x="17069" y="107031"/>
                    <a:pt x="18148" y="111023"/>
                    <a:pt x="19443" y="114800"/>
                  </a:cubicBezTo>
                  <a:lnTo>
                    <a:pt x="8330" y="119763"/>
                  </a:lnTo>
                  <a:cubicBezTo>
                    <a:pt x="6603" y="120518"/>
                    <a:pt x="5848" y="122568"/>
                    <a:pt x="6603" y="124294"/>
                  </a:cubicBezTo>
                  <a:lnTo>
                    <a:pt x="8869" y="129473"/>
                  </a:lnTo>
                  <a:cubicBezTo>
                    <a:pt x="9625" y="131200"/>
                    <a:pt x="11674" y="131955"/>
                    <a:pt x="13401" y="131200"/>
                  </a:cubicBezTo>
                  <a:lnTo>
                    <a:pt x="24514" y="126236"/>
                  </a:lnTo>
                  <a:cubicBezTo>
                    <a:pt x="26456" y="129797"/>
                    <a:pt x="28722" y="133250"/>
                    <a:pt x="31311" y="136486"/>
                  </a:cubicBezTo>
                  <a:lnTo>
                    <a:pt x="22464" y="144794"/>
                  </a:lnTo>
                  <a:cubicBezTo>
                    <a:pt x="21061" y="146089"/>
                    <a:pt x="20953" y="148247"/>
                    <a:pt x="22248" y="149649"/>
                  </a:cubicBezTo>
                  <a:lnTo>
                    <a:pt x="26132" y="153749"/>
                  </a:lnTo>
                  <a:cubicBezTo>
                    <a:pt x="27427" y="155152"/>
                    <a:pt x="29585" y="155260"/>
                    <a:pt x="30988" y="153965"/>
                  </a:cubicBezTo>
                  <a:lnTo>
                    <a:pt x="39835" y="145657"/>
                  </a:lnTo>
                  <a:cubicBezTo>
                    <a:pt x="42856" y="148355"/>
                    <a:pt x="46093" y="150836"/>
                    <a:pt x="49545" y="153102"/>
                  </a:cubicBezTo>
                  <a:lnTo>
                    <a:pt x="43827" y="163784"/>
                  </a:lnTo>
                  <a:cubicBezTo>
                    <a:pt x="42964" y="165510"/>
                    <a:pt x="43611" y="167560"/>
                    <a:pt x="45230" y="168423"/>
                  </a:cubicBezTo>
                  <a:lnTo>
                    <a:pt x="50193" y="171120"/>
                  </a:lnTo>
                  <a:cubicBezTo>
                    <a:pt x="51919" y="171984"/>
                    <a:pt x="53969" y="171336"/>
                    <a:pt x="54832" y="169718"/>
                  </a:cubicBezTo>
                  <a:lnTo>
                    <a:pt x="60551" y="159036"/>
                  </a:lnTo>
                  <a:cubicBezTo>
                    <a:pt x="64327" y="160655"/>
                    <a:pt x="68211" y="161949"/>
                    <a:pt x="72203" y="162921"/>
                  </a:cubicBezTo>
                  <a:lnTo>
                    <a:pt x="70261" y="174897"/>
                  </a:lnTo>
                  <a:cubicBezTo>
                    <a:pt x="69937" y="176731"/>
                    <a:pt x="71232" y="178565"/>
                    <a:pt x="73174" y="178889"/>
                  </a:cubicBezTo>
                  <a:lnTo>
                    <a:pt x="78785" y="179752"/>
                  </a:lnTo>
                  <a:cubicBezTo>
                    <a:pt x="80619" y="180076"/>
                    <a:pt x="82453" y="178781"/>
                    <a:pt x="82777" y="176839"/>
                  </a:cubicBezTo>
                  <a:lnTo>
                    <a:pt x="84719" y="164863"/>
                  </a:lnTo>
                  <a:cubicBezTo>
                    <a:pt x="86553" y="164970"/>
                    <a:pt x="88387" y="165078"/>
                    <a:pt x="90222" y="165078"/>
                  </a:cubicBezTo>
                  <a:cubicBezTo>
                    <a:pt x="92487" y="165078"/>
                    <a:pt x="94753" y="164970"/>
                    <a:pt x="97019" y="164755"/>
                  </a:cubicBezTo>
                  <a:lnTo>
                    <a:pt x="99177" y="176731"/>
                  </a:lnTo>
                  <a:cubicBezTo>
                    <a:pt x="99501" y="178565"/>
                    <a:pt x="101335" y="179860"/>
                    <a:pt x="103169" y="179536"/>
                  </a:cubicBezTo>
                  <a:lnTo>
                    <a:pt x="108779" y="178565"/>
                  </a:lnTo>
                  <a:cubicBezTo>
                    <a:pt x="110614" y="178242"/>
                    <a:pt x="111908" y="176407"/>
                    <a:pt x="111585" y="174573"/>
                  </a:cubicBezTo>
                  <a:lnTo>
                    <a:pt x="109427" y="162597"/>
                  </a:lnTo>
                  <a:cubicBezTo>
                    <a:pt x="113419" y="161518"/>
                    <a:pt x="117303" y="160115"/>
                    <a:pt x="120971" y="158497"/>
                  </a:cubicBezTo>
                  <a:lnTo>
                    <a:pt x="126906" y="169070"/>
                  </a:lnTo>
                  <a:cubicBezTo>
                    <a:pt x="127877" y="170689"/>
                    <a:pt x="129927" y="171336"/>
                    <a:pt x="131653" y="170365"/>
                  </a:cubicBezTo>
                  <a:lnTo>
                    <a:pt x="136616" y="167668"/>
                  </a:lnTo>
                  <a:cubicBezTo>
                    <a:pt x="138235" y="166697"/>
                    <a:pt x="138882" y="164647"/>
                    <a:pt x="137911" y="162921"/>
                  </a:cubicBezTo>
                  <a:lnTo>
                    <a:pt x="132085" y="152347"/>
                  </a:lnTo>
                  <a:cubicBezTo>
                    <a:pt x="135537" y="150081"/>
                    <a:pt x="138666" y="147492"/>
                    <a:pt x="141687" y="144686"/>
                  </a:cubicBezTo>
                  <a:lnTo>
                    <a:pt x="150750" y="152778"/>
                  </a:lnTo>
                  <a:cubicBezTo>
                    <a:pt x="152153" y="154073"/>
                    <a:pt x="154311" y="153965"/>
                    <a:pt x="155606" y="152563"/>
                  </a:cubicBezTo>
                  <a:lnTo>
                    <a:pt x="159382" y="148355"/>
                  </a:lnTo>
                  <a:cubicBezTo>
                    <a:pt x="160677" y="146952"/>
                    <a:pt x="160569" y="144794"/>
                    <a:pt x="159166" y="143500"/>
                  </a:cubicBezTo>
                  <a:lnTo>
                    <a:pt x="150103" y="135407"/>
                  </a:lnTo>
                  <a:cubicBezTo>
                    <a:pt x="152585" y="132171"/>
                    <a:pt x="154742" y="128718"/>
                    <a:pt x="156684" y="125050"/>
                  </a:cubicBezTo>
                  <a:lnTo>
                    <a:pt x="167798" y="129797"/>
                  </a:lnTo>
                  <a:cubicBezTo>
                    <a:pt x="169524" y="130552"/>
                    <a:pt x="171574" y="129797"/>
                    <a:pt x="172329" y="127963"/>
                  </a:cubicBezTo>
                  <a:lnTo>
                    <a:pt x="174487" y="122784"/>
                  </a:lnTo>
                  <a:cubicBezTo>
                    <a:pt x="175242" y="121057"/>
                    <a:pt x="174487" y="119007"/>
                    <a:pt x="172653" y="118252"/>
                  </a:cubicBezTo>
                  <a:lnTo>
                    <a:pt x="161540" y="113505"/>
                  </a:lnTo>
                  <a:cubicBezTo>
                    <a:pt x="162834" y="109621"/>
                    <a:pt x="163806" y="105629"/>
                    <a:pt x="164453" y="101529"/>
                  </a:cubicBezTo>
                  <a:lnTo>
                    <a:pt x="176537" y="102392"/>
                  </a:lnTo>
                  <a:cubicBezTo>
                    <a:pt x="178479" y="102500"/>
                    <a:pt x="180098" y="101097"/>
                    <a:pt x="180205" y="99155"/>
                  </a:cubicBezTo>
                  <a:lnTo>
                    <a:pt x="180637" y="93544"/>
                  </a:lnTo>
                  <a:cubicBezTo>
                    <a:pt x="180745" y="91602"/>
                    <a:pt x="179342" y="89984"/>
                    <a:pt x="177400" y="89876"/>
                  </a:cubicBezTo>
                  <a:close/>
                  <a:moveTo>
                    <a:pt x="90114" y="132386"/>
                  </a:moveTo>
                  <a:cubicBezTo>
                    <a:pt x="66916" y="132386"/>
                    <a:pt x="48035" y="113505"/>
                    <a:pt x="48035" y="90308"/>
                  </a:cubicBezTo>
                  <a:cubicBezTo>
                    <a:pt x="48035" y="67110"/>
                    <a:pt x="66916" y="48229"/>
                    <a:pt x="90114" y="48229"/>
                  </a:cubicBezTo>
                  <a:cubicBezTo>
                    <a:pt x="113311" y="48229"/>
                    <a:pt x="132193" y="67110"/>
                    <a:pt x="132193" y="90308"/>
                  </a:cubicBezTo>
                  <a:cubicBezTo>
                    <a:pt x="132193" y="113505"/>
                    <a:pt x="113311" y="132386"/>
                    <a:pt x="90114" y="132386"/>
                  </a:cubicBez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1" name="Полилиния: фигура 1630">
              <a:extLst>
                <a:ext uri="{FF2B5EF4-FFF2-40B4-BE49-F238E27FC236}">
                  <a16:creationId xmlns:a16="http://schemas.microsoft.com/office/drawing/2014/main" id="{1F0A9C6D-84D3-4FAB-A8DF-5CF23BCC31BC}"/>
                </a:ext>
              </a:extLst>
            </p:cNvPr>
            <p:cNvSpPr/>
            <p:nvPr/>
          </p:nvSpPr>
          <p:spPr>
            <a:xfrm>
              <a:off x="3028759" y="2672179"/>
              <a:ext cx="117604" cy="117604"/>
            </a:xfrm>
            <a:custGeom>
              <a:avLst/>
              <a:gdLst>
                <a:gd name="connsiteX0" fmla="*/ 117605 w 117604"/>
                <a:gd name="connsiteY0" fmla="*/ 58802 h 117604"/>
                <a:gd name="connsiteX1" fmla="*/ 58802 w 117604"/>
                <a:gd name="connsiteY1" fmla="*/ 117605 h 117604"/>
                <a:gd name="connsiteX2" fmla="*/ 0 w 117604"/>
                <a:gd name="connsiteY2" fmla="*/ 58802 h 117604"/>
                <a:gd name="connsiteX3" fmla="*/ 58802 w 117604"/>
                <a:gd name="connsiteY3" fmla="*/ 0 h 117604"/>
                <a:gd name="connsiteX4" fmla="*/ 117605 w 117604"/>
                <a:gd name="connsiteY4" fmla="*/ 58802 h 11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604" h="117604">
                  <a:moveTo>
                    <a:pt x="117605" y="58802"/>
                  </a:moveTo>
                  <a:cubicBezTo>
                    <a:pt x="117605" y="91279"/>
                    <a:pt x="91279" y="117605"/>
                    <a:pt x="58802" y="117605"/>
                  </a:cubicBezTo>
                  <a:cubicBezTo>
                    <a:pt x="26326" y="117605"/>
                    <a:pt x="0" y="91279"/>
                    <a:pt x="0" y="58802"/>
                  </a:cubicBezTo>
                  <a:cubicBezTo>
                    <a:pt x="0" y="26326"/>
                    <a:pt x="26326" y="0"/>
                    <a:pt x="58802" y="0"/>
                  </a:cubicBezTo>
                  <a:cubicBezTo>
                    <a:pt x="91279" y="0"/>
                    <a:pt x="117605" y="26326"/>
                    <a:pt x="117605" y="58802"/>
                  </a:cubicBezTo>
                  <a:close/>
                </a:path>
              </a:pathLst>
            </a:custGeom>
            <a:noFill/>
            <a:ln w="10454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32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3167610" y="2732708"/>
            <a:ext cx="117937" cy="117745"/>
            <a:chOff x="3167610" y="2732708"/>
            <a:chExt cx="117937" cy="117745"/>
          </a:xfrm>
        </p:grpSpPr>
        <p:sp>
          <p:nvSpPr>
            <p:cNvPr id="1633" name="Полилиния: фигура 1632">
              <a:extLst>
                <a:ext uri="{FF2B5EF4-FFF2-40B4-BE49-F238E27FC236}">
                  <a16:creationId xmlns:a16="http://schemas.microsoft.com/office/drawing/2014/main" id="{14F68BA6-305F-43E5-92B0-6635C0EC8D35}"/>
                </a:ext>
              </a:extLst>
            </p:cNvPr>
            <p:cNvSpPr/>
            <p:nvPr/>
          </p:nvSpPr>
          <p:spPr>
            <a:xfrm>
              <a:off x="3167610" y="2732708"/>
              <a:ext cx="117937" cy="117745"/>
            </a:xfrm>
            <a:custGeom>
              <a:avLst/>
              <a:gdLst>
                <a:gd name="connsiteX0" fmla="*/ 115888 w 117937"/>
                <a:gd name="connsiteY0" fmla="*/ 59126 h 117745"/>
                <a:gd name="connsiteX1" fmla="*/ 107903 w 117937"/>
                <a:gd name="connsiteY1" fmla="*/ 58587 h 117745"/>
                <a:gd name="connsiteX2" fmla="*/ 107148 w 117937"/>
                <a:gd name="connsiteY2" fmla="*/ 50602 h 117745"/>
                <a:gd name="connsiteX3" fmla="*/ 114809 w 117937"/>
                <a:gd name="connsiteY3" fmla="*/ 48552 h 117745"/>
                <a:gd name="connsiteX4" fmla="*/ 116427 w 117937"/>
                <a:gd name="connsiteY4" fmla="*/ 45747 h 117745"/>
                <a:gd name="connsiteX5" fmla="*/ 115456 w 117937"/>
                <a:gd name="connsiteY5" fmla="*/ 42187 h 117745"/>
                <a:gd name="connsiteX6" fmla="*/ 112651 w 117937"/>
                <a:gd name="connsiteY6" fmla="*/ 40568 h 117745"/>
                <a:gd name="connsiteX7" fmla="*/ 104990 w 117937"/>
                <a:gd name="connsiteY7" fmla="*/ 42618 h 117745"/>
                <a:gd name="connsiteX8" fmla="*/ 101646 w 117937"/>
                <a:gd name="connsiteY8" fmla="*/ 35282 h 117745"/>
                <a:gd name="connsiteX9" fmla="*/ 108227 w 117937"/>
                <a:gd name="connsiteY9" fmla="*/ 30858 h 117745"/>
                <a:gd name="connsiteX10" fmla="*/ 108874 w 117937"/>
                <a:gd name="connsiteY10" fmla="*/ 27729 h 117745"/>
                <a:gd name="connsiteX11" fmla="*/ 106824 w 117937"/>
                <a:gd name="connsiteY11" fmla="*/ 24708 h 117745"/>
                <a:gd name="connsiteX12" fmla="*/ 103696 w 117937"/>
                <a:gd name="connsiteY12" fmla="*/ 24060 h 117745"/>
                <a:gd name="connsiteX13" fmla="*/ 97114 w 117937"/>
                <a:gd name="connsiteY13" fmla="*/ 28484 h 117745"/>
                <a:gd name="connsiteX14" fmla="*/ 91611 w 117937"/>
                <a:gd name="connsiteY14" fmla="*/ 22658 h 117745"/>
                <a:gd name="connsiteX15" fmla="*/ 96359 w 117937"/>
                <a:gd name="connsiteY15" fmla="*/ 16292 h 117745"/>
                <a:gd name="connsiteX16" fmla="*/ 95927 w 117937"/>
                <a:gd name="connsiteY16" fmla="*/ 13163 h 117745"/>
                <a:gd name="connsiteX17" fmla="*/ 93014 w 117937"/>
                <a:gd name="connsiteY17" fmla="*/ 10897 h 117745"/>
                <a:gd name="connsiteX18" fmla="*/ 89885 w 117937"/>
                <a:gd name="connsiteY18" fmla="*/ 11329 h 117745"/>
                <a:gd name="connsiteX19" fmla="*/ 85138 w 117937"/>
                <a:gd name="connsiteY19" fmla="*/ 17695 h 117745"/>
                <a:gd name="connsiteX20" fmla="*/ 78017 w 117937"/>
                <a:gd name="connsiteY20" fmla="*/ 13918 h 117745"/>
                <a:gd name="connsiteX21" fmla="*/ 80498 w 117937"/>
                <a:gd name="connsiteY21" fmla="*/ 6366 h 117745"/>
                <a:gd name="connsiteX22" fmla="*/ 79096 w 117937"/>
                <a:gd name="connsiteY22" fmla="*/ 3561 h 117745"/>
                <a:gd name="connsiteX23" fmla="*/ 75535 w 117937"/>
                <a:gd name="connsiteY23" fmla="*/ 2374 h 117745"/>
                <a:gd name="connsiteX24" fmla="*/ 72730 w 117937"/>
                <a:gd name="connsiteY24" fmla="*/ 3776 h 117745"/>
                <a:gd name="connsiteX25" fmla="*/ 70248 w 117937"/>
                <a:gd name="connsiteY25" fmla="*/ 11329 h 117745"/>
                <a:gd name="connsiteX26" fmla="*/ 63127 w 117937"/>
                <a:gd name="connsiteY26" fmla="*/ 10250 h 117745"/>
                <a:gd name="connsiteX27" fmla="*/ 63127 w 117937"/>
                <a:gd name="connsiteY27" fmla="*/ 2266 h 117745"/>
                <a:gd name="connsiteX28" fmla="*/ 60862 w 117937"/>
                <a:gd name="connsiteY28" fmla="*/ 0 h 117745"/>
                <a:gd name="connsiteX29" fmla="*/ 57193 w 117937"/>
                <a:gd name="connsiteY29" fmla="*/ 0 h 117745"/>
                <a:gd name="connsiteX30" fmla="*/ 54927 w 117937"/>
                <a:gd name="connsiteY30" fmla="*/ 2266 h 117745"/>
                <a:gd name="connsiteX31" fmla="*/ 54927 w 117937"/>
                <a:gd name="connsiteY31" fmla="*/ 10250 h 117745"/>
                <a:gd name="connsiteX32" fmla="*/ 47051 w 117937"/>
                <a:gd name="connsiteY32" fmla="*/ 11545 h 117745"/>
                <a:gd name="connsiteX33" fmla="*/ 44462 w 117937"/>
                <a:gd name="connsiteY33" fmla="*/ 3992 h 117745"/>
                <a:gd name="connsiteX34" fmla="*/ 41549 w 117937"/>
                <a:gd name="connsiteY34" fmla="*/ 2590 h 117745"/>
                <a:gd name="connsiteX35" fmla="*/ 37988 w 117937"/>
                <a:gd name="connsiteY35" fmla="*/ 3776 h 117745"/>
                <a:gd name="connsiteX36" fmla="*/ 36585 w 117937"/>
                <a:gd name="connsiteY36" fmla="*/ 6689 h 117745"/>
                <a:gd name="connsiteX37" fmla="*/ 39175 w 117937"/>
                <a:gd name="connsiteY37" fmla="*/ 14242 h 117745"/>
                <a:gd name="connsiteX38" fmla="*/ 32162 w 117937"/>
                <a:gd name="connsiteY38" fmla="*/ 18126 h 117745"/>
                <a:gd name="connsiteX39" fmla="*/ 27306 w 117937"/>
                <a:gd name="connsiteY39" fmla="*/ 11868 h 117745"/>
                <a:gd name="connsiteX40" fmla="*/ 24177 w 117937"/>
                <a:gd name="connsiteY40" fmla="*/ 11437 h 117745"/>
                <a:gd name="connsiteX41" fmla="*/ 21264 w 117937"/>
                <a:gd name="connsiteY41" fmla="*/ 13703 h 117745"/>
                <a:gd name="connsiteX42" fmla="*/ 20833 w 117937"/>
                <a:gd name="connsiteY42" fmla="*/ 16831 h 117745"/>
                <a:gd name="connsiteX43" fmla="*/ 25688 w 117937"/>
                <a:gd name="connsiteY43" fmla="*/ 23089 h 117745"/>
                <a:gd name="connsiteX44" fmla="*/ 20293 w 117937"/>
                <a:gd name="connsiteY44" fmla="*/ 29024 h 117745"/>
                <a:gd name="connsiteX45" fmla="*/ 13604 w 117937"/>
                <a:gd name="connsiteY45" fmla="*/ 24708 h 117745"/>
                <a:gd name="connsiteX46" fmla="*/ 10475 w 117937"/>
                <a:gd name="connsiteY46" fmla="*/ 25355 h 117745"/>
                <a:gd name="connsiteX47" fmla="*/ 8425 w 117937"/>
                <a:gd name="connsiteY47" fmla="*/ 28484 h 117745"/>
                <a:gd name="connsiteX48" fmla="*/ 9072 w 117937"/>
                <a:gd name="connsiteY48" fmla="*/ 31613 h 117745"/>
                <a:gd name="connsiteX49" fmla="*/ 15762 w 117937"/>
                <a:gd name="connsiteY49" fmla="*/ 35929 h 117745"/>
                <a:gd name="connsiteX50" fmla="*/ 12525 w 117937"/>
                <a:gd name="connsiteY50" fmla="*/ 43266 h 117745"/>
                <a:gd name="connsiteX51" fmla="*/ 4756 w 117937"/>
                <a:gd name="connsiteY51" fmla="*/ 41324 h 117745"/>
                <a:gd name="connsiteX52" fmla="*/ 2059 w 117937"/>
                <a:gd name="connsiteY52" fmla="*/ 42942 h 117745"/>
                <a:gd name="connsiteX53" fmla="*/ 1196 w 117937"/>
                <a:gd name="connsiteY53" fmla="*/ 46502 h 117745"/>
                <a:gd name="connsiteX54" fmla="*/ 2814 w 117937"/>
                <a:gd name="connsiteY54" fmla="*/ 49200 h 117745"/>
                <a:gd name="connsiteX55" fmla="*/ 10583 w 117937"/>
                <a:gd name="connsiteY55" fmla="*/ 51142 h 117745"/>
                <a:gd name="connsiteX56" fmla="*/ 9936 w 117937"/>
                <a:gd name="connsiteY56" fmla="*/ 59018 h 117745"/>
                <a:gd name="connsiteX57" fmla="*/ 9936 w 117937"/>
                <a:gd name="connsiteY57" fmla="*/ 59234 h 117745"/>
                <a:gd name="connsiteX58" fmla="*/ 2059 w 117937"/>
                <a:gd name="connsiteY58" fmla="*/ 59881 h 117745"/>
                <a:gd name="connsiteX59" fmla="*/ 9 w 117937"/>
                <a:gd name="connsiteY59" fmla="*/ 62363 h 117745"/>
                <a:gd name="connsiteX60" fmla="*/ 333 w 117937"/>
                <a:gd name="connsiteY60" fmla="*/ 66031 h 117745"/>
                <a:gd name="connsiteX61" fmla="*/ 2814 w 117937"/>
                <a:gd name="connsiteY61" fmla="*/ 68081 h 117745"/>
                <a:gd name="connsiteX62" fmla="*/ 10691 w 117937"/>
                <a:gd name="connsiteY62" fmla="*/ 67434 h 117745"/>
                <a:gd name="connsiteX63" fmla="*/ 12741 w 117937"/>
                <a:gd name="connsiteY63" fmla="*/ 75202 h 117745"/>
                <a:gd name="connsiteX64" fmla="*/ 5512 w 117937"/>
                <a:gd name="connsiteY64" fmla="*/ 78439 h 117745"/>
                <a:gd name="connsiteX65" fmla="*/ 4325 w 117937"/>
                <a:gd name="connsiteY65" fmla="*/ 81460 h 117745"/>
                <a:gd name="connsiteX66" fmla="*/ 5835 w 117937"/>
                <a:gd name="connsiteY66" fmla="*/ 84805 h 117745"/>
                <a:gd name="connsiteX67" fmla="*/ 8857 w 117937"/>
                <a:gd name="connsiteY67" fmla="*/ 85992 h 117745"/>
                <a:gd name="connsiteX68" fmla="*/ 16085 w 117937"/>
                <a:gd name="connsiteY68" fmla="*/ 82755 h 117745"/>
                <a:gd name="connsiteX69" fmla="*/ 20509 w 117937"/>
                <a:gd name="connsiteY69" fmla="*/ 89445 h 117745"/>
                <a:gd name="connsiteX70" fmla="*/ 14683 w 117937"/>
                <a:gd name="connsiteY70" fmla="*/ 94839 h 117745"/>
                <a:gd name="connsiteX71" fmla="*/ 14575 w 117937"/>
                <a:gd name="connsiteY71" fmla="*/ 98076 h 117745"/>
                <a:gd name="connsiteX72" fmla="*/ 17057 w 117937"/>
                <a:gd name="connsiteY72" fmla="*/ 100773 h 117745"/>
                <a:gd name="connsiteX73" fmla="*/ 20293 w 117937"/>
                <a:gd name="connsiteY73" fmla="*/ 100881 h 117745"/>
                <a:gd name="connsiteX74" fmla="*/ 26120 w 117937"/>
                <a:gd name="connsiteY74" fmla="*/ 95487 h 117745"/>
                <a:gd name="connsiteX75" fmla="*/ 32485 w 117937"/>
                <a:gd name="connsiteY75" fmla="*/ 100342 h 117745"/>
                <a:gd name="connsiteX76" fmla="*/ 28709 w 117937"/>
                <a:gd name="connsiteY76" fmla="*/ 107355 h 117745"/>
                <a:gd name="connsiteX77" fmla="*/ 29680 w 117937"/>
                <a:gd name="connsiteY77" fmla="*/ 110376 h 117745"/>
                <a:gd name="connsiteX78" fmla="*/ 32917 w 117937"/>
                <a:gd name="connsiteY78" fmla="*/ 112102 h 117745"/>
                <a:gd name="connsiteX79" fmla="*/ 35938 w 117937"/>
                <a:gd name="connsiteY79" fmla="*/ 111131 h 117745"/>
                <a:gd name="connsiteX80" fmla="*/ 39714 w 117937"/>
                <a:gd name="connsiteY80" fmla="*/ 104118 h 117745"/>
                <a:gd name="connsiteX81" fmla="*/ 47375 w 117937"/>
                <a:gd name="connsiteY81" fmla="*/ 106708 h 117745"/>
                <a:gd name="connsiteX82" fmla="*/ 46080 w 117937"/>
                <a:gd name="connsiteY82" fmla="*/ 114584 h 117745"/>
                <a:gd name="connsiteX83" fmla="*/ 47914 w 117937"/>
                <a:gd name="connsiteY83" fmla="*/ 117173 h 117745"/>
                <a:gd name="connsiteX84" fmla="*/ 51583 w 117937"/>
                <a:gd name="connsiteY84" fmla="*/ 117713 h 117745"/>
                <a:gd name="connsiteX85" fmla="*/ 54172 w 117937"/>
                <a:gd name="connsiteY85" fmla="*/ 115879 h 117745"/>
                <a:gd name="connsiteX86" fmla="*/ 55467 w 117937"/>
                <a:gd name="connsiteY86" fmla="*/ 108002 h 117745"/>
                <a:gd name="connsiteX87" fmla="*/ 59027 w 117937"/>
                <a:gd name="connsiteY87" fmla="*/ 108110 h 117745"/>
                <a:gd name="connsiteX88" fmla="*/ 63451 w 117937"/>
                <a:gd name="connsiteY88" fmla="*/ 107894 h 117745"/>
                <a:gd name="connsiteX89" fmla="*/ 64854 w 117937"/>
                <a:gd name="connsiteY89" fmla="*/ 115771 h 117745"/>
                <a:gd name="connsiteX90" fmla="*/ 67443 w 117937"/>
                <a:gd name="connsiteY90" fmla="*/ 117605 h 117745"/>
                <a:gd name="connsiteX91" fmla="*/ 71111 w 117937"/>
                <a:gd name="connsiteY91" fmla="*/ 116957 h 117745"/>
                <a:gd name="connsiteX92" fmla="*/ 72946 w 117937"/>
                <a:gd name="connsiteY92" fmla="*/ 114368 h 117745"/>
                <a:gd name="connsiteX93" fmla="*/ 71543 w 117937"/>
                <a:gd name="connsiteY93" fmla="*/ 106492 h 117745"/>
                <a:gd name="connsiteX94" fmla="*/ 79096 w 117937"/>
                <a:gd name="connsiteY94" fmla="*/ 103794 h 117745"/>
                <a:gd name="connsiteX95" fmla="*/ 82980 w 117937"/>
                <a:gd name="connsiteY95" fmla="*/ 110700 h 117745"/>
                <a:gd name="connsiteX96" fmla="*/ 86109 w 117937"/>
                <a:gd name="connsiteY96" fmla="*/ 111563 h 117745"/>
                <a:gd name="connsiteX97" fmla="*/ 89346 w 117937"/>
                <a:gd name="connsiteY97" fmla="*/ 109729 h 117745"/>
                <a:gd name="connsiteX98" fmla="*/ 90209 w 117937"/>
                <a:gd name="connsiteY98" fmla="*/ 106600 h 117745"/>
                <a:gd name="connsiteX99" fmla="*/ 86325 w 117937"/>
                <a:gd name="connsiteY99" fmla="*/ 99694 h 117745"/>
                <a:gd name="connsiteX100" fmla="*/ 92583 w 117937"/>
                <a:gd name="connsiteY100" fmla="*/ 94731 h 117745"/>
                <a:gd name="connsiteX101" fmla="*/ 98517 w 117937"/>
                <a:gd name="connsiteY101" fmla="*/ 100018 h 117745"/>
                <a:gd name="connsiteX102" fmla="*/ 101753 w 117937"/>
                <a:gd name="connsiteY102" fmla="*/ 99802 h 117745"/>
                <a:gd name="connsiteX103" fmla="*/ 104235 w 117937"/>
                <a:gd name="connsiteY103" fmla="*/ 96997 h 117745"/>
                <a:gd name="connsiteX104" fmla="*/ 104019 w 117937"/>
                <a:gd name="connsiteY104" fmla="*/ 93760 h 117745"/>
                <a:gd name="connsiteX105" fmla="*/ 98085 w 117937"/>
                <a:gd name="connsiteY105" fmla="*/ 88473 h 117745"/>
                <a:gd name="connsiteX106" fmla="*/ 102401 w 117937"/>
                <a:gd name="connsiteY106" fmla="*/ 81676 h 117745"/>
                <a:gd name="connsiteX107" fmla="*/ 109738 w 117937"/>
                <a:gd name="connsiteY107" fmla="*/ 84805 h 117745"/>
                <a:gd name="connsiteX108" fmla="*/ 112759 w 117937"/>
                <a:gd name="connsiteY108" fmla="*/ 83618 h 117745"/>
                <a:gd name="connsiteX109" fmla="*/ 114162 w 117937"/>
                <a:gd name="connsiteY109" fmla="*/ 80166 h 117745"/>
                <a:gd name="connsiteX110" fmla="*/ 112975 w 117937"/>
                <a:gd name="connsiteY110" fmla="*/ 77145 h 117745"/>
                <a:gd name="connsiteX111" fmla="*/ 105638 w 117937"/>
                <a:gd name="connsiteY111" fmla="*/ 74016 h 117745"/>
                <a:gd name="connsiteX112" fmla="*/ 107472 w 117937"/>
                <a:gd name="connsiteY112" fmla="*/ 66247 h 117745"/>
                <a:gd name="connsiteX113" fmla="*/ 115348 w 117937"/>
                <a:gd name="connsiteY113" fmla="*/ 66787 h 117745"/>
                <a:gd name="connsiteX114" fmla="*/ 117722 w 117937"/>
                <a:gd name="connsiteY114" fmla="*/ 64737 h 117745"/>
                <a:gd name="connsiteX115" fmla="*/ 117938 w 117937"/>
                <a:gd name="connsiteY115" fmla="*/ 61068 h 117745"/>
                <a:gd name="connsiteX116" fmla="*/ 115888 w 117937"/>
                <a:gd name="connsiteY116" fmla="*/ 58695 h 117745"/>
                <a:gd name="connsiteX117" fmla="*/ 58812 w 117937"/>
                <a:gd name="connsiteY117" fmla="*/ 86855 h 117745"/>
                <a:gd name="connsiteX118" fmla="*/ 31191 w 117937"/>
                <a:gd name="connsiteY118" fmla="*/ 59234 h 117745"/>
                <a:gd name="connsiteX119" fmla="*/ 58812 w 117937"/>
                <a:gd name="connsiteY119" fmla="*/ 31613 h 117745"/>
                <a:gd name="connsiteX120" fmla="*/ 86433 w 117937"/>
                <a:gd name="connsiteY120" fmla="*/ 59234 h 117745"/>
                <a:gd name="connsiteX121" fmla="*/ 58812 w 117937"/>
                <a:gd name="connsiteY121" fmla="*/ 86855 h 117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17937" h="117745">
                  <a:moveTo>
                    <a:pt x="115888" y="59126"/>
                  </a:moveTo>
                  <a:lnTo>
                    <a:pt x="107903" y="58587"/>
                  </a:lnTo>
                  <a:cubicBezTo>
                    <a:pt x="107903" y="55889"/>
                    <a:pt x="107580" y="53192"/>
                    <a:pt x="107148" y="50602"/>
                  </a:cubicBezTo>
                  <a:lnTo>
                    <a:pt x="114809" y="48552"/>
                  </a:lnTo>
                  <a:cubicBezTo>
                    <a:pt x="115996" y="48229"/>
                    <a:pt x="116751" y="46934"/>
                    <a:pt x="116427" y="45747"/>
                  </a:cubicBezTo>
                  <a:lnTo>
                    <a:pt x="115456" y="42187"/>
                  </a:lnTo>
                  <a:cubicBezTo>
                    <a:pt x="115133" y="41000"/>
                    <a:pt x="113838" y="40245"/>
                    <a:pt x="112651" y="40568"/>
                  </a:cubicBezTo>
                  <a:lnTo>
                    <a:pt x="104990" y="42618"/>
                  </a:lnTo>
                  <a:cubicBezTo>
                    <a:pt x="104127" y="40029"/>
                    <a:pt x="102940" y="37655"/>
                    <a:pt x="101646" y="35282"/>
                  </a:cubicBezTo>
                  <a:lnTo>
                    <a:pt x="108227" y="30858"/>
                  </a:lnTo>
                  <a:cubicBezTo>
                    <a:pt x="109306" y="30210"/>
                    <a:pt x="109522" y="28700"/>
                    <a:pt x="108874" y="27729"/>
                  </a:cubicBezTo>
                  <a:lnTo>
                    <a:pt x="106824" y="24708"/>
                  </a:lnTo>
                  <a:cubicBezTo>
                    <a:pt x="106177" y="23629"/>
                    <a:pt x="104667" y="23413"/>
                    <a:pt x="103696" y="24060"/>
                  </a:cubicBezTo>
                  <a:lnTo>
                    <a:pt x="97114" y="28484"/>
                  </a:lnTo>
                  <a:cubicBezTo>
                    <a:pt x="95388" y="26434"/>
                    <a:pt x="93554" y="24492"/>
                    <a:pt x="91611" y="22658"/>
                  </a:cubicBezTo>
                  <a:lnTo>
                    <a:pt x="96359" y="16292"/>
                  </a:lnTo>
                  <a:cubicBezTo>
                    <a:pt x="97114" y="15321"/>
                    <a:pt x="96898" y="13918"/>
                    <a:pt x="95927" y="13163"/>
                  </a:cubicBezTo>
                  <a:lnTo>
                    <a:pt x="93014" y="10897"/>
                  </a:lnTo>
                  <a:cubicBezTo>
                    <a:pt x="92043" y="10142"/>
                    <a:pt x="90640" y="10358"/>
                    <a:pt x="89885" y="11329"/>
                  </a:cubicBezTo>
                  <a:lnTo>
                    <a:pt x="85138" y="17695"/>
                  </a:lnTo>
                  <a:cubicBezTo>
                    <a:pt x="82872" y="16292"/>
                    <a:pt x="80498" y="14997"/>
                    <a:pt x="78017" y="13918"/>
                  </a:cubicBezTo>
                  <a:lnTo>
                    <a:pt x="80498" y="6366"/>
                  </a:lnTo>
                  <a:cubicBezTo>
                    <a:pt x="80930" y="5179"/>
                    <a:pt x="80283" y="3884"/>
                    <a:pt x="79096" y="3561"/>
                  </a:cubicBezTo>
                  <a:lnTo>
                    <a:pt x="75535" y="2374"/>
                  </a:lnTo>
                  <a:cubicBezTo>
                    <a:pt x="74348" y="1942"/>
                    <a:pt x="73054" y="2590"/>
                    <a:pt x="72730" y="3776"/>
                  </a:cubicBezTo>
                  <a:lnTo>
                    <a:pt x="70248" y="11329"/>
                  </a:lnTo>
                  <a:cubicBezTo>
                    <a:pt x="67983" y="10789"/>
                    <a:pt x="65609" y="10466"/>
                    <a:pt x="63127" y="10250"/>
                  </a:cubicBezTo>
                  <a:lnTo>
                    <a:pt x="63127" y="2266"/>
                  </a:lnTo>
                  <a:cubicBezTo>
                    <a:pt x="63127" y="971"/>
                    <a:pt x="62156" y="0"/>
                    <a:pt x="60862" y="0"/>
                  </a:cubicBezTo>
                  <a:lnTo>
                    <a:pt x="57193" y="0"/>
                  </a:lnTo>
                  <a:cubicBezTo>
                    <a:pt x="55898" y="0"/>
                    <a:pt x="54927" y="971"/>
                    <a:pt x="54927" y="2266"/>
                  </a:cubicBezTo>
                  <a:lnTo>
                    <a:pt x="54927" y="10250"/>
                  </a:lnTo>
                  <a:cubicBezTo>
                    <a:pt x="52230" y="10466"/>
                    <a:pt x="49533" y="10897"/>
                    <a:pt x="47051" y="11545"/>
                  </a:cubicBezTo>
                  <a:lnTo>
                    <a:pt x="44462" y="3992"/>
                  </a:lnTo>
                  <a:cubicBezTo>
                    <a:pt x="44030" y="2805"/>
                    <a:pt x="42735" y="2158"/>
                    <a:pt x="41549" y="2590"/>
                  </a:cubicBezTo>
                  <a:lnTo>
                    <a:pt x="37988" y="3776"/>
                  </a:lnTo>
                  <a:cubicBezTo>
                    <a:pt x="36801" y="4208"/>
                    <a:pt x="36154" y="5503"/>
                    <a:pt x="36585" y="6689"/>
                  </a:cubicBezTo>
                  <a:lnTo>
                    <a:pt x="39175" y="14242"/>
                  </a:lnTo>
                  <a:cubicBezTo>
                    <a:pt x="36693" y="15321"/>
                    <a:pt x="34319" y="16616"/>
                    <a:pt x="32162" y="18126"/>
                  </a:cubicBezTo>
                  <a:lnTo>
                    <a:pt x="27306" y="11868"/>
                  </a:lnTo>
                  <a:cubicBezTo>
                    <a:pt x="26551" y="10897"/>
                    <a:pt x="25149" y="10682"/>
                    <a:pt x="24177" y="11437"/>
                  </a:cubicBezTo>
                  <a:lnTo>
                    <a:pt x="21264" y="13703"/>
                  </a:lnTo>
                  <a:cubicBezTo>
                    <a:pt x="20293" y="14458"/>
                    <a:pt x="20078" y="15860"/>
                    <a:pt x="20833" y="16831"/>
                  </a:cubicBezTo>
                  <a:lnTo>
                    <a:pt x="25688" y="23089"/>
                  </a:lnTo>
                  <a:cubicBezTo>
                    <a:pt x="23746" y="24924"/>
                    <a:pt x="21912" y="26866"/>
                    <a:pt x="20293" y="29024"/>
                  </a:cubicBezTo>
                  <a:lnTo>
                    <a:pt x="13604" y="24708"/>
                  </a:lnTo>
                  <a:cubicBezTo>
                    <a:pt x="12525" y="24060"/>
                    <a:pt x="11122" y="24276"/>
                    <a:pt x="10475" y="25355"/>
                  </a:cubicBezTo>
                  <a:lnTo>
                    <a:pt x="8425" y="28484"/>
                  </a:lnTo>
                  <a:cubicBezTo>
                    <a:pt x="7778" y="29563"/>
                    <a:pt x="7993" y="30966"/>
                    <a:pt x="9072" y="31613"/>
                  </a:cubicBezTo>
                  <a:lnTo>
                    <a:pt x="15762" y="35929"/>
                  </a:lnTo>
                  <a:cubicBezTo>
                    <a:pt x="14467" y="38303"/>
                    <a:pt x="13388" y="40784"/>
                    <a:pt x="12525" y="43266"/>
                  </a:cubicBezTo>
                  <a:lnTo>
                    <a:pt x="4756" y="41324"/>
                  </a:lnTo>
                  <a:cubicBezTo>
                    <a:pt x="3570" y="41000"/>
                    <a:pt x="2275" y="41755"/>
                    <a:pt x="2059" y="42942"/>
                  </a:cubicBezTo>
                  <a:lnTo>
                    <a:pt x="1196" y="46502"/>
                  </a:lnTo>
                  <a:cubicBezTo>
                    <a:pt x="872" y="47689"/>
                    <a:pt x="1627" y="48984"/>
                    <a:pt x="2814" y="49200"/>
                  </a:cubicBezTo>
                  <a:lnTo>
                    <a:pt x="10583" y="51142"/>
                  </a:lnTo>
                  <a:cubicBezTo>
                    <a:pt x="10151" y="53731"/>
                    <a:pt x="9936" y="56321"/>
                    <a:pt x="9936" y="59018"/>
                  </a:cubicBezTo>
                  <a:cubicBezTo>
                    <a:pt x="9936" y="59018"/>
                    <a:pt x="9936" y="59126"/>
                    <a:pt x="9936" y="59234"/>
                  </a:cubicBezTo>
                  <a:lnTo>
                    <a:pt x="2059" y="59881"/>
                  </a:lnTo>
                  <a:cubicBezTo>
                    <a:pt x="764" y="59989"/>
                    <a:pt x="-99" y="61068"/>
                    <a:pt x="9" y="62363"/>
                  </a:cubicBezTo>
                  <a:lnTo>
                    <a:pt x="333" y="66031"/>
                  </a:lnTo>
                  <a:cubicBezTo>
                    <a:pt x="441" y="67326"/>
                    <a:pt x="1520" y="68189"/>
                    <a:pt x="2814" y="68081"/>
                  </a:cubicBezTo>
                  <a:lnTo>
                    <a:pt x="10691" y="67434"/>
                  </a:lnTo>
                  <a:cubicBezTo>
                    <a:pt x="11122" y="70131"/>
                    <a:pt x="11878" y="72721"/>
                    <a:pt x="12741" y="75202"/>
                  </a:cubicBezTo>
                  <a:lnTo>
                    <a:pt x="5512" y="78439"/>
                  </a:lnTo>
                  <a:cubicBezTo>
                    <a:pt x="4325" y="78979"/>
                    <a:pt x="3893" y="80273"/>
                    <a:pt x="4325" y="81460"/>
                  </a:cubicBezTo>
                  <a:lnTo>
                    <a:pt x="5835" y="84805"/>
                  </a:lnTo>
                  <a:cubicBezTo>
                    <a:pt x="6375" y="85992"/>
                    <a:pt x="7670" y="86423"/>
                    <a:pt x="8857" y="85992"/>
                  </a:cubicBezTo>
                  <a:lnTo>
                    <a:pt x="16085" y="82755"/>
                  </a:lnTo>
                  <a:cubicBezTo>
                    <a:pt x="17380" y="85129"/>
                    <a:pt x="18891" y="87395"/>
                    <a:pt x="20509" y="89445"/>
                  </a:cubicBezTo>
                  <a:lnTo>
                    <a:pt x="14683" y="94839"/>
                  </a:lnTo>
                  <a:cubicBezTo>
                    <a:pt x="13820" y="95702"/>
                    <a:pt x="13712" y="97105"/>
                    <a:pt x="14575" y="98076"/>
                  </a:cubicBezTo>
                  <a:lnTo>
                    <a:pt x="17057" y="100773"/>
                  </a:lnTo>
                  <a:cubicBezTo>
                    <a:pt x="17920" y="101636"/>
                    <a:pt x="19322" y="101744"/>
                    <a:pt x="20293" y="100881"/>
                  </a:cubicBezTo>
                  <a:lnTo>
                    <a:pt x="26120" y="95487"/>
                  </a:lnTo>
                  <a:cubicBezTo>
                    <a:pt x="28062" y="97321"/>
                    <a:pt x="30220" y="98939"/>
                    <a:pt x="32485" y="100342"/>
                  </a:cubicBezTo>
                  <a:lnTo>
                    <a:pt x="28709" y="107355"/>
                  </a:lnTo>
                  <a:cubicBezTo>
                    <a:pt x="28170" y="108434"/>
                    <a:pt x="28493" y="109837"/>
                    <a:pt x="29680" y="110376"/>
                  </a:cubicBezTo>
                  <a:lnTo>
                    <a:pt x="32917" y="112102"/>
                  </a:lnTo>
                  <a:cubicBezTo>
                    <a:pt x="33996" y="112642"/>
                    <a:pt x="35398" y="112318"/>
                    <a:pt x="35938" y="111131"/>
                  </a:cubicBezTo>
                  <a:lnTo>
                    <a:pt x="39714" y="104118"/>
                  </a:lnTo>
                  <a:cubicBezTo>
                    <a:pt x="42196" y="105197"/>
                    <a:pt x="44678" y="106060"/>
                    <a:pt x="47375" y="106708"/>
                  </a:cubicBezTo>
                  <a:lnTo>
                    <a:pt x="46080" y="114584"/>
                  </a:lnTo>
                  <a:cubicBezTo>
                    <a:pt x="45864" y="115771"/>
                    <a:pt x="46728" y="116957"/>
                    <a:pt x="47914" y="117173"/>
                  </a:cubicBezTo>
                  <a:lnTo>
                    <a:pt x="51583" y="117713"/>
                  </a:lnTo>
                  <a:cubicBezTo>
                    <a:pt x="52770" y="117929"/>
                    <a:pt x="53956" y="117065"/>
                    <a:pt x="54172" y="115879"/>
                  </a:cubicBezTo>
                  <a:lnTo>
                    <a:pt x="55467" y="108002"/>
                  </a:lnTo>
                  <a:cubicBezTo>
                    <a:pt x="56654" y="108002"/>
                    <a:pt x="57841" y="108110"/>
                    <a:pt x="59027" y="108110"/>
                  </a:cubicBezTo>
                  <a:cubicBezTo>
                    <a:pt x="60538" y="108110"/>
                    <a:pt x="62048" y="108110"/>
                    <a:pt x="63451" y="107894"/>
                  </a:cubicBezTo>
                  <a:lnTo>
                    <a:pt x="64854" y="115771"/>
                  </a:lnTo>
                  <a:cubicBezTo>
                    <a:pt x="65069" y="116957"/>
                    <a:pt x="66256" y="117821"/>
                    <a:pt x="67443" y="117605"/>
                  </a:cubicBezTo>
                  <a:lnTo>
                    <a:pt x="71111" y="116957"/>
                  </a:lnTo>
                  <a:cubicBezTo>
                    <a:pt x="72298" y="116742"/>
                    <a:pt x="73161" y="115555"/>
                    <a:pt x="72946" y="114368"/>
                  </a:cubicBezTo>
                  <a:lnTo>
                    <a:pt x="71543" y="106492"/>
                  </a:lnTo>
                  <a:cubicBezTo>
                    <a:pt x="74132" y="105844"/>
                    <a:pt x="76722" y="104873"/>
                    <a:pt x="79096" y="103794"/>
                  </a:cubicBezTo>
                  <a:lnTo>
                    <a:pt x="82980" y="110700"/>
                  </a:lnTo>
                  <a:cubicBezTo>
                    <a:pt x="83627" y="111779"/>
                    <a:pt x="84922" y="112210"/>
                    <a:pt x="86109" y="111563"/>
                  </a:cubicBezTo>
                  <a:lnTo>
                    <a:pt x="89346" y="109729"/>
                  </a:lnTo>
                  <a:cubicBezTo>
                    <a:pt x="90425" y="109081"/>
                    <a:pt x="90856" y="107787"/>
                    <a:pt x="90209" y="106600"/>
                  </a:cubicBezTo>
                  <a:lnTo>
                    <a:pt x="86325" y="99694"/>
                  </a:lnTo>
                  <a:cubicBezTo>
                    <a:pt x="88590" y="98184"/>
                    <a:pt x="90640" y="96565"/>
                    <a:pt x="92583" y="94731"/>
                  </a:cubicBezTo>
                  <a:lnTo>
                    <a:pt x="98517" y="100018"/>
                  </a:lnTo>
                  <a:cubicBezTo>
                    <a:pt x="99488" y="100881"/>
                    <a:pt x="100890" y="100773"/>
                    <a:pt x="101753" y="99802"/>
                  </a:cubicBezTo>
                  <a:lnTo>
                    <a:pt x="104235" y="96997"/>
                  </a:lnTo>
                  <a:cubicBezTo>
                    <a:pt x="105098" y="96026"/>
                    <a:pt x="104990" y="94623"/>
                    <a:pt x="104019" y="93760"/>
                  </a:cubicBezTo>
                  <a:lnTo>
                    <a:pt x="98085" y="88473"/>
                  </a:lnTo>
                  <a:cubicBezTo>
                    <a:pt x="99703" y="86315"/>
                    <a:pt x="101106" y="84050"/>
                    <a:pt x="102401" y="81676"/>
                  </a:cubicBezTo>
                  <a:lnTo>
                    <a:pt x="109738" y="84805"/>
                  </a:lnTo>
                  <a:cubicBezTo>
                    <a:pt x="110925" y="85344"/>
                    <a:pt x="112219" y="84805"/>
                    <a:pt x="112759" y="83618"/>
                  </a:cubicBezTo>
                  <a:lnTo>
                    <a:pt x="114162" y="80166"/>
                  </a:lnTo>
                  <a:cubicBezTo>
                    <a:pt x="114701" y="78979"/>
                    <a:pt x="114162" y="77684"/>
                    <a:pt x="112975" y="77145"/>
                  </a:cubicBezTo>
                  <a:lnTo>
                    <a:pt x="105638" y="74016"/>
                  </a:lnTo>
                  <a:cubicBezTo>
                    <a:pt x="106501" y="71534"/>
                    <a:pt x="107148" y="68837"/>
                    <a:pt x="107472" y="66247"/>
                  </a:cubicBezTo>
                  <a:lnTo>
                    <a:pt x="115348" y="66787"/>
                  </a:lnTo>
                  <a:cubicBezTo>
                    <a:pt x="116643" y="66787"/>
                    <a:pt x="117722" y="65923"/>
                    <a:pt x="117722" y="64737"/>
                  </a:cubicBezTo>
                  <a:lnTo>
                    <a:pt x="117938" y="61068"/>
                  </a:lnTo>
                  <a:cubicBezTo>
                    <a:pt x="117938" y="59774"/>
                    <a:pt x="117075" y="58695"/>
                    <a:pt x="115888" y="58695"/>
                  </a:cubicBezTo>
                  <a:close/>
                  <a:moveTo>
                    <a:pt x="58812" y="86855"/>
                  </a:moveTo>
                  <a:cubicBezTo>
                    <a:pt x="43599" y="86855"/>
                    <a:pt x="31191" y="74555"/>
                    <a:pt x="31191" y="59234"/>
                  </a:cubicBezTo>
                  <a:cubicBezTo>
                    <a:pt x="31191" y="43913"/>
                    <a:pt x="43491" y="31613"/>
                    <a:pt x="58812" y="31613"/>
                  </a:cubicBezTo>
                  <a:cubicBezTo>
                    <a:pt x="74132" y="31613"/>
                    <a:pt x="86433" y="43913"/>
                    <a:pt x="86433" y="59234"/>
                  </a:cubicBezTo>
                  <a:cubicBezTo>
                    <a:pt x="86433" y="74555"/>
                    <a:pt x="74132" y="86855"/>
                    <a:pt x="58812" y="86855"/>
                  </a:cubicBez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34" name="Полилиния: фигура 1633">
              <a:extLst>
                <a:ext uri="{FF2B5EF4-FFF2-40B4-BE49-F238E27FC236}">
                  <a16:creationId xmlns:a16="http://schemas.microsoft.com/office/drawing/2014/main" id="{B61321BD-10EA-4C6C-8CAE-BE825418A54A}"/>
                </a:ext>
              </a:extLst>
            </p:cNvPr>
            <p:cNvSpPr/>
            <p:nvPr/>
          </p:nvSpPr>
          <p:spPr>
            <a:xfrm>
              <a:off x="3187903" y="2753423"/>
              <a:ext cx="77036" cy="77036"/>
            </a:xfrm>
            <a:custGeom>
              <a:avLst/>
              <a:gdLst>
                <a:gd name="connsiteX0" fmla="*/ 77037 w 77036"/>
                <a:gd name="connsiteY0" fmla="*/ 38518 h 77036"/>
                <a:gd name="connsiteX1" fmla="*/ 38518 w 77036"/>
                <a:gd name="connsiteY1" fmla="*/ 77037 h 77036"/>
                <a:gd name="connsiteX2" fmla="*/ 0 w 77036"/>
                <a:gd name="connsiteY2" fmla="*/ 38518 h 77036"/>
                <a:gd name="connsiteX3" fmla="*/ 38518 w 77036"/>
                <a:gd name="connsiteY3" fmla="*/ 0 h 77036"/>
                <a:gd name="connsiteX4" fmla="*/ 77037 w 77036"/>
                <a:gd name="connsiteY4" fmla="*/ 38518 h 77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36" h="77036">
                  <a:moveTo>
                    <a:pt x="77037" y="38518"/>
                  </a:moveTo>
                  <a:cubicBezTo>
                    <a:pt x="77037" y="59774"/>
                    <a:pt x="59774" y="77037"/>
                    <a:pt x="38518" y="77037"/>
                  </a:cubicBezTo>
                  <a:cubicBezTo>
                    <a:pt x="17263" y="77037"/>
                    <a:pt x="0" y="59774"/>
                    <a:pt x="0" y="38518"/>
                  </a:cubicBezTo>
                  <a:cubicBezTo>
                    <a:pt x="0" y="17263"/>
                    <a:pt x="17263" y="0"/>
                    <a:pt x="38518" y="0"/>
                  </a:cubicBezTo>
                  <a:cubicBezTo>
                    <a:pt x="59774" y="0"/>
                    <a:pt x="77037" y="17263"/>
                    <a:pt x="77037" y="38518"/>
                  </a:cubicBezTo>
                  <a:close/>
                </a:path>
              </a:pathLst>
            </a:custGeom>
            <a:noFill/>
            <a:ln w="10454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35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2376753" y="2226036"/>
            <a:ext cx="1511600" cy="63226"/>
            <a:chOff x="2376753" y="2226036"/>
            <a:chExt cx="1511600" cy="63226"/>
          </a:xfrm>
        </p:grpSpPr>
        <p:sp>
          <p:nvSpPr>
            <p:cNvPr id="1636" name="Полилиния: фигура 1635">
              <a:extLst>
                <a:ext uri="{FF2B5EF4-FFF2-40B4-BE49-F238E27FC236}">
                  <a16:creationId xmlns:a16="http://schemas.microsoft.com/office/drawing/2014/main" id="{44C6CD32-1E89-4C8A-A806-09E79F1628C9}"/>
                </a:ext>
              </a:extLst>
            </p:cNvPr>
            <p:cNvSpPr/>
            <p:nvPr/>
          </p:nvSpPr>
          <p:spPr>
            <a:xfrm>
              <a:off x="2376753" y="2226036"/>
              <a:ext cx="1511600" cy="63226"/>
            </a:xfrm>
            <a:custGeom>
              <a:avLst/>
              <a:gdLst>
                <a:gd name="connsiteX0" fmla="*/ 0 w 1511600"/>
                <a:gd name="connsiteY0" fmla="*/ 0 h 63226"/>
                <a:gd name="connsiteX1" fmla="*/ 1511600 w 1511600"/>
                <a:gd name="connsiteY1" fmla="*/ 0 h 63226"/>
                <a:gd name="connsiteX2" fmla="*/ 1511600 w 1511600"/>
                <a:gd name="connsiteY2" fmla="*/ 63226 h 63226"/>
                <a:gd name="connsiteX3" fmla="*/ 0 w 1511600"/>
                <a:gd name="connsiteY3" fmla="*/ 63226 h 63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11600" h="63226">
                  <a:moveTo>
                    <a:pt x="0" y="0"/>
                  </a:moveTo>
                  <a:lnTo>
                    <a:pt x="1511600" y="0"/>
                  </a:lnTo>
                  <a:lnTo>
                    <a:pt x="1511600" y="63226"/>
                  </a:lnTo>
                  <a:lnTo>
                    <a:pt x="0" y="63226"/>
                  </a:lnTo>
                  <a:close/>
                </a:path>
              </a:pathLst>
            </a:custGeom>
            <a:solidFill>
              <a:srgbClr val="263238"/>
            </a:solidFill>
            <a:ln w="10454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637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2418508" y="2238228"/>
              <a:ext cx="160007" cy="29131"/>
              <a:chOff x="2418508" y="2238228"/>
              <a:chExt cx="160007" cy="29131"/>
            </a:xfrm>
            <a:solidFill>
              <a:srgbClr val="006D3F"/>
            </a:solidFill>
          </p:grpSpPr>
          <p:sp>
            <p:nvSpPr>
              <p:cNvPr id="1638" name="Полилиния: фигура 1637">
                <a:extLst>
                  <a:ext uri="{FF2B5EF4-FFF2-40B4-BE49-F238E27FC236}">
                    <a16:creationId xmlns:a16="http://schemas.microsoft.com/office/drawing/2014/main" id="{DB7D30B2-8AB4-4FF2-AAC7-D60222DB6804}"/>
                  </a:ext>
                </a:extLst>
              </p:cNvPr>
              <p:cNvSpPr/>
              <p:nvPr/>
            </p:nvSpPr>
            <p:spPr>
              <a:xfrm>
                <a:off x="2418508" y="2238228"/>
                <a:ext cx="29131" cy="29131"/>
              </a:xfrm>
              <a:custGeom>
                <a:avLst/>
                <a:gdLst>
                  <a:gd name="connsiteX0" fmla="*/ 29131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1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1" y="14566"/>
                    </a:moveTo>
                    <a:cubicBezTo>
                      <a:pt x="29131" y="22610"/>
                      <a:pt x="22610" y="29132"/>
                      <a:pt x="14566" y="29132"/>
                    </a:cubicBezTo>
                    <a:cubicBezTo>
                      <a:pt x="6521" y="29132"/>
                      <a:pt x="0" y="22610"/>
                      <a:pt x="0" y="14566"/>
                    </a:cubicBezTo>
                    <a:cubicBezTo>
                      <a:pt x="0" y="6521"/>
                      <a:pt x="6521" y="0"/>
                      <a:pt x="14566" y="0"/>
                    </a:cubicBezTo>
                    <a:cubicBezTo>
                      <a:pt x="22610" y="0"/>
                      <a:pt x="29131" y="6521"/>
                      <a:pt x="29131" y="14566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39" name="Полилиния: фигура 1638">
                <a:extLst>
                  <a:ext uri="{FF2B5EF4-FFF2-40B4-BE49-F238E27FC236}">
                    <a16:creationId xmlns:a16="http://schemas.microsoft.com/office/drawing/2014/main" id="{4C914322-A9B1-4B95-9671-0CF498A2D3FC}"/>
                  </a:ext>
                </a:extLst>
              </p:cNvPr>
              <p:cNvSpPr/>
              <p:nvPr/>
            </p:nvSpPr>
            <p:spPr>
              <a:xfrm>
                <a:off x="2484000" y="2238228"/>
                <a:ext cx="29131" cy="29131"/>
              </a:xfrm>
              <a:custGeom>
                <a:avLst/>
                <a:gdLst>
                  <a:gd name="connsiteX0" fmla="*/ 29132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2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2" y="14566"/>
                    </a:moveTo>
                    <a:cubicBezTo>
                      <a:pt x="29132" y="22610"/>
                      <a:pt x="22610" y="29132"/>
                      <a:pt x="14566" y="29132"/>
                    </a:cubicBezTo>
                    <a:cubicBezTo>
                      <a:pt x="6521" y="29132"/>
                      <a:pt x="0" y="22610"/>
                      <a:pt x="0" y="14566"/>
                    </a:cubicBezTo>
                    <a:cubicBezTo>
                      <a:pt x="0" y="6521"/>
                      <a:pt x="6521" y="0"/>
                      <a:pt x="14566" y="0"/>
                    </a:cubicBezTo>
                    <a:cubicBezTo>
                      <a:pt x="22610" y="0"/>
                      <a:pt x="29132" y="6521"/>
                      <a:pt x="29132" y="14566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40" name="Полилиния: фигура 1639">
                <a:extLst>
                  <a:ext uri="{FF2B5EF4-FFF2-40B4-BE49-F238E27FC236}">
                    <a16:creationId xmlns:a16="http://schemas.microsoft.com/office/drawing/2014/main" id="{7642AC1A-1C54-436A-A738-DDC7A6E10D35}"/>
                  </a:ext>
                </a:extLst>
              </p:cNvPr>
              <p:cNvSpPr/>
              <p:nvPr/>
            </p:nvSpPr>
            <p:spPr>
              <a:xfrm>
                <a:off x="2549384" y="2238228"/>
                <a:ext cx="29131" cy="29131"/>
              </a:xfrm>
              <a:custGeom>
                <a:avLst/>
                <a:gdLst>
                  <a:gd name="connsiteX0" fmla="*/ 29132 w 29131"/>
                  <a:gd name="connsiteY0" fmla="*/ 14566 h 29131"/>
                  <a:gd name="connsiteX1" fmla="*/ 14566 w 29131"/>
                  <a:gd name="connsiteY1" fmla="*/ 29132 h 29131"/>
                  <a:gd name="connsiteX2" fmla="*/ 0 w 29131"/>
                  <a:gd name="connsiteY2" fmla="*/ 14566 h 29131"/>
                  <a:gd name="connsiteX3" fmla="*/ 14566 w 29131"/>
                  <a:gd name="connsiteY3" fmla="*/ 0 h 29131"/>
                  <a:gd name="connsiteX4" fmla="*/ 29132 w 29131"/>
                  <a:gd name="connsiteY4" fmla="*/ 14566 h 29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31" h="29131">
                    <a:moveTo>
                      <a:pt x="29132" y="14566"/>
                    </a:moveTo>
                    <a:cubicBezTo>
                      <a:pt x="29132" y="22610"/>
                      <a:pt x="22610" y="29132"/>
                      <a:pt x="14566" y="29132"/>
                    </a:cubicBezTo>
                    <a:cubicBezTo>
                      <a:pt x="6521" y="29132"/>
                      <a:pt x="0" y="22610"/>
                      <a:pt x="0" y="14566"/>
                    </a:cubicBezTo>
                    <a:cubicBezTo>
                      <a:pt x="0" y="6521"/>
                      <a:pt x="6521" y="0"/>
                      <a:pt x="14566" y="0"/>
                    </a:cubicBezTo>
                    <a:cubicBezTo>
                      <a:pt x="22610" y="0"/>
                      <a:pt x="29132" y="6521"/>
                      <a:pt x="29132" y="14566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777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1641" name="Полилиния: фигура 1640">
            <a:extLst>
              <a:ext uri="{FF2B5EF4-FFF2-40B4-BE49-F238E27FC236}">
                <a16:creationId xmlns:a16="http://schemas.microsoft.com/office/drawing/2014/main" id="{743001F0-CCE5-44C0-87CB-0C236ACB2373}"/>
              </a:ext>
            </a:extLst>
          </p:cNvPr>
          <p:cNvSpPr/>
          <p:nvPr/>
        </p:nvSpPr>
        <p:spPr>
          <a:xfrm>
            <a:off x="2496516" y="2915157"/>
            <a:ext cx="1283079" cy="32152"/>
          </a:xfrm>
          <a:custGeom>
            <a:avLst/>
            <a:gdLst>
              <a:gd name="connsiteX0" fmla="*/ 1267004 w 1283079"/>
              <a:gd name="connsiteY0" fmla="*/ 32152 h 32152"/>
              <a:gd name="connsiteX1" fmla="*/ 16076 w 1283079"/>
              <a:gd name="connsiteY1" fmla="*/ 32152 h 32152"/>
              <a:gd name="connsiteX2" fmla="*/ 0 w 1283079"/>
              <a:gd name="connsiteY2" fmla="*/ 16076 h 32152"/>
              <a:gd name="connsiteX3" fmla="*/ 0 w 1283079"/>
              <a:gd name="connsiteY3" fmla="*/ 16076 h 32152"/>
              <a:gd name="connsiteX4" fmla="*/ 16076 w 1283079"/>
              <a:gd name="connsiteY4" fmla="*/ 0 h 32152"/>
              <a:gd name="connsiteX5" fmla="*/ 1267004 w 1283079"/>
              <a:gd name="connsiteY5" fmla="*/ 0 h 32152"/>
              <a:gd name="connsiteX6" fmla="*/ 1283080 w 1283079"/>
              <a:gd name="connsiteY6" fmla="*/ 16076 h 32152"/>
              <a:gd name="connsiteX7" fmla="*/ 1283080 w 1283079"/>
              <a:gd name="connsiteY7" fmla="*/ 16076 h 32152"/>
              <a:gd name="connsiteX8" fmla="*/ 1267004 w 1283079"/>
              <a:gd name="connsiteY8" fmla="*/ 32152 h 32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83079" h="32152">
                <a:moveTo>
                  <a:pt x="1267004" y="32152"/>
                </a:moveTo>
                <a:lnTo>
                  <a:pt x="16076" y="32152"/>
                </a:lnTo>
                <a:cubicBezTo>
                  <a:pt x="7229" y="32152"/>
                  <a:pt x="0" y="24924"/>
                  <a:pt x="0" y="16076"/>
                </a:cubicBezTo>
                <a:lnTo>
                  <a:pt x="0" y="16076"/>
                </a:lnTo>
                <a:cubicBezTo>
                  <a:pt x="0" y="7229"/>
                  <a:pt x="7229" y="0"/>
                  <a:pt x="16076" y="0"/>
                </a:cubicBezTo>
                <a:lnTo>
                  <a:pt x="1267004" y="0"/>
                </a:lnTo>
                <a:cubicBezTo>
                  <a:pt x="1275851" y="0"/>
                  <a:pt x="1283080" y="7229"/>
                  <a:pt x="1283080" y="16076"/>
                </a:cubicBezTo>
                <a:lnTo>
                  <a:pt x="1283080" y="16076"/>
                </a:lnTo>
                <a:cubicBezTo>
                  <a:pt x="1283080" y="24924"/>
                  <a:pt x="1275851" y="32152"/>
                  <a:pt x="1267004" y="32152"/>
                </a:cubicBezTo>
                <a:close/>
              </a:path>
            </a:pathLst>
          </a:custGeom>
          <a:solidFill>
            <a:srgbClr val="FFFFFF"/>
          </a:solidFill>
          <a:ln w="10454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42" name="Полилиния: фигура 1641">
            <a:extLst>
              <a:ext uri="{FF2B5EF4-FFF2-40B4-BE49-F238E27FC236}">
                <a16:creationId xmlns:a16="http://schemas.microsoft.com/office/drawing/2014/main" id="{CA30D756-9A7D-41C1-988A-100AA2A39978}"/>
              </a:ext>
            </a:extLst>
          </p:cNvPr>
          <p:cNvSpPr/>
          <p:nvPr/>
        </p:nvSpPr>
        <p:spPr>
          <a:xfrm>
            <a:off x="2496516" y="2915049"/>
            <a:ext cx="896818" cy="32152"/>
          </a:xfrm>
          <a:custGeom>
            <a:avLst/>
            <a:gdLst>
              <a:gd name="connsiteX0" fmla="*/ 896818 w 896818"/>
              <a:gd name="connsiteY0" fmla="*/ 0 h 32152"/>
              <a:gd name="connsiteX1" fmla="*/ 16076 w 896818"/>
              <a:gd name="connsiteY1" fmla="*/ 0 h 32152"/>
              <a:gd name="connsiteX2" fmla="*/ 0 w 896818"/>
              <a:gd name="connsiteY2" fmla="*/ 16076 h 32152"/>
              <a:gd name="connsiteX3" fmla="*/ 16076 w 896818"/>
              <a:gd name="connsiteY3" fmla="*/ 32152 h 32152"/>
              <a:gd name="connsiteX4" fmla="*/ 896818 w 896818"/>
              <a:gd name="connsiteY4" fmla="*/ 32152 h 32152"/>
              <a:gd name="connsiteX5" fmla="*/ 896818 w 896818"/>
              <a:gd name="connsiteY5" fmla="*/ 0 h 32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6818" h="32152">
                <a:moveTo>
                  <a:pt x="896818" y="0"/>
                </a:moveTo>
                <a:lnTo>
                  <a:pt x="16076" y="0"/>
                </a:lnTo>
                <a:cubicBezTo>
                  <a:pt x="7229" y="0"/>
                  <a:pt x="0" y="7229"/>
                  <a:pt x="0" y="16076"/>
                </a:cubicBezTo>
                <a:cubicBezTo>
                  <a:pt x="0" y="24924"/>
                  <a:pt x="7229" y="32152"/>
                  <a:pt x="16076" y="32152"/>
                </a:cubicBezTo>
                <a:lnTo>
                  <a:pt x="896818" y="32152"/>
                </a:lnTo>
                <a:lnTo>
                  <a:pt x="896818" y="0"/>
                </a:lnTo>
                <a:close/>
              </a:path>
            </a:pathLst>
          </a:custGeom>
          <a:solidFill>
            <a:srgbClr val="006D3F"/>
          </a:solidFill>
          <a:ln w="10777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43" name="TextBox 1642">
            <a:extLst>
              <a:ext uri="{FF2B5EF4-FFF2-40B4-BE49-F238E27FC236}">
                <a16:creationId xmlns:a16="http://schemas.microsoft.com/office/drawing/2014/main" id="{E9708DB0-6CBF-43D4-A4B9-C77E83169247}"/>
              </a:ext>
            </a:extLst>
          </p:cNvPr>
          <p:cNvSpPr txBox="1"/>
          <p:nvPr/>
        </p:nvSpPr>
        <p:spPr>
          <a:xfrm>
            <a:off x="2788640" y="2297813"/>
            <a:ext cx="689983" cy="382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869" b="1" spc="0" baseline="0">
                <a:ln w="10789">
                  <a:solidFill>
                    <a:srgbClr val="000000"/>
                  </a:solidFill>
                </a:ln>
                <a:solidFill>
                  <a:srgbClr val="006D3F"/>
                </a:solidFill>
                <a:latin typeface="Roboto"/>
                <a:ea typeface="Roboto"/>
                <a:sym typeface="Roboto"/>
                <a:rtl val="0"/>
              </a:rPr>
              <a:t>CRM</a:t>
            </a:r>
          </a:p>
        </p:txBody>
      </p:sp>
      <p:grpSp>
        <p:nvGrpSpPr>
          <p:cNvPr id="1644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1297217" y="1584820"/>
            <a:ext cx="1901098" cy="2234384"/>
            <a:chOff x="1240410" y="1584820"/>
            <a:chExt cx="1901098" cy="2234384"/>
          </a:xfrm>
          <a:solidFill>
            <a:srgbClr val="FFFFFF">
              <a:alpha val="30000"/>
            </a:srgbClr>
          </a:solidFill>
        </p:grpSpPr>
        <p:sp>
          <p:nvSpPr>
            <p:cNvPr id="1645" name="Полилиния: фигура 1644">
              <a:extLst>
                <a:ext uri="{FF2B5EF4-FFF2-40B4-BE49-F238E27FC236}">
                  <a16:creationId xmlns:a16="http://schemas.microsoft.com/office/drawing/2014/main" id="{F8B9AC73-56CA-42B2-B8D9-83FF5F29D0EE}"/>
                </a:ext>
              </a:extLst>
            </p:cNvPr>
            <p:cNvSpPr/>
            <p:nvPr/>
          </p:nvSpPr>
          <p:spPr>
            <a:xfrm>
              <a:off x="1240410" y="1584820"/>
              <a:ext cx="1580436" cy="2234384"/>
            </a:xfrm>
            <a:custGeom>
              <a:avLst/>
              <a:gdLst>
                <a:gd name="connsiteX0" fmla="*/ 446898 w 1580436"/>
                <a:gd name="connsiteY0" fmla="*/ 2234385 h 2234384"/>
                <a:gd name="connsiteX1" fmla="*/ 0 w 1580436"/>
                <a:gd name="connsiteY1" fmla="*/ 2234385 h 2234384"/>
                <a:gd name="connsiteX2" fmla="*/ 1133646 w 1580436"/>
                <a:gd name="connsiteY2" fmla="*/ 0 h 2234384"/>
                <a:gd name="connsiteX3" fmla="*/ 1580437 w 1580436"/>
                <a:gd name="connsiteY3" fmla="*/ 0 h 2234384"/>
                <a:gd name="connsiteX4" fmla="*/ 446898 w 1580436"/>
                <a:gd name="connsiteY4" fmla="*/ 2234385 h 223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0436" h="2234384">
                  <a:moveTo>
                    <a:pt x="446898" y="2234385"/>
                  </a:moveTo>
                  <a:lnTo>
                    <a:pt x="0" y="2234385"/>
                  </a:lnTo>
                  <a:lnTo>
                    <a:pt x="1133646" y="0"/>
                  </a:lnTo>
                  <a:lnTo>
                    <a:pt x="1580437" y="0"/>
                  </a:lnTo>
                  <a:lnTo>
                    <a:pt x="446898" y="2234385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1646" name="Полилиния: фигура 1645">
              <a:extLst>
                <a:ext uri="{FF2B5EF4-FFF2-40B4-BE49-F238E27FC236}">
                  <a16:creationId xmlns:a16="http://schemas.microsoft.com/office/drawing/2014/main" id="{5C4B731F-CB6B-42B3-A3CA-40F7C305F77C}"/>
                </a:ext>
              </a:extLst>
            </p:cNvPr>
            <p:cNvSpPr/>
            <p:nvPr/>
          </p:nvSpPr>
          <p:spPr>
            <a:xfrm>
              <a:off x="1833073" y="1584820"/>
              <a:ext cx="1308435" cy="2234384"/>
            </a:xfrm>
            <a:custGeom>
              <a:avLst/>
              <a:gdLst>
                <a:gd name="connsiteX0" fmla="*/ 174789 w 1308435"/>
                <a:gd name="connsiteY0" fmla="*/ 2234385 h 2234384"/>
                <a:gd name="connsiteX1" fmla="*/ 0 w 1308435"/>
                <a:gd name="connsiteY1" fmla="*/ 2234385 h 2234384"/>
                <a:gd name="connsiteX2" fmla="*/ 1133539 w 1308435"/>
                <a:gd name="connsiteY2" fmla="*/ 0 h 2234384"/>
                <a:gd name="connsiteX3" fmla="*/ 1308435 w 1308435"/>
                <a:gd name="connsiteY3" fmla="*/ 0 h 2234384"/>
                <a:gd name="connsiteX4" fmla="*/ 174789 w 1308435"/>
                <a:gd name="connsiteY4" fmla="*/ 2234385 h 223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435" h="2234384">
                  <a:moveTo>
                    <a:pt x="174789" y="2234385"/>
                  </a:moveTo>
                  <a:lnTo>
                    <a:pt x="0" y="2234385"/>
                  </a:lnTo>
                  <a:lnTo>
                    <a:pt x="1133539" y="0"/>
                  </a:lnTo>
                  <a:lnTo>
                    <a:pt x="1308435" y="0"/>
                  </a:lnTo>
                  <a:lnTo>
                    <a:pt x="174789" y="2234385"/>
                  </a:lnTo>
                  <a:close/>
                </a:path>
              </a:pathLst>
            </a:custGeom>
            <a:solidFill>
              <a:srgbClr val="FFFFFF">
                <a:alpha val="30000"/>
              </a:srgbClr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47" name="Полилиния: фигура 1646">
            <a:extLst>
              <a:ext uri="{FF2B5EF4-FFF2-40B4-BE49-F238E27FC236}">
                <a16:creationId xmlns:a16="http://schemas.microsoft.com/office/drawing/2014/main" id="{238DCC85-0A21-45D6-BFE2-BA78545193AE}"/>
              </a:ext>
            </a:extLst>
          </p:cNvPr>
          <p:cNvSpPr/>
          <p:nvPr/>
        </p:nvSpPr>
        <p:spPr>
          <a:xfrm>
            <a:off x="1192073" y="1478004"/>
            <a:ext cx="3881068" cy="2849706"/>
          </a:xfrm>
          <a:custGeom>
            <a:avLst/>
            <a:gdLst>
              <a:gd name="connsiteX0" fmla="*/ 3798529 w 3881068"/>
              <a:gd name="connsiteY0" fmla="*/ 0 h 2849706"/>
              <a:gd name="connsiteX1" fmla="*/ 82431 w 3881068"/>
              <a:gd name="connsiteY1" fmla="*/ 0 h 2849706"/>
              <a:gd name="connsiteX2" fmla="*/ 0 w 3881068"/>
              <a:gd name="connsiteY2" fmla="*/ 82431 h 2849706"/>
              <a:gd name="connsiteX3" fmla="*/ 0 w 3881068"/>
              <a:gd name="connsiteY3" fmla="*/ 2767275 h 2849706"/>
              <a:gd name="connsiteX4" fmla="*/ 82431 w 3881068"/>
              <a:gd name="connsiteY4" fmla="*/ 2849706 h 2849706"/>
              <a:gd name="connsiteX5" fmla="*/ 3798637 w 3881068"/>
              <a:gd name="connsiteY5" fmla="*/ 2849706 h 2849706"/>
              <a:gd name="connsiteX6" fmla="*/ 3881069 w 3881068"/>
              <a:gd name="connsiteY6" fmla="*/ 2767275 h 2849706"/>
              <a:gd name="connsiteX7" fmla="*/ 3881069 w 3881068"/>
              <a:gd name="connsiteY7" fmla="*/ 82431 h 2849706"/>
              <a:gd name="connsiteX8" fmla="*/ 3798637 w 3881068"/>
              <a:gd name="connsiteY8" fmla="*/ 0 h 2849706"/>
              <a:gd name="connsiteX9" fmla="*/ 3685780 w 3881068"/>
              <a:gd name="connsiteY9" fmla="*/ 2190580 h 2849706"/>
              <a:gd name="connsiteX10" fmla="*/ 195181 w 3881068"/>
              <a:gd name="connsiteY10" fmla="*/ 2190580 h 2849706"/>
              <a:gd name="connsiteX11" fmla="*/ 195181 w 3881068"/>
              <a:gd name="connsiteY11" fmla="*/ 177270 h 2849706"/>
              <a:gd name="connsiteX12" fmla="*/ 3685780 w 3881068"/>
              <a:gd name="connsiteY12" fmla="*/ 177270 h 2849706"/>
              <a:gd name="connsiteX13" fmla="*/ 3685780 w 3881068"/>
              <a:gd name="connsiteY13" fmla="*/ 2190580 h 2849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881068" h="2849706">
                <a:moveTo>
                  <a:pt x="3798529" y="0"/>
                </a:moveTo>
                <a:lnTo>
                  <a:pt x="82431" y="0"/>
                </a:lnTo>
                <a:cubicBezTo>
                  <a:pt x="36900" y="0"/>
                  <a:pt x="0" y="36900"/>
                  <a:pt x="0" y="82431"/>
                </a:cubicBezTo>
                <a:lnTo>
                  <a:pt x="0" y="2767275"/>
                </a:lnTo>
                <a:cubicBezTo>
                  <a:pt x="0" y="2812806"/>
                  <a:pt x="36900" y="2849706"/>
                  <a:pt x="82431" y="2849706"/>
                </a:cubicBezTo>
                <a:lnTo>
                  <a:pt x="3798637" y="2849706"/>
                </a:lnTo>
                <a:cubicBezTo>
                  <a:pt x="3844169" y="2849706"/>
                  <a:pt x="3881069" y="2812806"/>
                  <a:pt x="3881069" y="2767275"/>
                </a:cubicBezTo>
                <a:lnTo>
                  <a:pt x="3881069" y="82431"/>
                </a:lnTo>
                <a:cubicBezTo>
                  <a:pt x="3881069" y="36900"/>
                  <a:pt x="3844169" y="0"/>
                  <a:pt x="3798637" y="0"/>
                </a:cubicBezTo>
                <a:close/>
                <a:moveTo>
                  <a:pt x="3685780" y="2190580"/>
                </a:moveTo>
                <a:lnTo>
                  <a:pt x="195181" y="2190580"/>
                </a:lnTo>
                <a:lnTo>
                  <a:pt x="195181" y="177270"/>
                </a:lnTo>
                <a:lnTo>
                  <a:pt x="3685780" y="177270"/>
                </a:lnTo>
                <a:lnTo>
                  <a:pt x="3685780" y="2190580"/>
                </a:lnTo>
                <a:close/>
              </a:path>
            </a:pathLst>
          </a:custGeom>
          <a:solidFill>
            <a:srgbClr val="263238"/>
          </a:solidFill>
          <a:ln w="10454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648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2504824" y="4226397"/>
            <a:ext cx="1255566" cy="719115"/>
            <a:chOff x="2504824" y="4226397"/>
            <a:chExt cx="1255566" cy="719115"/>
          </a:xfrm>
        </p:grpSpPr>
        <p:sp>
          <p:nvSpPr>
            <p:cNvPr id="1649" name="Полилиния: фигура 1648">
              <a:extLst>
                <a:ext uri="{FF2B5EF4-FFF2-40B4-BE49-F238E27FC236}">
                  <a16:creationId xmlns:a16="http://schemas.microsoft.com/office/drawing/2014/main" id="{4F41228D-76CA-4CDE-A72D-277130AFA64E}"/>
                </a:ext>
              </a:extLst>
            </p:cNvPr>
            <p:cNvSpPr/>
            <p:nvPr/>
          </p:nvSpPr>
          <p:spPr>
            <a:xfrm>
              <a:off x="2504824" y="4226505"/>
              <a:ext cx="1255351" cy="661824"/>
            </a:xfrm>
            <a:custGeom>
              <a:avLst/>
              <a:gdLst>
                <a:gd name="connsiteX0" fmla="*/ 1110557 w 1255351"/>
                <a:gd name="connsiteY0" fmla="*/ 320986 h 661824"/>
                <a:gd name="connsiteX1" fmla="*/ 1110557 w 1255351"/>
                <a:gd name="connsiteY1" fmla="*/ 0 h 661824"/>
                <a:gd name="connsiteX2" fmla="*/ 144902 w 1255351"/>
                <a:gd name="connsiteY2" fmla="*/ 0 h 661824"/>
                <a:gd name="connsiteX3" fmla="*/ 144902 w 1255351"/>
                <a:gd name="connsiteY3" fmla="*/ 320986 h 661824"/>
                <a:gd name="connsiteX4" fmla="*/ 42295 w 1255351"/>
                <a:gd name="connsiteY4" fmla="*/ 609495 h 661824"/>
                <a:gd name="connsiteX5" fmla="*/ 0 w 1255351"/>
                <a:gd name="connsiteY5" fmla="*/ 661824 h 661824"/>
                <a:gd name="connsiteX6" fmla="*/ 1255351 w 1255351"/>
                <a:gd name="connsiteY6" fmla="*/ 661824 h 661824"/>
                <a:gd name="connsiteX7" fmla="*/ 1213056 w 1255351"/>
                <a:gd name="connsiteY7" fmla="*/ 609495 h 661824"/>
                <a:gd name="connsiteX8" fmla="*/ 1110449 w 1255351"/>
                <a:gd name="connsiteY8" fmla="*/ 320986 h 66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5351" h="661824">
                  <a:moveTo>
                    <a:pt x="1110557" y="320986"/>
                  </a:moveTo>
                  <a:lnTo>
                    <a:pt x="1110557" y="0"/>
                  </a:lnTo>
                  <a:lnTo>
                    <a:pt x="144902" y="0"/>
                  </a:lnTo>
                  <a:lnTo>
                    <a:pt x="144902" y="320986"/>
                  </a:lnTo>
                  <a:cubicBezTo>
                    <a:pt x="144902" y="425751"/>
                    <a:pt x="108758" y="527388"/>
                    <a:pt x="42295" y="609495"/>
                  </a:cubicBezTo>
                  <a:lnTo>
                    <a:pt x="0" y="661824"/>
                  </a:lnTo>
                  <a:lnTo>
                    <a:pt x="1255351" y="661824"/>
                  </a:lnTo>
                  <a:lnTo>
                    <a:pt x="1213056" y="609495"/>
                  </a:lnTo>
                  <a:cubicBezTo>
                    <a:pt x="1146593" y="527388"/>
                    <a:pt x="1110449" y="425751"/>
                    <a:pt x="1110449" y="320986"/>
                  </a:cubicBezTo>
                  <a:close/>
                </a:path>
              </a:pathLst>
            </a:custGeom>
            <a:solidFill>
              <a:srgbClr val="A8A8A8"/>
            </a:solidFill>
            <a:ln w="10454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0" name="Полилиния: фигура 1649">
              <a:extLst>
                <a:ext uri="{FF2B5EF4-FFF2-40B4-BE49-F238E27FC236}">
                  <a16:creationId xmlns:a16="http://schemas.microsoft.com/office/drawing/2014/main" id="{249C6739-09E6-4AC8-9883-0B8DBF3F3675}"/>
                </a:ext>
              </a:extLst>
            </p:cNvPr>
            <p:cNvSpPr/>
            <p:nvPr/>
          </p:nvSpPr>
          <p:spPr>
            <a:xfrm>
              <a:off x="2649726" y="4226397"/>
              <a:ext cx="965654" cy="207372"/>
            </a:xfrm>
            <a:custGeom>
              <a:avLst/>
              <a:gdLst>
                <a:gd name="connsiteX0" fmla="*/ 0 w 965654"/>
                <a:gd name="connsiteY0" fmla="*/ 0 h 207372"/>
                <a:gd name="connsiteX1" fmla="*/ 965655 w 965654"/>
                <a:gd name="connsiteY1" fmla="*/ 0 h 207372"/>
                <a:gd name="connsiteX2" fmla="*/ 965655 w 965654"/>
                <a:gd name="connsiteY2" fmla="*/ 207373 h 207372"/>
                <a:gd name="connsiteX3" fmla="*/ 0 w 965654"/>
                <a:gd name="connsiteY3" fmla="*/ 207373 h 207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5654" h="207372">
                  <a:moveTo>
                    <a:pt x="0" y="0"/>
                  </a:moveTo>
                  <a:lnTo>
                    <a:pt x="965655" y="0"/>
                  </a:lnTo>
                  <a:lnTo>
                    <a:pt x="965655" y="207373"/>
                  </a:lnTo>
                  <a:lnTo>
                    <a:pt x="0" y="207373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1" name="Полилиния: фигура 1650">
              <a:extLst>
                <a:ext uri="{FF2B5EF4-FFF2-40B4-BE49-F238E27FC236}">
                  <a16:creationId xmlns:a16="http://schemas.microsoft.com/office/drawing/2014/main" id="{F660B117-A038-4076-987C-1FB1A4722B37}"/>
                </a:ext>
              </a:extLst>
            </p:cNvPr>
            <p:cNvSpPr/>
            <p:nvPr/>
          </p:nvSpPr>
          <p:spPr>
            <a:xfrm>
              <a:off x="2504824" y="4888221"/>
              <a:ext cx="1255566" cy="57291"/>
            </a:xfrm>
            <a:custGeom>
              <a:avLst/>
              <a:gdLst>
                <a:gd name="connsiteX0" fmla="*/ 0 w 1255566"/>
                <a:gd name="connsiteY0" fmla="*/ 0 h 57291"/>
                <a:gd name="connsiteX1" fmla="*/ 1255567 w 1255566"/>
                <a:gd name="connsiteY1" fmla="*/ 0 h 57291"/>
                <a:gd name="connsiteX2" fmla="*/ 1255567 w 1255566"/>
                <a:gd name="connsiteY2" fmla="*/ 57292 h 57291"/>
                <a:gd name="connsiteX3" fmla="*/ 0 w 1255566"/>
                <a:gd name="connsiteY3" fmla="*/ 57292 h 5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5566" h="57291">
                  <a:moveTo>
                    <a:pt x="0" y="0"/>
                  </a:moveTo>
                  <a:lnTo>
                    <a:pt x="1255567" y="0"/>
                  </a:lnTo>
                  <a:lnTo>
                    <a:pt x="1255567" y="57292"/>
                  </a:lnTo>
                  <a:lnTo>
                    <a:pt x="0" y="57292"/>
                  </a:lnTo>
                  <a:close/>
                </a:path>
              </a:pathLst>
            </a:custGeom>
            <a:solidFill>
              <a:srgbClr val="A8A8A8"/>
            </a:solidFill>
            <a:ln w="10454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52" name="Полилиния: фигура 1651">
            <a:extLst>
              <a:ext uri="{FF2B5EF4-FFF2-40B4-BE49-F238E27FC236}">
                <a16:creationId xmlns:a16="http://schemas.microsoft.com/office/drawing/2014/main" id="{D70920DB-34B1-4EFB-AC79-EADAFF078E21}"/>
              </a:ext>
            </a:extLst>
          </p:cNvPr>
          <p:cNvSpPr/>
          <p:nvPr/>
        </p:nvSpPr>
        <p:spPr>
          <a:xfrm>
            <a:off x="1192073" y="3884696"/>
            <a:ext cx="3880960" cy="443014"/>
          </a:xfrm>
          <a:custGeom>
            <a:avLst/>
            <a:gdLst>
              <a:gd name="connsiteX0" fmla="*/ 0 w 3880960"/>
              <a:gd name="connsiteY0" fmla="*/ 0 h 443014"/>
              <a:gd name="connsiteX1" fmla="*/ 3880961 w 3880960"/>
              <a:gd name="connsiteY1" fmla="*/ 0 h 443014"/>
              <a:gd name="connsiteX2" fmla="*/ 3880961 w 3880960"/>
              <a:gd name="connsiteY2" fmla="*/ 354541 h 443014"/>
              <a:gd name="connsiteX3" fmla="*/ 3792487 w 3880960"/>
              <a:gd name="connsiteY3" fmla="*/ 443014 h 443014"/>
              <a:gd name="connsiteX4" fmla="*/ 88473 w 3880960"/>
              <a:gd name="connsiteY4" fmla="*/ 443014 h 443014"/>
              <a:gd name="connsiteX5" fmla="*/ 0 w 3880960"/>
              <a:gd name="connsiteY5" fmla="*/ 354541 h 443014"/>
              <a:gd name="connsiteX6" fmla="*/ 0 w 3880960"/>
              <a:gd name="connsiteY6" fmla="*/ 0 h 443014"/>
              <a:gd name="connsiteX7" fmla="*/ 0 w 3880960"/>
              <a:gd name="connsiteY7" fmla="*/ 0 h 443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0960" h="443014">
                <a:moveTo>
                  <a:pt x="0" y="0"/>
                </a:moveTo>
                <a:lnTo>
                  <a:pt x="3880961" y="0"/>
                </a:lnTo>
                <a:lnTo>
                  <a:pt x="3880961" y="354541"/>
                </a:lnTo>
                <a:cubicBezTo>
                  <a:pt x="3880961" y="403309"/>
                  <a:pt x="3841363" y="443014"/>
                  <a:pt x="3792487" y="443014"/>
                </a:cubicBezTo>
                <a:lnTo>
                  <a:pt x="88473" y="443014"/>
                </a:lnTo>
                <a:cubicBezTo>
                  <a:pt x="39705" y="443014"/>
                  <a:pt x="0" y="403417"/>
                  <a:pt x="0" y="354541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0454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653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581467" y="1725298"/>
            <a:ext cx="160223" cy="186873"/>
            <a:chOff x="4581467" y="1725298"/>
            <a:chExt cx="160223" cy="186873"/>
          </a:xfrm>
        </p:grpSpPr>
        <p:sp>
          <p:nvSpPr>
            <p:cNvPr id="1654" name="Полилиния: фигура 1653">
              <a:extLst>
                <a:ext uri="{FF2B5EF4-FFF2-40B4-BE49-F238E27FC236}">
                  <a16:creationId xmlns:a16="http://schemas.microsoft.com/office/drawing/2014/main" id="{193C1D59-2FEB-4EC5-B778-5F1727B666D6}"/>
                </a:ext>
              </a:extLst>
            </p:cNvPr>
            <p:cNvSpPr/>
            <p:nvPr/>
          </p:nvSpPr>
          <p:spPr>
            <a:xfrm>
              <a:off x="4581467" y="1725298"/>
              <a:ext cx="160223" cy="157741"/>
            </a:xfrm>
            <a:custGeom>
              <a:avLst/>
              <a:gdLst>
                <a:gd name="connsiteX0" fmla="*/ 0 w 160223"/>
                <a:gd name="connsiteY0" fmla="*/ 157742 h 157741"/>
                <a:gd name="connsiteX1" fmla="*/ 160223 w 160223"/>
                <a:gd name="connsiteY1" fmla="*/ 157742 h 157741"/>
                <a:gd name="connsiteX2" fmla="*/ 144147 w 160223"/>
                <a:gd name="connsiteY2" fmla="*/ 0 h 157741"/>
                <a:gd name="connsiteX3" fmla="*/ 15968 w 160223"/>
                <a:gd name="connsiteY3" fmla="*/ 0 h 157741"/>
                <a:gd name="connsiteX4" fmla="*/ 0 w 160223"/>
                <a:gd name="connsiteY4" fmla="*/ 157742 h 15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23" h="157741">
                  <a:moveTo>
                    <a:pt x="0" y="157742"/>
                  </a:moveTo>
                  <a:lnTo>
                    <a:pt x="160223" y="157742"/>
                  </a:lnTo>
                  <a:lnTo>
                    <a:pt x="144147" y="0"/>
                  </a:lnTo>
                  <a:lnTo>
                    <a:pt x="15968" y="0"/>
                  </a:lnTo>
                  <a:lnTo>
                    <a:pt x="0" y="157742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5" name="Полилиния: фигура 1654">
              <a:extLst>
                <a:ext uri="{FF2B5EF4-FFF2-40B4-BE49-F238E27FC236}">
                  <a16:creationId xmlns:a16="http://schemas.microsoft.com/office/drawing/2014/main" id="{7603455D-F3B7-4267-9B29-4CA8DA1E5FF2}"/>
                </a:ext>
              </a:extLst>
            </p:cNvPr>
            <p:cNvSpPr/>
            <p:nvPr/>
          </p:nvSpPr>
          <p:spPr>
            <a:xfrm>
              <a:off x="4581467" y="1875379"/>
              <a:ext cx="160223" cy="36791"/>
            </a:xfrm>
            <a:custGeom>
              <a:avLst/>
              <a:gdLst>
                <a:gd name="connsiteX0" fmla="*/ 157202 w 160223"/>
                <a:gd name="connsiteY0" fmla="*/ 0 h 36791"/>
                <a:gd name="connsiteX1" fmla="*/ 160223 w 160223"/>
                <a:gd name="connsiteY1" fmla="*/ 3021 h 36791"/>
                <a:gd name="connsiteX2" fmla="*/ 160223 w 160223"/>
                <a:gd name="connsiteY2" fmla="*/ 33771 h 36791"/>
                <a:gd name="connsiteX3" fmla="*/ 157202 w 160223"/>
                <a:gd name="connsiteY3" fmla="*/ 36792 h 36791"/>
                <a:gd name="connsiteX4" fmla="*/ 3021 w 160223"/>
                <a:gd name="connsiteY4" fmla="*/ 36792 h 36791"/>
                <a:gd name="connsiteX5" fmla="*/ 0 w 160223"/>
                <a:gd name="connsiteY5" fmla="*/ 33771 h 36791"/>
                <a:gd name="connsiteX6" fmla="*/ 0 w 160223"/>
                <a:gd name="connsiteY6" fmla="*/ 3021 h 36791"/>
                <a:gd name="connsiteX7" fmla="*/ 3021 w 160223"/>
                <a:gd name="connsiteY7" fmla="*/ 0 h 36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223" h="36791">
                  <a:moveTo>
                    <a:pt x="157202" y="0"/>
                  </a:moveTo>
                  <a:cubicBezTo>
                    <a:pt x="158871" y="0"/>
                    <a:pt x="160223" y="1353"/>
                    <a:pt x="160223" y="3021"/>
                  </a:cubicBezTo>
                  <a:lnTo>
                    <a:pt x="160223" y="33771"/>
                  </a:lnTo>
                  <a:cubicBezTo>
                    <a:pt x="160223" y="35439"/>
                    <a:pt x="158871" y="36792"/>
                    <a:pt x="157202" y="36792"/>
                  </a:cubicBezTo>
                  <a:lnTo>
                    <a:pt x="3021" y="36792"/>
                  </a:lnTo>
                  <a:cubicBezTo>
                    <a:pt x="1353" y="36792"/>
                    <a:pt x="0" y="35439"/>
                    <a:pt x="0" y="33771"/>
                  </a:cubicBezTo>
                  <a:lnTo>
                    <a:pt x="0" y="3021"/>
                  </a:lnTo>
                  <a:cubicBezTo>
                    <a:pt x="0" y="1353"/>
                    <a:pt x="1353" y="0"/>
                    <a:pt x="3021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56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581467" y="1951013"/>
            <a:ext cx="160223" cy="186873"/>
            <a:chOff x="4581467" y="1951013"/>
            <a:chExt cx="160223" cy="186873"/>
          </a:xfrm>
        </p:grpSpPr>
        <p:grpSp>
          <p:nvGrpSpPr>
            <p:cNvPr id="1657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4581467" y="1951013"/>
              <a:ext cx="160223" cy="186873"/>
              <a:chOff x="4581467" y="1951013"/>
              <a:chExt cx="160223" cy="186873"/>
            </a:xfrm>
          </p:grpSpPr>
          <p:sp>
            <p:nvSpPr>
              <p:cNvPr id="1658" name="Полилиния: фигура 1657">
                <a:extLst>
                  <a:ext uri="{FF2B5EF4-FFF2-40B4-BE49-F238E27FC236}">
                    <a16:creationId xmlns:a16="http://schemas.microsoft.com/office/drawing/2014/main" id="{6DCA1AE6-82DF-404C-ACFA-4C56F350D5C9}"/>
                  </a:ext>
                </a:extLst>
              </p:cNvPr>
              <p:cNvSpPr/>
              <p:nvPr/>
            </p:nvSpPr>
            <p:spPr>
              <a:xfrm>
                <a:off x="4581467" y="1951013"/>
                <a:ext cx="160223" cy="157741"/>
              </a:xfrm>
              <a:custGeom>
                <a:avLst/>
                <a:gdLst>
                  <a:gd name="connsiteX0" fmla="*/ 0 w 160223"/>
                  <a:gd name="connsiteY0" fmla="*/ 157742 h 157741"/>
                  <a:gd name="connsiteX1" fmla="*/ 160223 w 160223"/>
                  <a:gd name="connsiteY1" fmla="*/ 157742 h 157741"/>
                  <a:gd name="connsiteX2" fmla="*/ 144147 w 160223"/>
                  <a:gd name="connsiteY2" fmla="*/ 0 h 157741"/>
                  <a:gd name="connsiteX3" fmla="*/ 15968 w 160223"/>
                  <a:gd name="connsiteY3" fmla="*/ 0 h 157741"/>
                  <a:gd name="connsiteX4" fmla="*/ 0 w 160223"/>
                  <a:gd name="connsiteY4" fmla="*/ 157742 h 157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223" h="157741">
                    <a:moveTo>
                      <a:pt x="0" y="157742"/>
                    </a:moveTo>
                    <a:lnTo>
                      <a:pt x="160223" y="157742"/>
                    </a:lnTo>
                    <a:lnTo>
                      <a:pt x="144147" y="0"/>
                    </a:lnTo>
                    <a:lnTo>
                      <a:pt x="15968" y="0"/>
                    </a:lnTo>
                    <a:lnTo>
                      <a:pt x="0" y="157742"/>
                    </a:ln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59" name="Полилиния: фигура 1658">
                <a:extLst>
                  <a:ext uri="{FF2B5EF4-FFF2-40B4-BE49-F238E27FC236}">
                    <a16:creationId xmlns:a16="http://schemas.microsoft.com/office/drawing/2014/main" id="{C0B42609-79E1-4DBC-B640-C336633EE3B8}"/>
                  </a:ext>
                </a:extLst>
              </p:cNvPr>
              <p:cNvSpPr/>
              <p:nvPr/>
            </p:nvSpPr>
            <p:spPr>
              <a:xfrm>
                <a:off x="4581467" y="2101094"/>
                <a:ext cx="160223" cy="36791"/>
              </a:xfrm>
              <a:custGeom>
                <a:avLst/>
                <a:gdLst>
                  <a:gd name="connsiteX0" fmla="*/ 155368 w 160223"/>
                  <a:gd name="connsiteY0" fmla="*/ 0 h 36791"/>
                  <a:gd name="connsiteX1" fmla="*/ 160223 w 160223"/>
                  <a:gd name="connsiteY1" fmla="*/ 4855 h 36791"/>
                  <a:gd name="connsiteX2" fmla="*/ 160223 w 160223"/>
                  <a:gd name="connsiteY2" fmla="*/ 31937 h 36791"/>
                  <a:gd name="connsiteX3" fmla="*/ 155368 w 160223"/>
                  <a:gd name="connsiteY3" fmla="*/ 36792 h 36791"/>
                  <a:gd name="connsiteX4" fmla="*/ 4855 w 160223"/>
                  <a:gd name="connsiteY4" fmla="*/ 36792 h 36791"/>
                  <a:gd name="connsiteX5" fmla="*/ 0 w 160223"/>
                  <a:gd name="connsiteY5" fmla="*/ 31937 h 36791"/>
                  <a:gd name="connsiteX6" fmla="*/ 0 w 160223"/>
                  <a:gd name="connsiteY6" fmla="*/ 4855 h 36791"/>
                  <a:gd name="connsiteX7" fmla="*/ 4855 w 160223"/>
                  <a:gd name="connsiteY7" fmla="*/ 0 h 36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223" h="36791">
                    <a:moveTo>
                      <a:pt x="155368" y="0"/>
                    </a:moveTo>
                    <a:cubicBezTo>
                      <a:pt x="158049" y="0"/>
                      <a:pt x="160223" y="2174"/>
                      <a:pt x="160223" y="4855"/>
                    </a:cubicBezTo>
                    <a:lnTo>
                      <a:pt x="160223" y="31937"/>
                    </a:lnTo>
                    <a:cubicBezTo>
                      <a:pt x="160223" y="34618"/>
                      <a:pt x="158049" y="36792"/>
                      <a:pt x="155368" y="36792"/>
                    </a:cubicBezTo>
                    <a:lnTo>
                      <a:pt x="4855" y="36792"/>
                    </a:lnTo>
                    <a:cubicBezTo>
                      <a:pt x="2174" y="36792"/>
                      <a:pt x="0" y="34618"/>
                      <a:pt x="0" y="31937"/>
                    </a:cubicBezTo>
                    <a:lnTo>
                      <a:pt x="0" y="4855"/>
                    </a:lnTo>
                    <a:cubicBezTo>
                      <a:pt x="0" y="2174"/>
                      <a:pt x="2174" y="0"/>
                      <a:pt x="485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660" name="Полилиния: фигура 1659">
              <a:extLst>
                <a:ext uri="{FF2B5EF4-FFF2-40B4-BE49-F238E27FC236}">
                  <a16:creationId xmlns:a16="http://schemas.microsoft.com/office/drawing/2014/main" id="{79BA8369-1785-4522-A6CB-BC9DB78AD6A6}"/>
                </a:ext>
              </a:extLst>
            </p:cNvPr>
            <p:cNvSpPr/>
            <p:nvPr/>
          </p:nvSpPr>
          <p:spPr>
            <a:xfrm>
              <a:off x="4591717" y="2111884"/>
              <a:ext cx="72505" cy="14889"/>
            </a:xfrm>
            <a:custGeom>
              <a:avLst/>
              <a:gdLst>
                <a:gd name="connsiteX0" fmla="*/ 0 w 72505"/>
                <a:gd name="connsiteY0" fmla="*/ 0 h 14889"/>
                <a:gd name="connsiteX1" fmla="*/ 72505 w 72505"/>
                <a:gd name="connsiteY1" fmla="*/ 0 h 14889"/>
                <a:gd name="connsiteX2" fmla="*/ 72505 w 72505"/>
                <a:gd name="connsiteY2" fmla="*/ 14889 h 14889"/>
                <a:gd name="connsiteX3" fmla="*/ 0 w 72505"/>
                <a:gd name="connsiteY3" fmla="*/ 14889 h 1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505" h="14889">
                  <a:moveTo>
                    <a:pt x="0" y="0"/>
                  </a:moveTo>
                  <a:lnTo>
                    <a:pt x="72505" y="0"/>
                  </a:lnTo>
                  <a:lnTo>
                    <a:pt x="72505" y="14889"/>
                  </a:lnTo>
                  <a:lnTo>
                    <a:pt x="0" y="14889"/>
                  </a:lnTo>
                  <a:close/>
                </a:path>
              </a:pathLst>
            </a:custGeom>
            <a:solidFill>
              <a:srgbClr val="263238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1" name="Полилиния: фигура 1660">
              <a:extLst>
                <a:ext uri="{FF2B5EF4-FFF2-40B4-BE49-F238E27FC236}">
                  <a16:creationId xmlns:a16="http://schemas.microsoft.com/office/drawing/2014/main" id="{78F63654-F9F5-48AF-92B4-CC8860089B6D}"/>
                </a:ext>
              </a:extLst>
            </p:cNvPr>
            <p:cNvSpPr/>
            <p:nvPr/>
          </p:nvSpPr>
          <p:spPr>
            <a:xfrm>
              <a:off x="4608225" y="1979929"/>
              <a:ext cx="110483" cy="89120"/>
            </a:xfrm>
            <a:custGeom>
              <a:avLst/>
              <a:gdLst>
                <a:gd name="connsiteX0" fmla="*/ 110484 w 110483"/>
                <a:gd name="connsiteY0" fmla="*/ 44560 h 89120"/>
                <a:gd name="connsiteX1" fmla="*/ 55242 w 110483"/>
                <a:gd name="connsiteY1" fmla="*/ 89121 h 89120"/>
                <a:gd name="connsiteX2" fmla="*/ 0 w 110483"/>
                <a:gd name="connsiteY2" fmla="*/ 44560 h 89120"/>
                <a:gd name="connsiteX3" fmla="*/ 55242 w 110483"/>
                <a:gd name="connsiteY3" fmla="*/ 0 h 89120"/>
                <a:gd name="connsiteX4" fmla="*/ 110484 w 110483"/>
                <a:gd name="connsiteY4" fmla="*/ 44560 h 8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483" h="89120">
                  <a:moveTo>
                    <a:pt x="110484" y="44560"/>
                  </a:moveTo>
                  <a:cubicBezTo>
                    <a:pt x="110484" y="69160"/>
                    <a:pt x="85776" y="89121"/>
                    <a:pt x="55242" y="89121"/>
                  </a:cubicBezTo>
                  <a:cubicBezTo>
                    <a:pt x="24708" y="89121"/>
                    <a:pt x="0" y="69160"/>
                    <a:pt x="0" y="44560"/>
                  </a:cubicBezTo>
                  <a:cubicBezTo>
                    <a:pt x="0" y="19960"/>
                    <a:pt x="24708" y="0"/>
                    <a:pt x="55242" y="0"/>
                  </a:cubicBezTo>
                  <a:cubicBezTo>
                    <a:pt x="85776" y="0"/>
                    <a:pt x="110484" y="19960"/>
                    <a:pt x="110484" y="44560"/>
                  </a:cubicBezTo>
                  <a:close/>
                </a:path>
              </a:pathLst>
            </a:custGeom>
            <a:solidFill>
              <a:srgbClr val="263238"/>
            </a:solidFill>
            <a:ln w="5173" cap="flat">
              <a:solidFill>
                <a:srgbClr val="59595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62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591069" y="2232294"/>
            <a:ext cx="152023" cy="111670"/>
            <a:chOff x="4591069" y="2232294"/>
            <a:chExt cx="152023" cy="111670"/>
          </a:xfrm>
          <a:solidFill>
            <a:srgbClr val="FFFFFF"/>
          </a:solidFill>
        </p:grpSpPr>
        <p:sp>
          <p:nvSpPr>
            <p:cNvPr id="1663" name="Полилиния: фигура 1662">
              <a:extLst>
                <a:ext uri="{FF2B5EF4-FFF2-40B4-BE49-F238E27FC236}">
                  <a16:creationId xmlns:a16="http://schemas.microsoft.com/office/drawing/2014/main" id="{DE67CBB7-C031-4FE6-971E-D0E09C572F98}"/>
                </a:ext>
              </a:extLst>
            </p:cNvPr>
            <p:cNvSpPr/>
            <p:nvPr/>
          </p:nvSpPr>
          <p:spPr>
            <a:xfrm>
              <a:off x="4591069" y="2250096"/>
              <a:ext cx="152023" cy="93868"/>
            </a:xfrm>
            <a:custGeom>
              <a:avLst/>
              <a:gdLst>
                <a:gd name="connsiteX0" fmla="*/ 8200 w 152023"/>
                <a:gd name="connsiteY0" fmla="*/ 0 h 93868"/>
                <a:gd name="connsiteX1" fmla="*/ 143715 w 152023"/>
                <a:gd name="connsiteY1" fmla="*/ 0 h 93868"/>
                <a:gd name="connsiteX2" fmla="*/ 152023 w 152023"/>
                <a:gd name="connsiteY2" fmla="*/ 8308 h 93868"/>
                <a:gd name="connsiteX3" fmla="*/ 152023 w 152023"/>
                <a:gd name="connsiteY3" fmla="*/ 93868 h 93868"/>
                <a:gd name="connsiteX4" fmla="*/ 0 w 152023"/>
                <a:gd name="connsiteY4" fmla="*/ 93868 h 93868"/>
                <a:gd name="connsiteX5" fmla="*/ 0 w 152023"/>
                <a:gd name="connsiteY5" fmla="*/ 8308 h 93868"/>
                <a:gd name="connsiteX6" fmla="*/ 8308 w 152023"/>
                <a:gd name="connsiteY6" fmla="*/ 0 h 9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023" h="93868">
                  <a:moveTo>
                    <a:pt x="8200" y="0"/>
                  </a:moveTo>
                  <a:lnTo>
                    <a:pt x="143715" y="0"/>
                  </a:lnTo>
                  <a:cubicBezTo>
                    <a:pt x="148247" y="0"/>
                    <a:pt x="152023" y="3668"/>
                    <a:pt x="152023" y="8308"/>
                  </a:cubicBezTo>
                  <a:lnTo>
                    <a:pt x="152023" y="93868"/>
                  </a:lnTo>
                  <a:lnTo>
                    <a:pt x="0" y="93868"/>
                  </a:lnTo>
                  <a:lnTo>
                    <a:pt x="0" y="8308"/>
                  </a:lnTo>
                  <a:cubicBezTo>
                    <a:pt x="0" y="3776"/>
                    <a:pt x="3669" y="0"/>
                    <a:pt x="8308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4" name="Полилиния: фигура 1663">
              <a:extLst>
                <a:ext uri="{FF2B5EF4-FFF2-40B4-BE49-F238E27FC236}">
                  <a16:creationId xmlns:a16="http://schemas.microsoft.com/office/drawing/2014/main" id="{F8C57973-3BCA-4D6C-B5ED-81BCB2D43F90}"/>
                </a:ext>
              </a:extLst>
            </p:cNvPr>
            <p:cNvSpPr/>
            <p:nvPr/>
          </p:nvSpPr>
          <p:spPr>
            <a:xfrm>
              <a:off x="4613080" y="2232294"/>
              <a:ext cx="67649" cy="35173"/>
            </a:xfrm>
            <a:custGeom>
              <a:avLst/>
              <a:gdLst>
                <a:gd name="connsiteX0" fmla="*/ 63550 w 67649"/>
                <a:gd name="connsiteY0" fmla="*/ 0 h 35173"/>
                <a:gd name="connsiteX1" fmla="*/ 67650 w 67649"/>
                <a:gd name="connsiteY1" fmla="*/ 4100 h 35173"/>
                <a:gd name="connsiteX2" fmla="*/ 67650 w 67649"/>
                <a:gd name="connsiteY2" fmla="*/ 31074 h 35173"/>
                <a:gd name="connsiteX3" fmla="*/ 63550 w 67649"/>
                <a:gd name="connsiteY3" fmla="*/ 35174 h 35173"/>
                <a:gd name="connsiteX4" fmla="*/ 4100 w 67649"/>
                <a:gd name="connsiteY4" fmla="*/ 35174 h 35173"/>
                <a:gd name="connsiteX5" fmla="*/ 0 w 67649"/>
                <a:gd name="connsiteY5" fmla="*/ 31074 h 35173"/>
                <a:gd name="connsiteX6" fmla="*/ 0 w 67649"/>
                <a:gd name="connsiteY6" fmla="*/ 4100 h 35173"/>
                <a:gd name="connsiteX7" fmla="*/ 4100 w 67649"/>
                <a:gd name="connsiteY7" fmla="*/ 0 h 3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49" h="35173">
                  <a:moveTo>
                    <a:pt x="63550" y="0"/>
                  </a:moveTo>
                  <a:cubicBezTo>
                    <a:pt x="65814" y="0"/>
                    <a:pt x="67650" y="1836"/>
                    <a:pt x="67650" y="4100"/>
                  </a:cubicBezTo>
                  <a:lnTo>
                    <a:pt x="67650" y="31074"/>
                  </a:lnTo>
                  <a:cubicBezTo>
                    <a:pt x="67650" y="33338"/>
                    <a:pt x="65814" y="35174"/>
                    <a:pt x="63550" y="35174"/>
                  </a:cubicBezTo>
                  <a:lnTo>
                    <a:pt x="4100" y="35174"/>
                  </a:lnTo>
                  <a:cubicBezTo>
                    <a:pt x="1836" y="35174"/>
                    <a:pt x="0" y="33338"/>
                    <a:pt x="0" y="31074"/>
                  </a:cubicBezTo>
                  <a:lnTo>
                    <a:pt x="0" y="4100"/>
                  </a:lnTo>
                  <a:cubicBezTo>
                    <a:pt x="0" y="1836"/>
                    <a:pt x="1836" y="0"/>
                    <a:pt x="4100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65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591069" y="2455743"/>
            <a:ext cx="152023" cy="111562"/>
            <a:chOff x="4591069" y="2455743"/>
            <a:chExt cx="152023" cy="111562"/>
          </a:xfrm>
          <a:solidFill>
            <a:srgbClr val="FFFFFF"/>
          </a:solidFill>
        </p:grpSpPr>
        <p:sp>
          <p:nvSpPr>
            <p:cNvPr id="1666" name="Полилиния: фигура 1665">
              <a:extLst>
                <a:ext uri="{FF2B5EF4-FFF2-40B4-BE49-F238E27FC236}">
                  <a16:creationId xmlns:a16="http://schemas.microsoft.com/office/drawing/2014/main" id="{6FBB717D-5696-4B39-AB39-5586EDAEE92E}"/>
                </a:ext>
              </a:extLst>
            </p:cNvPr>
            <p:cNvSpPr/>
            <p:nvPr/>
          </p:nvSpPr>
          <p:spPr>
            <a:xfrm>
              <a:off x="4591069" y="2473438"/>
              <a:ext cx="152023" cy="93868"/>
            </a:xfrm>
            <a:custGeom>
              <a:avLst/>
              <a:gdLst>
                <a:gd name="connsiteX0" fmla="*/ 8200 w 152023"/>
                <a:gd name="connsiteY0" fmla="*/ 0 h 93868"/>
                <a:gd name="connsiteX1" fmla="*/ 143715 w 152023"/>
                <a:gd name="connsiteY1" fmla="*/ 0 h 93868"/>
                <a:gd name="connsiteX2" fmla="*/ 152023 w 152023"/>
                <a:gd name="connsiteY2" fmla="*/ 8308 h 93868"/>
                <a:gd name="connsiteX3" fmla="*/ 152023 w 152023"/>
                <a:gd name="connsiteY3" fmla="*/ 93868 h 93868"/>
                <a:gd name="connsiteX4" fmla="*/ 0 w 152023"/>
                <a:gd name="connsiteY4" fmla="*/ 93868 h 93868"/>
                <a:gd name="connsiteX5" fmla="*/ 0 w 152023"/>
                <a:gd name="connsiteY5" fmla="*/ 8308 h 93868"/>
                <a:gd name="connsiteX6" fmla="*/ 8308 w 152023"/>
                <a:gd name="connsiteY6" fmla="*/ 0 h 9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023" h="93868">
                  <a:moveTo>
                    <a:pt x="8200" y="0"/>
                  </a:moveTo>
                  <a:lnTo>
                    <a:pt x="143715" y="0"/>
                  </a:lnTo>
                  <a:cubicBezTo>
                    <a:pt x="148247" y="0"/>
                    <a:pt x="152023" y="3668"/>
                    <a:pt x="152023" y="8308"/>
                  </a:cubicBezTo>
                  <a:lnTo>
                    <a:pt x="152023" y="93868"/>
                  </a:lnTo>
                  <a:lnTo>
                    <a:pt x="0" y="93868"/>
                  </a:lnTo>
                  <a:lnTo>
                    <a:pt x="0" y="8308"/>
                  </a:lnTo>
                  <a:cubicBezTo>
                    <a:pt x="0" y="3776"/>
                    <a:pt x="3669" y="0"/>
                    <a:pt x="8308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7" name="Полилиния: фигура 1666">
              <a:extLst>
                <a:ext uri="{FF2B5EF4-FFF2-40B4-BE49-F238E27FC236}">
                  <a16:creationId xmlns:a16="http://schemas.microsoft.com/office/drawing/2014/main" id="{F199161F-06C2-4B43-B067-21469F16F4C7}"/>
                </a:ext>
              </a:extLst>
            </p:cNvPr>
            <p:cNvSpPr/>
            <p:nvPr/>
          </p:nvSpPr>
          <p:spPr>
            <a:xfrm>
              <a:off x="4613080" y="2455743"/>
              <a:ext cx="67649" cy="35281"/>
            </a:xfrm>
            <a:custGeom>
              <a:avLst/>
              <a:gdLst>
                <a:gd name="connsiteX0" fmla="*/ 63550 w 67649"/>
                <a:gd name="connsiteY0" fmla="*/ 0 h 35281"/>
                <a:gd name="connsiteX1" fmla="*/ 67650 w 67649"/>
                <a:gd name="connsiteY1" fmla="*/ 4100 h 35281"/>
                <a:gd name="connsiteX2" fmla="*/ 67650 w 67649"/>
                <a:gd name="connsiteY2" fmla="*/ 31181 h 35281"/>
                <a:gd name="connsiteX3" fmla="*/ 63550 w 67649"/>
                <a:gd name="connsiteY3" fmla="*/ 35282 h 35281"/>
                <a:gd name="connsiteX4" fmla="*/ 4100 w 67649"/>
                <a:gd name="connsiteY4" fmla="*/ 35282 h 35281"/>
                <a:gd name="connsiteX5" fmla="*/ 0 w 67649"/>
                <a:gd name="connsiteY5" fmla="*/ 31181 h 35281"/>
                <a:gd name="connsiteX6" fmla="*/ 0 w 67649"/>
                <a:gd name="connsiteY6" fmla="*/ 4100 h 35281"/>
                <a:gd name="connsiteX7" fmla="*/ 4100 w 67649"/>
                <a:gd name="connsiteY7" fmla="*/ 0 h 3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49" h="35281">
                  <a:moveTo>
                    <a:pt x="63550" y="0"/>
                  </a:moveTo>
                  <a:cubicBezTo>
                    <a:pt x="65814" y="0"/>
                    <a:pt x="67650" y="1836"/>
                    <a:pt x="67650" y="4100"/>
                  </a:cubicBezTo>
                  <a:lnTo>
                    <a:pt x="67650" y="31181"/>
                  </a:lnTo>
                  <a:cubicBezTo>
                    <a:pt x="67650" y="33446"/>
                    <a:pt x="65814" y="35282"/>
                    <a:pt x="63550" y="35282"/>
                  </a:cubicBezTo>
                  <a:lnTo>
                    <a:pt x="4100" y="35282"/>
                  </a:lnTo>
                  <a:cubicBezTo>
                    <a:pt x="1836" y="35282"/>
                    <a:pt x="0" y="33446"/>
                    <a:pt x="0" y="31181"/>
                  </a:cubicBezTo>
                  <a:lnTo>
                    <a:pt x="0" y="4100"/>
                  </a:lnTo>
                  <a:cubicBezTo>
                    <a:pt x="0" y="1836"/>
                    <a:pt x="1836" y="0"/>
                    <a:pt x="4100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68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4591069" y="2679192"/>
            <a:ext cx="152023" cy="111562"/>
            <a:chOff x="4591069" y="2679192"/>
            <a:chExt cx="152023" cy="111562"/>
          </a:xfrm>
          <a:solidFill>
            <a:srgbClr val="FFFFFF"/>
          </a:solidFill>
        </p:grpSpPr>
        <p:sp>
          <p:nvSpPr>
            <p:cNvPr id="1669" name="Полилиния: фигура 1668">
              <a:extLst>
                <a:ext uri="{FF2B5EF4-FFF2-40B4-BE49-F238E27FC236}">
                  <a16:creationId xmlns:a16="http://schemas.microsoft.com/office/drawing/2014/main" id="{771F71EE-1B13-4E70-82C2-4694494BD976}"/>
                </a:ext>
              </a:extLst>
            </p:cNvPr>
            <p:cNvSpPr/>
            <p:nvPr/>
          </p:nvSpPr>
          <p:spPr>
            <a:xfrm>
              <a:off x="4591069" y="2696887"/>
              <a:ext cx="152023" cy="93868"/>
            </a:xfrm>
            <a:custGeom>
              <a:avLst/>
              <a:gdLst>
                <a:gd name="connsiteX0" fmla="*/ 8200 w 152023"/>
                <a:gd name="connsiteY0" fmla="*/ 0 h 93868"/>
                <a:gd name="connsiteX1" fmla="*/ 143715 w 152023"/>
                <a:gd name="connsiteY1" fmla="*/ 0 h 93868"/>
                <a:gd name="connsiteX2" fmla="*/ 152023 w 152023"/>
                <a:gd name="connsiteY2" fmla="*/ 8308 h 93868"/>
                <a:gd name="connsiteX3" fmla="*/ 152023 w 152023"/>
                <a:gd name="connsiteY3" fmla="*/ 93868 h 93868"/>
                <a:gd name="connsiteX4" fmla="*/ 0 w 152023"/>
                <a:gd name="connsiteY4" fmla="*/ 93868 h 93868"/>
                <a:gd name="connsiteX5" fmla="*/ 0 w 152023"/>
                <a:gd name="connsiteY5" fmla="*/ 8308 h 93868"/>
                <a:gd name="connsiteX6" fmla="*/ 8308 w 152023"/>
                <a:gd name="connsiteY6" fmla="*/ 0 h 9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023" h="93868">
                  <a:moveTo>
                    <a:pt x="8200" y="0"/>
                  </a:moveTo>
                  <a:lnTo>
                    <a:pt x="143715" y="0"/>
                  </a:lnTo>
                  <a:cubicBezTo>
                    <a:pt x="148247" y="0"/>
                    <a:pt x="152023" y="3668"/>
                    <a:pt x="152023" y="8308"/>
                  </a:cubicBezTo>
                  <a:lnTo>
                    <a:pt x="152023" y="93868"/>
                  </a:lnTo>
                  <a:lnTo>
                    <a:pt x="0" y="93868"/>
                  </a:lnTo>
                  <a:lnTo>
                    <a:pt x="0" y="8308"/>
                  </a:lnTo>
                  <a:cubicBezTo>
                    <a:pt x="0" y="3776"/>
                    <a:pt x="3669" y="0"/>
                    <a:pt x="8308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0" name="Полилиния: фигура 1669">
              <a:extLst>
                <a:ext uri="{FF2B5EF4-FFF2-40B4-BE49-F238E27FC236}">
                  <a16:creationId xmlns:a16="http://schemas.microsoft.com/office/drawing/2014/main" id="{F63EB0AB-5F15-4D4B-9981-A69716825EDB}"/>
                </a:ext>
              </a:extLst>
            </p:cNvPr>
            <p:cNvSpPr/>
            <p:nvPr/>
          </p:nvSpPr>
          <p:spPr>
            <a:xfrm>
              <a:off x="4613080" y="2679192"/>
              <a:ext cx="67649" cy="35281"/>
            </a:xfrm>
            <a:custGeom>
              <a:avLst/>
              <a:gdLst>
                <a:gd name="connsiteX0" fmla="*/ 63550 w 67649"/>
                <a:gd name="connsiteY0" fmla="*/ 0 h 35281"/>
                <a:gd name="connsiteX1" fmla="*/ 67650 w 67649"/>
                <a:gd name="connsiteY1" fmla="*/ 4100 h 35281"/>
                <a:gd name="connsiteX2" fmla="*/ 67650 w 67649"/>
                <a:gd name="connsiteY2" fmla="*/ 31182 h 35281"/>
                <a:gd name="connsiteX3" fmla="*/ 63550 w 67649"/>
                <a:gd name="connsiteY3" fmla="*/ 35282 h 35281"/>
                <a:gd name="connsiteX4" fmla="*/ 4100 w 67649"/>
                <a:gd name="connsiteY4" fmla="*/ 35282 h 35281"/>
                <a:gd name="connsiteX5" fmla="*/ 0 w 67649"/>
                <a:gd name="connsiteY5" fmla="*/ 31182 h 35281"/>
                <a:gd name="connsiteX6" fmla="*/ 0 w 67649"/>
                <a:gd name="connsiteY6" fmla="*/ 4100 h 35281"/>
                <a:gd name="connsiteX7" fmla="*/ 4100 w 67649"/>
                <a:gd name="connsiteY7" fmla="*/ 0 h 35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649" h="35281">
                  <a:moveTo>
                    <a:pt x="63550" y="0"/>
                  </a:moveTo>
                  <a:cubicBezTo>
                    <a:pt x="65814" y="0"/>
                    <a:pt x="67650" y="1836"/>
                    <a:pt x="67650" y="4100"/>
                  </a:cubicBezTo>
                  <a:lnTo>
                    <a:pt x="67650" y="31182"/>
                  </a:lnTo>
                  <a:cubicBezTo>
                    <a:pt x="67650" y="33446"/>
                    <a:pt x="65814" y="35282"/>
                    <a:pt x="63550" y="35282"/>
                  </a:cubicBezTo>
                  <a:lnTo>
                    <a:pt x="4100" y="35282"/>
                  </a:lnTo>
                  <a:cubicBezTo>
                    <a:pt x="1836" y="35282"/>
                    <a:pt x="0" y="33446"/>
                    <a:pt x="0" y="31182"/>
                  </a:cubicBezTo>
                  <a:lnTo>
                    <a:pt x="0" y="4100"/>
                  </a:lnTo>
                  <a:cubicBezTo>
                    <a:pt x="0" y="1836"/>
                    <a:pt x="1836" y="0"/>
                    <a:pt x="4100" y="0"/>
                  </a:cubicBezTo>
                  <a:close/>
                </a:path>
              </a:pathLst>
            </a:custGeom>
            <a:solidFill>
              <a:srgbClr val="FFFFFF"/>
            </a:solidFill>
            <a:ln w="107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71" name="Рисунок 2">
            <a:extLst>
              <a:ext uri="{FF2B5EF4-FFF2-40B4-BE49-F238E27FC236}">
                <a16:creationId xmlns:a16="http://schemas.microsoft.com/office/drawing/2014/main" id="{6A5E939F-2E60-48FC-B2E3-2F9F53B5A2F9}"/>
              </a:ext>
            </a:extLst>
          </p:cNvPr>
          <p:cNvGrpSpPr/>
          <p:nvPr/>
        </p:nvGrpSpPr>
        <p:grpSpPr>
          <a:xfrm>
            <a:off x="1076410" y="5037331"/>
            <a:ext cx="3196802" cy="472253"/>
            <a:chOff x="1076410" y="5037331"/>
            <a:chExt cx="3196802" cy="472253"/>
          </a:xfrm>
        </p:grpSpPr>
        <p:grpSp>
          <p:nvGrpSpPr>
            <p:cNvPr id="1672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076410" y="5037331"/>
              <a:ext cx="3196802" cy="472253"/>
              <a:chOff x="1076410" y="5037331"/>
              <a:chExt cx="3196802" cy="472253"/>
            </a:xfrm>
          </p:grpSpPr>
          <p:sp>
            <p:nvSpPr>
              <p:cNvPr id="1673" name="Полилиния: фигура 1672">
                <a:extLst>
                  <a:ext uri="{FF2B5EF4-FFF2-40B4-BE49-F238E27FC236}">
                    <a16:creationId xmlns:a16="http://schemas.microsoft.com/office/drawing/2014/main" id="{0B6A6E6D-1D0F-49B5-9DC2-D06A9EE1A1C6}"/>
                  </a:ext>
                </a:extLst>
              </p:cNvPr>
              <p:cNvSpPr/>
              <p:nvPr/>
            </p:nvSpPr>
            <p:spPr>
              <a:xfrm>
                <a:off x="1076410" y="5426183"/>
                <a:ext cx="3196802" cy="83402"/>
              </a:xfrm>
              <a:custGeom>
                <a:avLst/>
                <a:gdLst>
                  <a:gd name="connsiteX0" fmla="*/ 28700 w 3196802"/>
                  <a:gd name="connsiteY0" fmla="*/ 0 h 83402"/>
                  <a:gd name="connsiteX1" fmla="*/ 3168103 w 3196802"/>
                  <a:gd name="connsiteY1" fmla="*/ 0 h 83402"/>
                  <a:gd name="connsiteX2" fmla="*/ 3196803 w 3196802"/>
                  <a:gd name="connsiteY2" fmla="*/ 28700 h 83402"/>
                  <a:gd name="connsiteX3" fmla="*/ 3196803 w 3196802"/>
                  <a:gd name="connsiteY3" fmla="*/ 54703 h 83402"/>
                  <a:gd name="connsiteX4" fmla="*/ 3168103 w 3196802"/>
                  <a:gd name="connsiteY4" fmla="*/ 83402 h 83402"/>
                  <a:gd name="connsiteX5" fmla="*/ 28700 w 3196802"/>
                  <a:gd name="connsiteY5" fmla="*/ 83402 h 83402"/>
                  <a:gd name="connsiteX6" fmla="*/ 0 w 3196802"/>
                  <a:gd name="connsiteY6" fmla="*/ 54703 h 83402"/>
                  <a:gd name="connsiteX7" fmla="*/ 0 w 3196802"/>
                  <a:gd name="connsiteY7" fmla="*/ 28700 h 83402"/>
                  <a:gd name="connsiteX8" fmla="*/ 28700 w 3196802"/>
                  <a:gd name="connsiteY8" fmla="*/ 0 h 83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196802" h="83402">
                    <a:moveTo>
                      <a:pt x="28700" y="0"/>
                    </a:moveTo>
                    <a:lnTo>
                      <a:pt x="3168103" y="0"/>
                    </a:lnTo>
                    <a:cubicBezTo>
                      <a:pt x="3183963" y="0"/>
                      <a:pt x="3196803" y="12839"/>
                      <a:pt x="3196803" y="28700"/>
                    </a:cubicBezTo>
                    <a:lnTo>
                      <a:pt x="3196803" y="54703"/>
                    </a:lnTo>
                    <a:cubicBezTo>
                      <a:pt x="3196803" y="70563"/>
                      <a:pt x="3183963" y="83402"/>
                      <a:pt x="3168103" y="83402"/>
                    </a:cubicBezTo>
                    <a:lnTo>
                      <a:pt x="28700" y="83402"/>
                    </a:lnTo>
                    <a:cubicBezTo>
                      <a:pt x="12839" y="83402"/>
                      <a:pt x="0" y="70563"/>
                      <a:pt x="0" y="54703"/>
                    </a:cubicBezTo>
                    <a:lnTo>
                      <a:pt x="0" y="28700"/>
                    </a:lnTo>
                    <a:cubicBezTo>
                      <a:pt x="0" y="12839"/>
                      <a:pt x="12839" y="0"/>
                      <a:pt x="28700" y="0"/>
                    </a:cubicBezTo>
                    <a:close/>
                  </a:path>
                </a:pathLst>
              </a:custGeom>
              <a:solidFill>
                <a:srgbClr val="3C464C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4" name="Полилиния: фигура 1673">
                <a:extLst>
                  <a:ext uri="{FF2B5EF4-FFF2-40B4-BE49-F238E27FC236}">
                    <a16:creationId xmlns:a16="http://schemas.microsoft.com/office/drawing/2014/main" id="{7821DECF-8904-409E-ACF9-DA89C5F9C339}"/>
                  </a:ext>
                </a:extLst>
              </p:cNvPr>
              <p:cNvSpPr/>
              <p:nvPr/>
            </p:nvSpPr>
            <p:spPr>
              <a:xfrm>
                <a:off x="1077010" y="5037331"/>
                <a:ext cx="3194739" cy="432764"/>
              </a:xfrm>
              <a:custGeom>
                <a:avLst/>
                <a:gdLst>
                  <a:gd name="connsiteX0" fmla="*/ 3190269 w 3194739"/>
                  <a:gd name="connsiteY0" fmla="*/ 399857 h 432764"/>
                  <a:gd name="connsiteX1" fmla="*/ 2861083 w 3194739"/>
                  <a:gd name="connsiteY1" fmla="*/ 16400 h 432764"/>
                  <a:gd name="connsiteX2" fmla="*/ 2798720 w 3194739"/>
                  <a:gd name="connsiteY2" fmla="*/ 0 h 432764"/>
                  <a:gd name="connsiteX3" fmla="*/ 396236 w 3194739"/>
                  <a:gd name="connsiteY3" fmla="*/ 0 h 432764"/>
                  <a:gd name="connsiteX4" fmla="*/ 333873 w 3194739"/>
                  <a:gd name="connsiteY4" fmla="*/ 16400 h 432764"/>
                  <a:gd name="connsiteX5" fmla="*/ 4687 w 3194739"/>
                  <a:gd name="connsiteY5" fmla="*/ 399857 h 432764"/>
                  <a:gd name="connsiteX6" fmla="*/ 1235 w 3194739"/>
                  <a:gd name="connsiteY6" fmla="*/ 416796 h 432764"/>
                  <a:gd name="connsiteX7" fmla="*/ 47737 w 3194739"/>
                  <a:gd name="connsiteY7" fmla="*/ 432764 h 432764"/>
                  <a:gd name="connsiteX8" fmla="*/ 3147003 w 3194739"/>
                  <a:gd name="connsiteY8" fmla="*/ 432764 h 432764"/>
                  <a:gd name="connsiteX9" fmla="*/ 3193505 w 3194739"/>
                  <a:gd name="connsiteY9" fmla="*/ 416796 h 432764"/>
                  <a:gd name="connsiteX10" fmla="*/ 3190053 w 3194739"/>
                  <a:gd name="connsiteY10" fmla="*/ 399857 h 432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194739" h="432764">
                    <a:moveTo>
                      <a:pt x="3190269" y="399857"/>
                    </a:moveTo>
                    <a:lnTo>
                      <a:pt x="2861083" y="16400"/>
                    </a:lnTo>
                    <a:cubicBezTo>
                      <a:pt x="2851912" y="5718"/>
                      <a:pt x="2822133" y="0"/>
                      <a:pt x="2798720" y="0"/>
                    </a:cubicBezTo>
                    <a:lnTo>
                      <a:pt x="396236" y="0"/>
                    </a:lnTo>
                    <a:cubicBezTo>
                      <a:pt x="372823" y="0"/>
                      <a:pt x="343044" y="5718"/>
                      <a:pt x="333873" y="16400"/>
                    </a:cubicBezTo>
                    <a:lnTo>
                      <a:pt x="4687" y="399857"/>
                    </a:lnTo>
                    <a:cubicBezTo>
                      <a:pt x="-1679" y="407301"/>
                      <a:pt x="-168" y="413667"/>
                      <a:pt x="1235" y="416796"/>
                    </a:cubicBezTo>
                    <a:cubicBezTo>
                      <a:pt x="5874" y="426938"/>
                      <a:pt x="22813" y="432764"/>
                      <a:pt x="47737" y="432764"/>
                    </a:cubicBezTo>
                    <a:lnTo>
                      <a:pt x="3147003" y="432764"/>
                    </a:lnTo>
                    <a:cubicBezTo>
                      <a:pt x="3171927" y="432764"/>
                      <a:pt x="3188866" y="426938"/>
                      <a:pt x="3193505" y="416796"/>
                    </a:cubicBezTo>
                    <a:cubicBezTo>
                      <a:pt x="3194908" y="413667"/>
                      <a:pt x="3196419" y="407301"/>
                      <a:pt x="3190053" y="399857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675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411854" y="5051034"/>
              <a:ext cx="2536704" cy="50170"/>
              <a:chOff x="1411854" y="5051034"/>
              <a:chExt cx="2536704" cy="50170"/>
            </a:xfrm>
            <a:solidFill>
              <a:srgbClr val="FFFFFF"/>
            </a:solidFill>
          </p:grpSpPr>
          <p:sp>
            <p:nvSpPr>
              <p:cNvPr id="1676" name="Полилиния: фигура 1675">
                <a:extLst>
                  <a:ext uri="{FF2B5EF4-FFF2-40B4-BE49-F238E27FC236}">
                    <a16:creationId xmlns:a16="http://schemas.microsoft.com/office/drawing/2014/main" id="{AB99A60A-DF49-4A5E-A6C3-95BFBE3F192D}"/>
                  </a:ext>
                </a:extLst>
              </p:cNvPr>
              <p:cNvSpPr/>
              <p:nvPr/>
            </p:nvSpPr>
            <p:spPr>
              <a:xfrm>
                <a:off x="2553916" y="5051034"/>
                <a:ext cx="147167" cy="50170"/>
              </a:xfrm>
              <a:custGeom>
                <a:avLst/>
                <a:gdLst>
                  <a:gd name="connsiteX0" fmla="*/ 146305 w 147167"/>
                  <a:gd name="connsiteY0" fmla="*/ 0 h 50170"/>
                  <a:gd name="connsiteX1" fmla="*/ 3992 w 147167"/>
                  <a:gd name="connsiteY1" fmla="*/ 0 h 50170"/>
                  <a:gd name="connsiteX2" fmla="*/ 0 w 147167"/>
                  <a:gd name="connsiteY2" fmla="*/ 50171 h 50170"/>
                  <a:gd name="connsiteX3" fmla="*/ 147168 w 147167"/>
                  <a:gd name="connsiteY3" fmla="*/ 50171 h 50170"/>
                  <a:gd name="connsiteX4" fmla="*/ 146305 w 147167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167" h="50170">
                    <a:moveTo>
                      <a:pt x="146305" y="0"/>
                    </a:moveTo>
                    <a:lnTo>
                      <a:pt x="3992" y="0"/>
                    </a:lnTo>
                    <a:lnTo>
                      <a:pt x="0" y="50171"/>
                    </a:lnTo>
                    <a:lnTo>
                      <a:pt x="147168" y="50171"/>
                    </a:lnTo>
                    <a:lnTo>
                      <a:pt x="14630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7" name="Полилиния: фигура 1676">
                <a:extLst>
                  <a:ext uri="{FF2B5EF4-FFF2-40B4-BE49-F238E27FC236}">
                    <a16:creationId xmlns:a16="http://schemas.microsoft.com/office/drawing/2014/main" id="{9A97C4A1-9B27-4A9A-AE7D-05465ABC5795}"/>
                  </a:ext>
                </a:extLst>
              </p:cNvPr>
              <p:cNvSpPr/>
              <p:nvPr/>
            </p:nvSpPr>
            <p:spPr>
              <a:xfrm>
                <a:off x="2198943" y="5051034"/>
                <a:ext cx="157957" cy="50170"/>
              </a:xfrm>
              <a:custGeom>
                <a:avLst/>
                <a:gdLst>
                  <a:gd name="connsiteX0" fmla="*/ 157957 w 157957"/>
                  <a:gd name="connsiteY0" fmla="*/ 0 h 50170"/>
                  <a:gd name="connsiteX1" fmla="*/ 15753 w 157957"/>
                  <a:gd name="connsiteY1" fmla="*/ 0 h 50170"/>
                  <a:gd name="connsiteX2" fmla="*/ 0 w 157957"/>
                  <a:gd name="connsiteY2" fmla="*/ 50171 h 50170"/>
                  <a:gd name="connsiteX3" fmla="*/ 147060 w 157957"/>
                  <a:gd name="connsiteY3" fmla="*/ 50171 h 50170"/>
                  <a:gd name="connsiteX4" fmla="*/ 157957 w 157957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957" h="50170">
                    <a:moveTo>
                      <a:pt x="157957" y="0"/>
                    </a:moveTo>
                    <a:lnTo>
                      <a:pt x="15753" y="0"/>
                    </a:lnTo>
                    <a:lnTo>
                      <a:pt x="0" y="50171"/>
                    </a:lnTo>
                    <a:lnTo>
                      <a:pt x="147060" y="50171"/>
                    </a:lnTo>
                    <a:lnTo>
                      <a:pt x="1579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8" name="Полилиния: фигура 1677">
                <a:extLst>
                  <a:ext uri="{FF2B5EF4-FFF2-40B4-BE49-F238E27FC236}">
                    <a16:creationId xmlns:a16="http://schemas.microsoft.com/office/drawing/2014/main" id="{256761B5-57AD-414D-8DD8-C5AF437AEEF1}"/>
                  </a:ext>
                </a:extLst>
              </p:cNvPr>
              <p:cNvSpPr/>
              <p:nvPr/>
            </p:nvSpPr>
            <p:spPr>
              <a:xfrm>
                <a:off x="2729568" y="5051034"/>
                <a:ext cx="149109" cy="50170"/>
              </a:xfrm>
              <a:custGeom>
                <a:avLst/>
                <a:gdLst>
                  <a:gd name="connsiteX0" fmla="*/ 142313 w 149109"/>
                  <a:gd name="connsiteY0" fmla="*/ 0 h 50170"/>
                  <a:gd name="connsiteX1" fmla="*/ 0 w 149109"/>
                  <a:gd name="connsiteY1" fmla="*/ 0 h 50170"/>
                  <a:gd name="connsiteX2" fmla="*/ 1942 w 149109"/>
                  <a:gd name="connsiteY2" fmla="*/ 50171 h 50170"/>
                  <a:gd name="connsiteX3" fmla="*/ 149110 w 149109"/>
                  <a:gd name="connsiteY3" fmla="*/ 50171 h 50170"/>
                  <a:gd name="connsiteX4" fmla="*/ 142313 w 149109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109" h="50170">
                    <a:moveTo>
                      <a:pt x="142313" y="0"/>
                    </a:moveTo>
                    <a:lnTo>
                      <a:pt x="0" y="0"/>
                    </a:lnTo>
                    <a:lnTo>
                      <a:pt x="1942" y="50171"/>
                    </a:lnTo>
                    <a:lnTo>
                      <a:pt x="149110" y="50171"/>
                    </a:lnTo>
                    <a:lnTo>
                      <a:pt x="14231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79" name="Полилиния: фигура 1678">
                <a:extLst>
                  <a:ext uri="{FF2B5EF4-FFF2-40B4-BE49-F238E27FC236}">
                    <a16:creationId xmlns:a16="http://schemas.microsoft.com/office/drawing/2014/main" id="{B743AD07-5B73-439F-BE6C-735E84BC15AD}"/>
                  </a:ext>
                </a:extLst>
              </p:cNvPr>
              <p:cNvSpPr/>
              <p:nvPr/>
            </p:nvSpPr>
            <p:spPr>
              <a:xfrm>
                <a:off x="1843863" y="5051034"/>
                <a:ext cx="169825" cy="50170"/>
              </a:xfrm>
              <a:custGeom>
                <a:avLst/>
                <a:gdLst>
                  <a:gd name="connsiteX0" fmla="*/ 169826 w 169825"/>
                  <a:gd name="connsiteY0" fmla="*/ 0 h 50170"/>
                  <a:gd name="connsiteX1" fmla="*/ 27513 w 169825"/>
                  <a:gd name="connsiteY1" fmla="*/ 0 h 50170"/>
                  <a:gd name="connsiteX2" fmla="*/ 0 w 169825"/>
                  <a:gd name="connsiteY2" fmla="*/ 50171 h 50170"/>
                  <a:gd name="connsiteX3" fmla="*/ 147168 w 169825"/>
                  <a:gd name="connsiteY3" fmla="*/ 50171 h 50170"/>
                  <a:gd name="connsiteX4" fmla="*/ 169826 w 169825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9825" h="50170">
                    <a:moveTo>
                      <a:pt x="169826" y="0"/>
                    </a:moveTo>
                    <a:lnTo>
                      <a:pt x="27513" y="0"/>
                    </a:lnTo>
                    <a:lnTo>
                      <a:pt x="0" y="50171"/>
                    </a:lnTo>
                    <a:lnTo>
                      <a:pt x="147168" y="50171"/>
                    </a:lnTo>
                    <a:lnTo>
                      <a:pt x="16982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0" name="Полилиния: фигура 1679">
                <a:extLst>
                  <a:ext uri="{FF2B5EF4-FFF2-40B4-BE49-F238E27FC236}">
                    <a16:creationId xmlns:a16="http://schemas.microsoft.com/office/drawing/2014/main" id="{A7E0F781-600E-46FD-BED4-690A397C299A}"/>
                  </a:ext>
                </a:extLst>
              </p:cNvPr>
              <p:cNvSpPr/>
              <p:nvPr/>
            </p:nvSpPr>
            <p:spPr>
              <a:xfrm>
                <a:off x="2021349" y="5051034"/>
                <a:ext cx="163999" cy="50170"/>
              </a:xfrm>
              <a:custGeom>
                <a:avLst/>
                <a:gdLst>
                  <a:gd name="connsiteX0" fmla="*/ 163999 w 163999"/>
                  <a:gd name="connsiteY0" fmla="*/ 0 h 50170"/>
                  <a:gd name="connsiteX1" fmla="*/ 21687 w 163999"/>
                  <a:gd name="connsiteY1" fmla="*/ 0 h 50170"/>
                  <a:gd name="connsiteX2" fmla="*/ 0 w 163999"/>
                  <a:gd name="connsiteY2" fmla="*/ 50171 h 50170"/>
                  <a:gd name="connsiteX3" fmla="*/ 147168 w 163999"/>
                  <a:gd name="connsiteY3" fmla="*/ 50171 h 50170"/>
                  <a:gd name="connsiteX4" fmla="*/ 163999 w 163999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9" h="50170">
                    <a:moveTo>
                      <a:pt x="163999" y="0"/>
                    </a:moveTo>
                    <a:lnTo>
                      <a:pt x="21687" y="0"/>
                    </a:lnTo>
                    <a:lnTo>
                      <a:pt x="0" y="50171"/>
                    </a:lnTo>
                    <a:lnTo>
                      <a:pt x="147168" y="50171"/>
                    </a:lnTo>
                    <a:lnTo>
                      <a:pt x="16399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1" name="Полилиния: фигура 1680">
                <a:extLst>
                  <a:ext uri="{FF2B5EF4-FFF2-40B4-BE49-F238E27FC236}">
                    <a16:creationId xmlns:a16="http://schemas.microsoft.com/office/drawing/2014/main" id="{4179FD46-25FE-4386-98E1-1A2285DB202D}"/>
                  </a:ext>
                </a:extLst>
              </p:cNvPr>
              <p:cNvSpPr/>
              <p:nvPr/>
            </p:nvSpPr>
            <p:spPr>
              <a:xfrm>
                <a:off x="1666269" y="5051034"/>
                <a:ext cx="175759" cy="50170"/>
              </a:xfrm>
              <a:custGeom>
                <a:avLst/>
                <a:gdLst>
                  <a:gd name="connsiteX0" fmla="*/ 0 w 175759"/>
                  <a:gd name="connsiteY0" fmla="*/ 50171 h 50170"/>
                  <a:gd name="connsiteX1" fmla="*/ 147168 w 175759"/>
                  <a:gd name="connsiteY1" fmla="*/ 50171 h 50170"/>
                  <a:gd name="connsiteX2" fmla="*/ 175760 w 175759"/>
                  <a:gd name="connsiteY2" fmla="*/ 0 h 50170"/>
                  <a:gd name="connsiteX3" fmla="*/ 33447 w 175759"/>
                  <a:gd name="connsiteY3" fmla="*/ 0 h 50170"/>
                  <a:gd name="connsiteX4" fmla="*/ 0 w 175759"/>
                  <a:gd name="connsiteY4" fmla="*/ 50171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759" h="50170">
                    <a:moveTo>
                      <a:pt x="0" y="50171"/>
                    </a:moveTo>
                    <a:lnTo>
                      <a:pt x="147168" y="50171"/>
                    </a:lnTo>
                    <a:lnTo>
                      <a:pt x="175760" y="0"/>
                    </a:lnTo>
                    <a:lnTo>
                      <a:pt x="33447" y="0"/>
                    </a:lnTo>
                    <a:lnTo>
                      <a:pt x="0" y="50171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2" name="Полилиния: фигура 1681">
                <a:extLst>
                  <a:ext uri="{FF2B5EF4-FFF2-40B4-BE49-F238E27FC236}">
                    <a16:creationId xmlns:a16="http://schemas.microsoft.com/office/drawing/2014/main" id="{5035084A-164A-4D22-A393-032B5B85E4B5}"/>
                  </a:ext>
                </a:extLst>
              </p:cNvPr>
              <p:cNvSpPr/>
              <p:nvPr/>
            </p:nvSpPr>
            <p:spPr>
              <a:xfrm>
                <a:off x="2376429" y="5051034"/>
                <a:ext cx="152131" cy="50170"/>
              </a:xfrm>
              <a:custGeom>
                <a:avLst/>
                <a:gdLst>
                  <a:gd name="connsiteX0" fmla="*/ 152131 w 152131"/>
                  <a:gd name="connsiteY0" fmla="*/ 0 h 50170"/>
                  <a:gd name="connsiteX1" fmla="*/ 9926 w 152131"/>
                  <a:gd name="connsiteY1" fmla="*/ 0 h 50170"/>
                  <a:gd name="connsiteX2" fmla="*/ 0 w 152131"/>
                  <a:gd name="connsiteY2" fmla="*/ 50171 h 50170"/>
                  <a:gd name="connsiteX3" fmla="*/ 147168 w 152131"/>
                  <a:gd name="connsiteY3" fmla="*/ 50171 h 50170"/>
                  <a:gd name="connsiteX4" fmla="*/ 152131 w 152131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31" h="50170">
                    <a:moveTo>
                      <a:pt x="152131" y="0"/>
                    </a:moveTo>
                    <a:lnTo>
                      <a:pt x="9926" y="0"/>
                    </a:lnTo>
                    <a:lnTo>
                      <a:pt x="0" y="50171"/>
                    </a:lnTo>
                    <a:lnTo>
                      <a:pt x="147168" y="50171"/>
                    </a:lnTo>
                    <a:lnTo>
                      <a:pt x="15213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3" name="Полилиния: фигура 1682">
                <a:extLst>
                  <a:ext uri="{FF2B5EF4-FFF2-40B4-BE49-F238E27FC236}">
                    <a16:creationId xmlns:a16="http://schemas.microsoft.com/office/drawing/2014/main" id="{4F6047E1-452D-4E05-BA32-043A4AD32855}"/>
                  </a:ext>
                </a:extLst>
              </p:cNvPr>
              <p:cNvSpPr/>
              <p:nvPr/>
            </p:nvSpPr>
            <p:spPr>
              <a:xfrm>
                <a:off x="2901228" y="5051034"/>
                <a:ext cx="154936" cy="50170"/>
              </a:xfrm>
              <a:custGeom>
                <a:avLst/>
                <a:gdLst>
                  <a:gd name="connsiteX0" fmla="*/ 142313 w 154936"/>
                  <a:gd name="connsiteY0" fmla="*/ 0 h 50170"/>
                  <a:gd name="connsiteX1" fmla="*/ 0 w 154936"/>
                  <a:gd name="connsiteY1" fmla="*/ 0 h 50170"/>
                  <a:gd name="connsiteX2" fmla="*/ 7768 w 154936"/>
                  <a:gd name="connsiteY2" fmla="*/ 50171 h 50170"/>
                  <a:gd name="connsiteX3" fmla="*/ 154936 w 154936"/>
                  <a:gd name="connsiteY3" fmla="*/ 50171 h 50170"/>
                  <a:gd name="connsiteX4" fmla="*/ 142313 w 154936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936" h="50170">
                    <a:moveTo>
                      <a:pt x="142313" y="0"/>
                    </a:moveTo>
                    <a:lnTo>
                      <a:pt x="0" y="0"/>
                    </a:lnTo>
                    <a:lnTo>
                      <a:pt x="7768" y="50171"/>
                    </a:lnTo>
                    <a:lnTo>
                      <a:pt x="154936" y="50171"/>
                    </a:lnTo>
                    <a:lnTo>
                      <a:pt x="14231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4" name="Полилиния: фигура 1683">
                <a:extLst>
                  <a:ext uri="{FF2B5EF4-FFF2-40B4-BE49-F238E27FC236}">
                    <a16:creationId xmlns:a16="http://schemas.microsoft.com/office/drawing/2014/main" id="{70484763-671C-4608-A81D-4838F83756E8}"/>
                  </a:ext>
                </a:extLst>
              </p:cNvPr>
              <p:cNvSpPr/>
              <p:nvPr/>
            </p:nvSpPr>
            <p:spPr>
              <a:xfrm>
                <a:off x="1411854" y="5051034"/>
                <a:ext cx="258514" cy="50170"/>
              </a:xfrm>
              <a:custGeom>
                <a:avLst/>
                <a:gdLst>
                  <a:gd name="connsiteX0" fmla="*/ 258515 w 258514"/>
                  <a:gd name="connsiteY0" fmla="*/ 0 h 50170"/>
                  <a:gd name="connsiteX1" fmla="*/ 41971 w 258514"/>
                  <a:gd name="connsiteY1" fmla="*/ 0 h 50170"/>
                  <a:gd name="connsiteX2" fmla="*/ 0 w 258514"/>
                  <a:gd name="connsiteY2" fmla="*/ 50171 h 50170"/>
                  <a:gd name="connsiteX3" fmla="*/ 224097 w 258514"/>
                  <a:gd name="connsiteY3" fmla="*/ 50171 h 50170"/>
                  <a:gd name="connsiteX4" fmla="*/ 258515 w 258514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8514" h="50170">
                    <a:moveTo>
                      <a:pt x="258515" y="0"/>
                    </a:moveTo>
                    <a:lnTo>
                      <a:pt x="41971" y="0"/>
                    </a:lnTo>
                    <a:lnTo>
                      <a:pt x="0" y="50171"/>
                    </a:lnTo>
                    <a:lnTo>
                      <a:pt x="224097" y="50171"/>
                    </a:lnTo>
                    <a:lnTo>
                      <a:pt x="25851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5" name="Полилиния: фигура 1684">
                <a:extLst>
                  <a:ext uri="{FF2B5EF4-FFF2-40B4-BE49-F238E27FC236}">
                    <a16:creationId xmlns:a16="http://schemas.microsoft.com/office/drawing/2014/main" id="{A3484973-13F8-41D2-BE92-2163BC33251C}"/>
                  </a:ext>
                </a:extLst>
              </p:cNvPr>
              <p:cNvSpPr/>
              <p:nvPr/>
            </p:nvSpPr>
            <p:spPr>
              <a:xfrm>
                <a:off x="3759420" y="5051034"/>
                <a:ext cx="189138" cy="50170"/>
              </a:xfrm>
              <a:custGeom>
                <a:avLst/>
                <a:gdLst>
                  <a:gd name="connsiteX0" fmla="*/ 0 w 189138"/>
                  <a:gd name="connsiteY0" fmla="*/ 0 h 50170"/>
                  <a:gd name="connsiteX1" fmla="*/ 37224 w 189138"/>
                  <a:gd name="connsiteY1" fmla="*/ 50171 h 50170"/>
                  <a:gd name="connsiteX2" fmla="*/ 189139 w 189138"/>
                  <a:gd name="connsiteY2" fmla="*/ 50171 h 50170"/>
                  <a:gd name="connsiteX3" fmla="*/ 146844 w 189138"/>
                  <a:gd name="connsiteY3" fmla="*/ 0 h 50170"/>
                  <a:gd name="connsiteX4" fmla="*/ 0 w 189138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138" h="50170">
                    <a:moveTo>
                      <a:pt x="0" y="0"/>
                    </a:moveTo>
                    <a:lnTo>
                      <a:pt x="37224" y="50171"/>
                    </a:lnTo>
                    <a:lnTo>
                      <a:pt x="189139" y="50171"/>
                    </a:lnTo>
                    <a:lnTo>
                      <a:pt x="14684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6" name="Полилиния: фигура 1685">
                <a:extLst>
                  <a:ext uri="{FF2B5EF4-FFF2-40B4-BE49-F238E27FC236}">
                    <a16:creationId xmlns:a16="http://schemas.microsoft.com/office/drawing/2014/main" id="{71871C80-4590-402E-B361-082AF7934AB4}"/>
                  </a:ext>
                </a:extLst>
              </p:cNvPr>
              <p:cNvSpPr/>
              <p:nvPr/>
            </p:nvSpPr>
            <p:spPr>
              <a:xfrm>
                <a:off x="3587760" y="5051034"/>
                <a:ext cx="178457" cy="50170"/>
              </a:xfrm>
              <a:custGeom>
                <a:avLst/>
                <a:gdLst>
                  <a:gd name="connsiteX0" fmla="*/ 142313 w 178457"/>
                  <a:gd name="connsiteY0" fmla="*/ 0 h 50170"/>
                  <a:gd name="connsiteX1" fmla="*/ 0 w 178457"/>
                  <a:gd name="connsiteY1" fmla="*/ 0 h 50170"/>
                  <a:gd name="connsiteX2" fmla="*/ 31397 w 178457"/>
                  <a:gd name="connsiteY2" fmla="*/ 50171 h 50170"/>
                  <a:gd name="connsiteX3" fmla="*/ 178457 w 178457"/>
                  <a:gd name="connsiteY3" fmla="*/ 50171 h 50170"/>
                  <a:gd name="connsiteX4" fmla="*/ 142313 w 178457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457" h="50170">
                    <a:moveTo>
                      <a:pt x="142313" y="0"/>
                    </a:moveTo>
                    <a:lnTo>
                      <a:pt x="0" y="0"/>
                    </a:lnTo>
                    <a:lnTo>
                      <a:pt x="31397" y="50171"/>
                    </a:lnTo>
                    <a:lnTo>
                      <a:pt x="178457" y="50171"/>
                    </a:lnTo>
                    <a:lnTo>
                      <a:pt x="14231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7" name="Полилиния: фигура 1686">
                <a:extLst>
                  <a:ext uri="{FF2B5EF4-FFF2-40B4-BE49-F238E27FC236}">
                    <a16:creationId xmlns:a16="http://schemas.microsoft.com/office/drawing/2014/main" id="{64D3DED8-8D50-4E9F-A7CC-E89DC317037B}"/>
                  </a:ext>
                </a:extLst>
              </p:cNvPr>
              <p:cNvSpPr/>
              <p:nvPr/>
            </p:nvSpPr>
            <p:spPr>
              <a:xfrm>
                <a:off x="3416100" y="5051034"/>
                <a:ext cx="172631" cy="50170"/>
              </a:xfrm>
              <a:custGeom>
                <a:avLst/>
                <a:gdLst>
                  <a:gd name="connsiteX0" fmla="*/ 142313 w 172631"/>
                  <a:gd name="connsiteY0" fmla="*/ 0 h 50170"/>
                  <a:gd name="connsiteX1" fmla="*/ 0 w 172631"/>
                  <a:gd name="connsiteY1" fmla="*/ 0 h 50170"/>
                  <a:gd name="connsiteX2" fmla="*/ 25463 w 172631"/>
                  <a:gd name="connsiteY2" fmla="*/ 50171 h 50170"/>
                  <a:gd name="connsiteX3" fmla="*/ 172631 w 172631"/>
                  <a:gd name="connsiteY3" fmla="*/ 50171 h 50170"/>
                  <a:gd name="connsiteX4" fmla="*/ 142313 w 172631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631" h="50170">
                    <a:moveTo>
                      <a:pt x="142313" y="0"/>
                    </a:moveTo>
                    <a:lnTo>
                      <a:pt x="0" y="0"/>
                    </a:lnTo>
                    <a:lnTo>
                      <a:pt x="25463" y="50171"/>
                    </a:lnTo>
                    <a:lnTo>
                      <a:pt x="172631" y="50171"/>
                    </a:lnTo>
                    <a:lnTo>
                      <a:pt x="14231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8" name="Полилиния: фигура 1687">
                <a:extLst>
                  <a:ext uri="{FF2B5EF4-FFF2-40B4-BE49-F238E27FC236}">
                    <a16:creationId xmlns:a16="http://schemas.microsoft.com/office/drawing/2014/main" id="{1D0382C6-88F8-4FFC-9934-A00E24E0C72A}"/>
                  </a:ext>
                </a:extLst>
              </p:cNvPr>
              <p:cNvSpPr/>
              <p:nvPr/>
            </p:nvSpPr>
            <p:spPr>
              <a:xfrm>
                <a:off x="3072888" y="5051034"/>
                <a:ext cx="160762" cy="50170"/>
              </a:xfrm>
              <a:custGeom>
                <a:avLst/>
                <a:gdLst>
                  <a:gd name="connsiteX0" fmla="*/ 142205 w 160762"/>
                  <a:gd name="connsiteY0" fmla="*/ 0 h 50170"/>
                  <a:gd name="connsiteX1" fmla="*/ 0 w 160762"/>
                  <a:gd name="connsiteY1" fmla="*/ 0 h 50170"/>
                  <a:gd name="connsiteX2" fmla="*/ 13595 w 160762"/>
                  <a:gd name="connsiteY2" fmla="*/ 50171 h 50170"/>
                  <a:gd name="connsiteX3" fmla="*/ 160763 w 160762"/>
                  <a:gd name="connsiteY3" fmla="*/ 50171 h 50170"/>
                  <a:gd name="connsiteX4" fmla="*/ 142205 w 160762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762" h="50170">
                    <a:moveTo>
                      <a:pt x="142205" y="0"/>
                    </a:moveTo>
                    <a:lnTo>
                      <a:pt x="0" y="0"/>
                    </a:lnTo>
                    <a:lnTo>
                      <a:pt x="13595" y="50171"/>
                    </a:lnTo>
                    <a:lnTo>
                      <a:pt x="160763" y="50171"/>
                    </a:lnTo>
                    <a:lnTo>
                      <a:pt x="14220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9" name="Полилиния: фигура 1688">
                <a:extLst>
                  <a:ext uri="{FF2B5EF4-FFF2-40B4-BE49-F238E27FC236}">
                    <a16:creationId xmlns:a16="http://schemas.microsoft.com/office/drawing/2014/main" id="{DD58455B-8398-4781-B749-B57FAA3F5CEA}"/>
                  </a:ext>
                </a:extLst>
              </p:cNvPr>
              <p:cNvSpPr/>
              <p:nvPr/>
            </p:nvSpPr>
            <p:spPr>
              <a:xfrm>
                <a:off x="3244548" y="5051034"/>
                <a:ext cx="166696" cy="50170"/>
              </a:xfrm>
              <a:custGeom>
                <a:avLst/>
                <a:gdLst>
                  <a:gd name="connsiteX0" fmla="*/ 142205 w 166696"/>
                  <a:gd name="connsiteY0" fmla="*/ 0 h 50170"/>
                  <a:gd name="connsiteX1" fmla="*/ 0 w 166696"/>
                  <a:gd name="connsiteY1" fmla="*/ 0 h 50170"/>
                  <a:gd name="connsiteX2" fmla="*/ 19529 w 166696"/>
                  <a:gd name="connsiteY2" fmla="*/ 50171 h 50170"/>
                  <a:gd name="connsiteX3" fmla="*/ 166697 w 166696"/>
                  <a:gd name="connsiteY3" fmla="*/ 50171 h 50170"/>
                  <a:gd name="connsiteX4" fmla="*/ 142205 w 166696"/>
                  <a:gd name="connsiteY4" fmla="*/ 0 h 50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696" h="50170">
                    <a:moveTo>
                      <a:pt x="142205" y="0"/>
                    </a:moveTo>
                    <a:lnTo>
                      <a:pt x="0" y="0"/>
                    </a:lnTo>
                    <a:lnTo>
                      <a:pt x="19529" y="50171"/>
                    </a:lnTo>
                    <a:lnTo>
                      <a:pt x="166697" y="50171"/>
                    </a:lnTo>
                    <a:lnTo>
                      <a:pt x="14220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690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362546" y="5106168"/>
              <a:ext cx="2635751" cy="54055"/>
              <a:chOff x="1362546" y="5106168"/>
              <a:chExt cx="2635751" cy="54055"/>
            </a:xfrm>
            <a:solidFill>
              <a:srgbClr val="FFFFFF"/>
            </a:solidFill>
          </p:grpSpPr>
          <p:sp>
            <p:nvSpPr>
              <p:cNvPr id="1691" name="Полилиния: фигура 1690">
                <a:extLst>
                  <a:ext uri="{FF2B5EF4-FFF2-40B4-BE49-F238E27FC236}">
                    <a16:creationId xmlns:a16="http://schemas.microsoft.com/office/drawing/2014/main" id="{CC89A0AE-6EB4-41B3-94E0-98574A879CC4}"/>
                  </a:ext>
                </a:extLst>
              </p:cNvPr>
              <p:cNvSpPr/>
              <p:nvPr/>
            </p:nvSpPr>
            <p:spPr>
              <a:xfrm>
                <a:off x="2086625" y="5106168"/>
                <a:ext cx="168207" cy="54055"/>
              </a:xfrm>
              <a:custGeom>
                <a:avLst/>
                <a:gdLst>
                  <a:gd name="connsiteX0" fmla="*/ 168207 w 168207"/>
                  <a:gd name="connsiteY0" fmla="*/ 0 h 54055"/>
                  <a:gd name="connsiteX1" fmla="*/ 20176 w 168207"/>
                  <a:gd name="connsiteY1" fmla="*/ 0 h 54055"/>
                  <a:gd name="connsiteX2" fmla="*/ 0 w 168207"/>
                  <a:gd name="connsiteY2" fmla="*/ 54055 h 54055"/>
                  <a:gd name="connsiteX3" fmla="*/ 153210 w 168207"/>
                  <a:gd name="connsiteY3" fmla="*/ 54055 h 54055"/>
                  <a:gd name="connsiteX4" fmla="*/ 168207 w 168207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207" h="54055">
                    <a:moveTo>
                      <a:pt x="168207" y="0"/>
                    </a:moveTo>
                    <a:lnTo>
                      <a:pt x="20176" y="0"/>
                    </a:lnTo>
                    <a:lnTo>
                      <a:pt x="0" y="54055"/>
                    </a:lnTo>
                    <a:lnTo>
                      <a:pt x="153210" y="54055"/>
                    </a:lnTo>
                    <a:lnTo>
                      <a:pt x="16820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2" name="Полилиния: фигура 1691">
                <a:extLst>
                  <a:ext uri="{FF2B5EF4-FFF2-40B4-BE49-F238E27FC236}">
                    <a16:creationId xmlns:a16="http://schemas.microsoft.com/office/drawing/2014/main" id="{1479F087-54FE-44D8-A1DC-D7339292635F}"/>
                  </a:ext>
                </a:extLst>
              </p:cNvPr>
              <p:cNvSpPr/>
              <p:nvPr/>
            </p:nvSpPr>
            <p:spPr>
              <a:xfrm>
                <a:off x="2271448" y="5106168"/>
                <a:ext cx="161733" cy="54055"/>
              </a:xfrm>
              <a:custGeom>
                <a:avLst/>
                <a:gdLst>
                  <a:gd name="connsiteX0" fmla="*/ 161734 w 161733"/>
                  <a:gd name="connsiteY0" fmla="*/ 0 h 54055"/>
                  <a:gd name="connsiteX1" fmla="*/ 13810 w 161733"/>
                  <a:gd name="connsiteY1" fmla="*/ 0 h 54055"/>
                  <a:gd name="connsiteX2" fmla="*/ 0 w 161733"/>
                  <a:gd name="connsiteY2" fmla="*/ 54055 h 54055"/>
                  <a:gd name="connsiteX3" fmla="*/ 153210 w 161733"/>
                  <a:gd name="connsiteY3" fmla="*/ 54055 h 54055"/>
                  <a:gd name="connsiteX4" fmla="*/ 161734 w 161733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733" h="54055">
                    <a:moveTo>
                      <a:pt x="161734" y="0"/>
                    </a:moveTo>
                    <a:lnTo>
                      <a:pt x="13810" y="0"/>
                    </a:lnTo>
                    <a:lnTo>
                      <a:pt x="0" y="54055"/>
                    </a:lnTo>
                    <a:lnTo>
                      <a:pt x="153210" y="54055"/>
                    </a:lnTo>
                    <a:lnTo>
                      <a:pt x="16173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3" name="Полилиния: фигура 1692">
                <a:extLst>
                  <a:ext uri="{FF2B5EF4-FFF2-40B4-BE49-F238E27FC236}">
                    <a16:creationId xmlns:a16="http://schemas.microsoft.com/office/drawing/2014/main" id="{F0FB15BB-6813-4A55-871E-4F7AF4327049}"/>
                  </a:ext>
                </a:extLst>
              </p:cNvPr>
              <p:cNvSpPr/>
              <p:nvPr/>
            </p:nvSpPr>
            <p:spPr>
              <a:xfrm>
                <a:off x="2456163" y="5106168"/>
                <a:ext cx="155475" cy="54055"/>
              </a:xfrm>
              <a:custGeom>
                <a:avLst/>
                <a:gdLst>
                  <a:gd name="connsiteX0" fmla="*/ 155476 w 155475"/>
                  <a:gd name="connsiteY0" fmla="*/ 0 h 54055"/>
                  <a:gd name="connsiteX1" fmla="*/ 7553 w 155475"/>
                  <a:gd name="connsiteY1" fmla="*/ 0 h 54055"/>
                  <a:gd name="connsiteX2" fmla="*/ 0 w 155475"/>
                  <a:gd name="connsiteY2" fmla="*/ 54055 h 54055"/>
                  <a:gd name="connsiteX3" fmla="*/ 153210 w 155475"/>
                  <a:gd name="connsiteY3" fmla="*/ 54055 h 54055"/>
                  <a:gd name="connsiteX4" fmla="*/ 155476 w 155475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475" h="54055">
                    <a:moveTo>
                      <a:pt x="155476" y="0"/>
                    </a:moveTo>
                    <a:lnTo>
                      <a:pt x="7553" y="0"/>
                    </a:lnTo>
                    <a:lnTo>
                      <a:pt x="0" y="54055"/>
                    </a:lnTo>
                    <a:lnTo>
                      <a:pt x="153210" y="54055"/>
                    </a:lnTo>
                    <a:lnTo>
                      <a:pt x="15547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4" name="Полилиния: фигура 1693">
                <a:extLst>
                  <a:ext uri="{FF2B5EF4-FFF2-40B4-BE49-F238E27FC236}">
                    <a16:creationId xmlns:a16="http://schemas.microsoft.com/office/drawing/2014/main" id="{D751A480-FEA9-4411-845C-BCC89566F4B9}"/>
                  </a:ext>
                </a:extLst>
              </p:cNvPr>
              <p:cNvSpPr/>
              <p:nvPr/>
            </p:nvSpPr>
            <p:spPr>
              <a:xfrm>
                <a:off x="1716979" y="5106168"/>
                <a:ext cx="180938" cy="54055"/>
              </a:xfrm>
              <a:custGeom>
                <a:avLst/>
                <a:gdLst>
                  <a:gd name="connsiteX0" fmla="*/ 180939 w 180938"/>
                  <a:gd name="connsiteY0" fmla="*/ 0 h 54055"/>
                  <a:gd name="connsiteX1" fmla="*/ 33016 w 180938"/>
                  <a:gd name="connsiteY1" fmla="*/ 0 h 54055"/>
                  <a:gd name="connsiteX2" fmla="*/ 0 w 180938"/>
                  <a:gd name="connsiteY2" fmla="*/ 54055 h 54055"/>
                  <a:gd name="connsiteX3" fmla="*/ 153318 w 180938"/>
                  <a:gd name="connsiteY3" fmla="*/ 54055 h 54055"/>
                  <a:gd name="connsiteX4" fmla="*/ 180939 w 180938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38" h="54055">
                    <a:moveTo>
                      <a:pt x="180939" y="0"/>
                    </a:moveTo>
                    <a:lnTo>
                      <a:pt x="33016" y="0"/>
                    </a:lnTo>
                    <a:lnTo>
                      <a:pt x="0" y="54055"/>
                    </a:lnTo>
                    <a:lnTo>
                      <a:pt x="153318" y="54055"/>
                    </a:lnTo>
                    <a:lnTo>
                      <a:pt x="18093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5" name="Полилиния: фигура 1694">
                <a:extLst>
                  <a:ext uri="{FF2B5EF4-FFF2-40B4-BE49-F238E27FC236}">
                    <a16:creationId xmlns:a16="http://schemas.microsoft.com/office/drawing/2014/main" id="{7BC95328-465F-41EA-831F-B81C84CF5E24}"/>
                  </a:ext>
                </a:extLst>
              </p:cNvPr>
              <p:cNvSpPr/>
              <p:nvPr/>
            </p:nvSpPr>
            <p:spPr>
              <a:xfrm>
                <a:off x="1532264" y="5106168"/>
                <a:ext cx="187304" cy="54055"/>
              </a:xfrm>
              <a:custGeom>
                <a:avLst/>
                <a:gdLst>
                  <a:gd name="connsiteX0" fmla="*/ 0 w 187304"/>
                  <a:gd name="connsiteY0" fmla="*/ 54055 h 54055"/>
                  <a:gd name="connsiteX1" fmla="*/ 153210 w 187304"/>
                  <a:gd name="connsiteY1" fmla="*/ 54055 h 54055"/>
                  <a:gd name="connsiteX2" fmla="*/ 187305 w 187304"/>
                  <a:gd name="connsiteY2" fmla="*/ 0 h 54055"/>
                  <a:gd name="connsiteX3" fmla="*/ 39274 w 187304"/>
                  <a:gd name="connsiteY3" fmla="*/ 0 h 54055"/>
                  <a:gd name="connsiteX4" fmla="*/ 0 w 187304"/>
                  <a:gd name="connsiteY4" fmla="*/ 54055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" h="54055">
                    <a:moveTo>
                      <a:pt x="0" y="54055"/>
                    </a:moveTo>
                    <a:lnTo>
                      <a:pt x="153210" y="54055"/>
                    </a:lnTo>
                    <a:lnTo>
                      <a:pt x="187305" y="0"/>
                    </a:lnTo>
                    <a:lnTo>
                      <a:pt x="39274" y="0"/>
                    </a:lnTo>
                    <a:lnTo>
                      <a:pt x="0" y="54055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6" name="Полилиния: фигура 1695">
                <a:extLst>
                  <a:ext uri="{FF2B5EF4-FFF2-40B4-BE49-F238E27FC236}">
                    <a16:creationId xmlns:a16="http://schemas.microsoft.com/office/drawing/2014/main" id="{41F9A701-47D3-41BE-95F8-16905DB1DBB3}"/>
                  </a:ext>
                </a:extLst>
              </p:cNvPr>
              <p:cNvSpPr/>
              <p:nvPr/>
            </p:nvSpPr>
            <p:spPr>
              <a:xfrm>
                <a:off x="2640986" y="5106168"/>
                <a:ext cx="153209" cy="54055"/>
              </a:xfrm>
              <a:custGeom>
                <a:avLst/>
                <a:gdLst>
                  <a:gd name="connsiteX0" fmla="*/ 149110 w 153209"/>
                  <a:gd name="connsiteY0" fmla="*/ 0 h 54055"/>
                  <a:gd name="connsiteX1" fmla="*/ 1187 w 153209"/>
                  <a:gd name="connsiteY1" fmla="*/ 0 h 54055"/>
                  <a:gd name="connsiteX2" fmla="*/ 0 w 153209"/>
                  <a:gd name="connsiteY2" fmla="*/ 54055 h 54055"/>
                  <a:gd name="connsiteX3" fmla="*/ 153210 w 153209"/>
                  <a:gd name="connsiteY3" fmla="*/ 54055 h 54055"/>
                  <a:gd name="connsiteX4" fmla="*/ 149110 w 153209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209" h="54055">
                    <a:moveTo>
                      <a:pt x="149110" y="0"/>
                    </a:moveTo>
                    <a:lnTo>
                      <a:pt x="1187" y="0"/>
                    </a:lnTo>
                    <a:lnTo>
                      <a:pt x="0" y="54055"/>
                    </a:lnTo>
                    <a:lnTo>
                      <a:pt x="153210" y="54055"/>
                    </a:lnTo>
                    <a:lnTo>
                      <a:pt x="14911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7" name="Полилиния: фигура 1696">
                <a:extLst>
                  <a:ext uri="{FF2B5EF4-FFF2-40B4-BE49-F238E27FC236}">
                    <a16:creationId xmlns:a16="http://schemas.microsoft.com/office/drawing/2014/main" id="{075F2DAD-039E-4EE0-A39C-1A2268A8D3C9}"/>
                  </a:ext>
                </a:extLst>
              </p:cNvPr>
              <p:cNvSpPr/>
              <p:nvPr/>
            </p:nvSpPr>
            <p:spPr>
              <a:xfrm>
                <a:off x="1901802" y="5106168"/>
                <a:ext cx="174573" cy="54055"/>
              </a:xfrm>
              <a:custGeom>
                <a:avLst/>
                <a:gdLst>
                  <a:gd name="connsiteX0" fmla="*/ 174573 w 174573"/>
                  <a:gd name="connsiteY0" fmla="*/ 0 h 54055"/>
                  <a:gd name="connsiteX1" fmla="*/ 26650 w 174573"/>
                  <a:gd name="connsiteY1" fmla="*/ 0 h 54055"/>
                  <a:gd name="connsiteX2" fmla="*/ 0 w 174573"/>
                  <a:gd name="connsiteY2" fmla="*/ 54055 h 54055"/>
                  <a:gd name="connsiteX3" fmla="*/ 153210 w 174573"/>
                  <a:gd name="connsiteY3" fmla="*/ 54055 h 54055"/>
                  <a:gd name="connsiteX4" fmla="*/ 174573 w 174573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573" h="54055">
                    <a:moveTo>
                      <a:pt x="174573" y="0"/>
                    </a:moveTo>
                    <a:lnTo>
                      <a:pt x="26650" y="0"/>
                    </a:lnTo>
                    <a:lnTo>
                      <a:pt x="0" y="54055"/>
                    </a:lnTo>
                    <a:lnTo>
                      <a:pt x="153210" y="54055"/>
                    </a:lnTo>
                    <a:lnTo>
                      <a:pt x="1745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8" name="Полилиния: фигура 1697">
                <a:extLst>
                  <a:ext uri="{FF2B5EF4-FFF2-40B4-BE49-F238E27FC236}">
                    <a16:creationId xmlns:a16="http://schemas.microsoft.com/office/drawing/2014/main" id="{C0893432-8B4D-4EED-850E-BDF3D642E0E1}"/>
                  </a:ext>
                </a:extLst>
              </p:cNvPr>
              <p:cNvSpPr/>
              <p:nvPr/>
            </p:nvSpPr>
            <p:spPr>
              <a:xfrm>
                <a:off x="3534244" y="5106168"/>
                <a:ext cx="183959" cy="54055"/>
              </a:xfrm>
              <a:custGeom>
                <a:avLst/>
                <a:gdLst>
                  <a:gd name="connsiteX0" fmla="*/ 147923 w 183959"/>
                  <a:gd name="connsiteY0" fmla="*/ 0 h 54055"/>
                  <a:gd name="connsiteX1" fmla="*/ 0 w 183959"/>
                  <a:gd name="connsiteY1" fmla="*/ 0 h 54055"/>
                  <a:gd name="connsiteX2" fmla="*/ 30642 w 183959"/>
                  <a:gd name="connsiteY2" fmla="*/ 54055 h 54055"/>
                  <a:gd name="connsiteX3" fmla="*/ 183960 w 183959"/>
                  <a:gd name="connsiteY3" fmla="*/ 54055 h 54055"/>
                  <a:gd name="connsiteX4" fmla="*/ 147923 w 183959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3959" h="54055">
                    <a:moveTo>
                      <a:pt x="147923" y="0"/>
                    </a:moveTo>
                    <a:lnTo>
                      <a:pt x="0" y="0"/>
                    </a:lnTo>
                    <a:lnTo>
                      <a:pt x="30642" y="54055"/>
                    </a:lnTo>
                    <a:lnTo>
                      <a:pt x="183960" y="54055"/>
                    </a:lnTo>
                    <a:lnTo>
                      <a:pt x="14792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9" name="Полилиния: фигура 1698">
                <a:extLst>
                  <a:ext uri="{FF2B5EF4-FFF2-40B4-BE49-F238E27FC236}">
                    <a16:creationId xmlns:a16="http://schemas.microsoft.com/office/drawing/2014/main" id="{40016FA6-C93C-4589-87D7-0D7B6AC29814}"/>
                  </a:ext>
                </a:extLst>
              </p:cNvPr>
              <p:cNvSpPr/>
              <p:nvPr/>
            </p:nvSpPr>
            <p:spPr>
              <a:xfrm>
                <a:off x="1362546" y="5106168"/>
                <a:ext cx="178565" cy="54055"/>
              </a:xfrm>
              <a:custGeom>
                <a:avLst/>
                <a:gdLst>
                  <a:gd name="connsiteX0" fmla="*/ 178565 w 178565"/>
                  <a:gd name="connsiteY0" fmla="*/ 0 h 54055"/>
                  <a:gd name="connsiteX1" fmla="*/ 45208 w 178565"/>
                  <a:gd name="connsiteY1" fmla="*/ 0 h 54055"/>
                  <a:gd name="connsiteX2" fmla="*/ 0 w 178565"/>
                  <a:gd name="connsiteY2" fmla="*/ 54055 h 54055"/>
                  <a:gd name="connsiteX3" fmla="*/ 138105 w 178565"/>
                  <a:gd name="connsiteY3" fmla="*/ 54055 h 54055"/>
                  <a:gd name="connsiteX4" fmla="*/ 178565 w 178565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8565" h="54055">
                    <a:moveTo>
                      <a:pt x="178565" y="0"/>
                    </a:moveTo>
                    <a:lnTo>
                      <a:pt x="45208" y="0"/>
                    </a:lnTo>
                    <a:lnTo>
                      <a:pt x="0" y="54055"/>
                    </a:lnTo>
                    <a:lnTo>
                      <a:pt x="138105" y="54055"/>
                    </a:lnTo>
                    <a:lnTo>
                      <a:pt x="17856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0" name="Полилиния: фигура 1699">
                <a:extLst>
                  <a:ext uri="{FF2B5EF4-FFF2-40B4-BE49-F238E27FC236}">
                    <a16:creationId xmlns:a16="http://schemas.microsoft.com/office/drawing/2014/main" id="{CDEEEACE-88ED-4CB9-92F2-5184DE5DA48D}"/>
                  </a:ext>
                </a:extLst>
              </p:cNvPr>
              <p:cNvSpPr/>
              <p:nvPr/>
            </p:nvSpPr>
            <p:spPr>
              <a:xfrm>
                <a:off x="3712701" y="5106168"/>
                <a:ext cx="285596" cy="54055"/>
              </a:xfrm>
              <a:custGeom>
                <a:avLst/>
                <a:gdLst>
                  <a:gd name="connsiteX0" fmla="*/ 0 w 285596"/>
                  <a:gd name="connsiteY0" fmla="*/ 0 h 54055"/>
                  <a:gd name="connsiteX1" fmla="*/ 37008 w 285596"/>
                  <a:gd name="connsiteY1" fmla="*/ 54055 h 54055"/>
                  <a:gd name="connsiteX2" fmla="*/ 285596 w 285596"/>
                  <a:gd name="connsiteY2" fmla="*/ 54055 h 54055"/>
                  <a:gd name="connsiteX3" fmla="*/ 240065 w 285596"/>
                  <a:gd name="connsiteY3" fmla="*/ 0 h 54055"/>
                  <a:gd name="connsiteX4" fmla="*/ 0 w 285596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596" h="54055">
                    <a:moveTo>
                      <a:pt x="0" y="0"/>
                    </a:moveTo>
                    <a:lnTo>
                      <a:pt x="37008" y="54055"/>
                    </a:lnTo>
                    <a:lnTo>
                      <a:pt x="285596" y="54055"/>
                    </a:lnTo>
                    <a:lnTo>
                      <a:pt x="24006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1" name="Полилиния: фигура 1700">
                <a:extLst>
                  <a:ext uri="{FF2B5EF4-FFF2-40B4-BE49-F238E27FC236}">
                    <a16:creationId xmlns:a16="http://schemas.microsoft.com/office/drawing/2014/main" id="{864E54B4-B9ED-4EBE-9EC4-2DB14E8ACE5F}"/>
                  </a:ext>
                </a:extLst>
              </p:cNvPr>
              <p:cNvSpPr/>
              <p:nvPr/>
            </p:nvSpPr>
            <p:spPr>
              <a:xfrm>
                <a:off x="3355895" y="5106168"/>
                <a:ext cx="177486" cy="54055"/>
              </a:xfrm>
              <a:custGeom>
                <a:avLst/>
                <a:gdLst>
                  <a:gd name="connsiteX0" fmla="*/ 147923 w 177486"/>
                  <a:gd name="connsiteY0" fmla="*/ 0 h 54055"/>
                  <a:gd name="connsiteX1" fmla="*/ 0 w 177486"/>
                  <a:gd name="connsiteY1" fmla="*/ 0 h 54055"/>
                  <a:gd name="connsiteX2" fmla="*/ 24276 w 177486"/>
                  <a:gd name="connsiteY2" fmla="*/ 54055 h 54055"/>
                  <a:gd name="connsiteX3" fmla="*/ 177486 w 177486"/>
                  <a:gd name="connsiteY3" fmla="*/ 54055 h 54055"/>
                  <a:gd name="connsiteX4" fmla="*/ 147923 w 177486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486" h="54055">
                    <a:moveTo>
                      <a:pt x="147923" y="0"/>
                    </a:moveTo>
                    <a:lnTo>
                      <a:pt x="0" y="0"/>
                    </a:lnTo>
                    <a:lnTo>
                      <a:pt x="24276" y="54055"/>
                    </a:lnTo>
                    <a:lnTo>
                      <a:pt x="177486" y="54055"/>
                    </a:lnTo>
                    <a:lnTo>
                      <a:pt x="14792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2" name="Полилиния: фигура 1701">
                <a:extLst>
                  <a:ext uri="{FF2B5EF4-FFF2-40B4-BE49-F238E27FC236}">
                    <a16:creationId xmlns:a16="http://schemas.microsoft.com/office/drawing/2014/main" id="{181DF32F-2049-47E7-A245-845F9AA6E941}"/>
                  </a:ext>
                </a:extLst>
              </p:cNvPr>
              <p:cNvSpPr/>
              <p:nvPr/>
            </p:nvSpPr>
            <p:spPr>
              <a:xfrm>
                <a:off x="2820523" y="5106168"/>
                <a:ext cx="158496" cy="54055"/>
              </a:xfrm>
              <a:custGeom>
                <a:avLst/>
                <a:gdLst>
                  <a:gd name="connsiteX0" fmla="*/ 148031 w 158496"/>
                  <a:gd name="connsiteY0" fmla="*/ 0 h 54055"/>
                  <a:gd name="connsiteX1" fmla="*/ 0 w 158496"/>
                  <a:gd name="connsiteY1" fmla="*/ 0 h 54055"/>
                  <a:gd name="connsiteX2" fmla="*/ 5287 w 158496"/>
                  <a:gd name="connsiteY2" fmla="*/ 54055 h 54055"/>
                  <a:gd name="connsiteX3" fmla="*/ 158497 w 158496"/>
                  <a:gd name="connsiteY3" fmla="*/ 54055 h 54055"/>
                  <a:gd name="connsiteX4" fmla="*/ 148031 w 158496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496" h="54055">
                    <a:moveTo>
                      <a:pt x="148031" y="0"/>
                    </a:moveTo>
                    <a:lnTo>
                      <a:pt x="0" y="0"/>
                    </a:lnTo>
                    <a:lnTo>
                      <a:pt x="5287" y="54055"/>
                    </a:lnTo>
                    <a:lnTo>
                      <a:pt x="158497" y="54055"/>
                    </a:lnTo>
                    <a:lnTo>
                      <a:pt x="14803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3" name="Полилиния: фигура 1702">
                <a:extLst>
                  <a:ext uri="{FF2B5EF4-FFF2-40B4-BE49-F238E27FC236}">
                    <a16:creationId xmlns:a16="http://schemas.microsoft.com/office/drawing/2014/main" id="{FAED6B3E-9F2C-4B1F-BC06-650F236F6217}"/>
                  </a:ext>
                </a:extLst>
              </p:cNvPr>
              <p:cNvSpPr/>
              <p:nvPr/>
            </p:nvSpPr>
            <p:spPr>
              <a:xfrm>
                <a:off x="2998980" y="5106168"/>
                <a:ext cx="164754" cy="54055"/>
              </a:xfrm>
              <a:custGeom>
                <a:avLst/>
                <a:gdLst>
                  <a:gd name="connsiteX0" fmla="*/ 147923 w 164754"/>
                  <a:gd name="connsiteY0" fmla="*/ 0 h 54055"/>
                  <a:gd name="connsiteX1" fmla="*/ 0 w 164754"/>
                  <a:gd name="connsiteY1" fmla="*/ 0 h 54055"/>
                  <a:gd name="connsiteX2" fmla="*/ 11545 w 164754"/>
                  <a:gd name="connsiteY2" fmla="*/ 54055 h 54055"/>
                  <a:gd name="connsiteX3" fmla="*/ 164755 w 164754"/>
                  <a:gd name="connsiteY3" fmla="*/ 54055 h 54055"/>
                  <a:gd name="connsiteX4" fmla="*/ 147923 w 164754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754" h="54055">
                    <a:moveTo>
                      <a:pt x="147923" y="0"/>
                    </a:moveTo>
                    <a:lnTo>
                      <a:pt x="0" y="0"/>
                    </a:lnTo>
                    <a:lnTo>
                      <a:pt x="11545" y="54055"/>
                    </a:lnTo>
                    <a:lnTo>
                      <a:pt x="164755" y="54055"/>
                    </a:lnTo>
                    <a:lnTo>
                      <a:pt x="14792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4" name="Полилиния: фигура 1703">
                <a:extLst>
                  <a:ext uri="{FF2B5EF4-FFF2-40B4-BE49-F238E27FC236}">
                    <a16:creationId xmlns:a16="http://schemas.microsoft.com/office/drawing/2014/main" id="{7A9DF64E-E56C-477E-A5CA-05DD9970733D}"/>
                  </a:ext>
                </a:extLst>
              </p:cNvPr>
              <p:cNvSpPr/>
              <p:nvPr/>
            </p:nvSpPr>
            <p:spPr>
              <a:xfrm>
                <a:off x="3177437" y="5106168"/>
                <a:ext cx="171120" cy="54055"/>
              </a:xfrm>
              <a:custGeom>
                <a:avLst/>
                <a:gdLst>
                  <a:gd name="connsiteX0" fmla="*/ 147923 w 171120"/>
                  <a:gd name="connsiteY0" fmla="*/ 0 h 54055"/>
                  <a:gd name="connsiteX1" fmla="*/ 0 w 171120"/>
                  <a:gd name="connsiteY1" fmla="*/ 0 h 54055"/>
                  <a:gd name="connsiteX2" fmla="*/ 17911 w 171120"/>
                  <a:gd name="connsiteY2" fmla="*/ 54055 h 54055"/>
                  <a:gd name="connsiteX3" fmla="*/ 171121 w 171120"/>
                  <a:gd name="connsiteY3" fmla="*/ 54055 h 54055"/>
                  <a:gd name="connsiteX4" fmla="*/ 147923 w 171120"/>
                  <a:gd name="connsiteY4" fmla="*/ 0 h 5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120" h="54055">
                    <a:moveTo>
                      <a:pt x="147923" y="0"/>
                    </a:moveTo>
                    <a:lnTo>
                      <a:pt x="0" y="0"/>
                    </a:lnTo>
                    <a:lnTo>
                      <a:pt x="17911" y="54055"/>
                    </a:lnTo>
                    <a:lnTo>
                      <a:pt x="171121" y="54055"/>
                    </a:lnTo>
                    <a:lnTo>
                      <a:pt x="14792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05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119568" y="5375472"/>
              <a:ext cx="3123865" cy="75526"/>
              <a:chOff x="1119568" y="5375472"/>
              <a:chExt cx="3123865" cy="75526"/>
            </a:xfrm>
            <a:solidFill>
              <a:srgbClr val="FFFFFF"/>
            </a:solidFill>
          </p:grpSpPr>
          <p:sp>
            <p:nvSpPr>
              <p:cNvPr id="1706" name="Полилиния: фигура 1705">
                <a:extLst>
                  <a:ext uri="{FF2B5EF4-FFF2-40B4-BE49-F238E27FC236}">
                    <a16:creationId xmlns:a16="http://schemas.microsoft.com/office/drawing/2014/main" id="{51BB41E1-DD05-4290-B938-DB493EC3D270}"/>
                  </a:ext>
                </a:extLst>
              </p:cNvPr>
              <p:cNvSpPr/>
              <p:nvPr/>
            </p:nvSpPr>
            <p:spPr>
              <a:xfrm>
                <a:off x="2039368" y="5375472"/>
                <a:ext cx="1057904" cy="75526"/>
              </a:xfrm>
              <a:custGeom>
                <a:avLst/>
                <a:gdLst>
                  <a:gd name="connsiteX0" fmla="*/ 1040749 w 1057904"/>
                  <a:gd name="connsiteY0" fmla="*/ 0 h 75526"/>
                  <a:gd name="connsiteX1" fmla="*/ 25787 w 1057904"/>
                  <a:gd name="connsiteY1" fmla="*/ 0 h 75526"/>
                  <a:gd name="connsiteX2" fmla="*/ 0 w 1057904"/>
                  <a:gd name="connsiteY2" fmla="*/ 75526 h 75526"/>
                  <a:gd name="connsiteX3" fmla="*/ 1057904 w 1057904"/>
                  <a:gd name="connsiteY3" fmla="*/ 75526 h 75526"/>
                  <a:gd name="connsiteX4" fmla="*/ 1040749 w 1057904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7904" h="75526">
                    <a:moveTo>
                      <a:pt x="1040749" y="0"/>
                    </a:moveTo>
                    <a:lnTo>
                      <a:pt x="25787" y="0"/>
                    </a:lnTo>
                    <a:lnTo>
                      <a:pt x="0" y="75526"/>
                    </a:lnTo>
                    <a:lnTo>
                      <a:pt x="1057904" y="75526"/>
                    </a:lnTo>
                    <a:lnTo>
                      <a:pt x="10407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7" name="Полилиния: фигура 1706">
                <a:extLst>
                  <a:ext uri="{FF2B5EF4-FFF2-40B4-BE49-F238E27FC236}">
                    <a16:creationId xmlns:a16="http://schemas.microsoft.com/office/drawing/2014/main" id="{616489D3-1EBA-49D5-B72B-628D43A10FAF}"/>
                  </a:ext>
                </a:extLst>
              </p:cNvPr>
              <p:cNvSpPr/>
              <p:nvPr/>
            </p:nvSpPr>
            <p:spPr>
              <a:xfrm>
                <a:off x="1765855" y="5375472"/>
                <a:ext cx="263370" cy="75526"/>
              </a:xfrm>
              <a:custGeom>
                <a:avLst/>
                <a:gdLst>
                  <a:gd name="connsiteX0" fmla="*/ 263370 w 263370"/>
                  <a:gd name="connsiteY0" fmla="*/ 0 h 75526"/>
                  <a:gd name="connsiteX1" fmla="*/ 36900 w 263370"/>
                  <a:gd name="connsiteY1" fmla="*/ 0 h 75526"/>
                  <a:gd name="connsiteX2" fmla="*/ 0 w 263370"/>
                  <a:gd name="connsiteY2" fmla="*/ 75526 h 75526"/>
                  <a:gd name="connsiteX3" fmla="*/ 236073 w 263370"/>
                  <a:gd name="connsiteY3" fmla="*/ 75526 h 75526"/>
                  <a:gd name="connsiteX4" fmla="*/ 263370 w 263370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3370" h="75526">
                    <a:moveTo>
                      <a:pt x="263370" y="0"/>
                    </a:moveTo>
                    <a:lnTo>
                      <a:pt x="36900" y="0"/>
                    </a:lnTo>
                    <a:lnTo>
                      <a:pt x="0" y="75526"/>
                    </a:lnTo>
                    <a:lnTo>
                      <a:pt x="236073" y="75526"/>
                    </a:lnTo>
                    <a:lnTo>
                      <a:pt x="26337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8" name="Полилиния: фигура 1707">
                <a:extLst>
                  <a:ext uri="{FF2B5EF4-FFF2-40B4-BE49-F238E27FC236}">
                    <a16:creationId xmlns:a16="http://schemas.microsoft.com/office/drawing/2014/main" id="{4D4E0F80-A0C5-4255-8610-388C59011560}"/>
                  </a:ext>
                </a:extLst>
              </p:cNvPr>
              <p:cNvSpPr/>
              <p:nvPr/>
            </p:nvSpPr>
            <p:spPr>
              <a:xfrm>
                <a:off x="3116045" y="5375472"/>
                <a:ext cx="212552" cy="75526"/>
              </a:xfrm>
              <a:custGeom>
                <a:avLst/>
                <a:gdLst>
                  <a:gd name="connsiteX0" fmla="*/ 186010 w 212552"/>
                  <a:gd name="connsiteY0" fmla="*/ 0 h 75526"/>
                  <a:gd name="connsiteX1" fmla="*/ 0 w 212552"/>
                  <a:gd name="connsiteY1" fmla="*/ 0 h 75526"/>
                  <a:gd name="connsiteX2" fmla="*/ 18666 w 212552"/>
                  <a:gd name="connsiteY2" fmla="*/ 75526 h 75526"/>
                  <a:gd name="connsiteX3" fmla="*/ 212552 w 212552"/>
                  <a:gd name="connsiteY3" fmla="*/ 75526 h 75526"/>
                  <a:gd name="connsiteX4" fmla="*/ 186010 w 212552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552" h="75526">
                    <a:moveTo>
                      <a:pt x="186010" y="0"/>
                    </a:moveTo>
                    <a:lnTo>
                      <a:pt x="0" y="0"/>
                    </a:lnTo>
                    <a:lnTo>
                      <a:pt x="18666" y="75526"/>
                    </a:lnTo>
                    <a:lnTo>
                      <a:pt x="212552" y="75526"/>
                    </a:lnTo>
                    <a:lnTo>
                      <a:pt x="18601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9" name="Полилиния: фигура 1708">
                <a:extLst>
                  <a:ext uri="{FF2B5EF4-FFF2-40B4-BE49-F238E27FC236}">
                    <a16:creationId xmlns:a16="http://schemas.microsoft.com/office/drawing/2014/main" id="{89809F1D-E16B-4267-A79D-5425B33840FE}"/>
                  </a:ext>
                </a:extLst>
              </p:cNvPr>
              <p:cNvSpPr/>
              <p:nvPr/>
            </p:nvSpPr>
            <p:spPr>
              <a:xfrm>
                <a:off x="1335357" y="5375472"/>
                <a:ext cx="230570" cy="75526"/>
              </a:xfrm>
              <a:custGeom>
                <a:avLst/>
                <a:gdLst>
                  <a:gd name="connsiteX0" fmla="*/ 0 w 230570"/>
                  <a:gd name="connsiteY0" fmla="*/ 75526 h 75526"/>
                  <a:gd name="connsiteX1" fmla="*/ 183636 w 230570"/>
                  <a:gd name="connsiteY1" fmla="*/ 75526 h 75526"/>
                  <a:gd name="connsiteX2" fmla="*/ 230570 w 230570"/>
                  <a:gd name="connsiteY2" fmla="*/ 0 h 75526"/>
                  <a:gd name="connsiteX3" fmla="*/ 54271 w 230570"/>
                  <a:gd name="connsiteY3" fmla="*/ 0 h 75526"/>
                  <a:gd name="connsiteX4" fmla="*/ 0 w 230570"/>
                  <a:gd name="connsiteY4" fmla="*/ 75526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570" h="75526">
                    <a:moveTo>
                      <a:pt x="0" y="75526"/>
                    </a:moveTo>
                    <a:lnTo>
                      <a:pt x="183636" y="75526"/>
                    </a:lnTo>
                    <a:lnTo>
                      <a:pt x="230570" y="0"/>
                    </a:lnTo>
                    <a:lnTo>
                      <a:pt x="54271" y="0"/>
                    </a:lnTo>
                    <a:lnTo>
                      <a:pt x="0" y="75526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0" name="Полилиния: фигура 1709">
                <a:extLst>
                  <a:ext uri="{FF2B5EF4-FFF2-40B4-BE49-F238E27FC236}">
                    <a16:creationId xmlns:a16="http://schemas.microsoft.com/office/drawing/2014/main" id="{C6ADE058-5EC1-4B8B-877C-1A9FA1F0037C}"/>
                  </a:ext>
                </a:extLst>
              </p:cNvPr>
              <p:cNvSpPr/>
              <p:nvPr/>
            </p:nvSpPr>
            <p:spPr>
              <a:xfrm>
                <a:off x="1556432" y="5375472"/>
                <a:ext cx="210394" cy="75526"/>
              </a:xfrm>
              <a:custGeom>
                <a:avLst/>
                <a:gdLst>
                  <a:gd name="connsiteX0" fmla="*/ 210394 w 210394"/>
                  <a:gd name="connsiteY0" fmla="*/ 0 h 75526"/>
                  <a:gd name="connsiteX1" fmla="*/ 45316 w 210394"/>
                  <a:gd name="connsiteY1" fmla="*/ 0 h 75526"/>
                  <a:gd name="connsiteX2" fmla="*/ 0 w 210394"/>
                  <a:gd name="connsiteY2" fmla="*/ 75526 h 75526"/>
                  <a:gd name="connsiteX3" fmla="*/ 172092 w 210394"/>
                  <a:gd name="connsiteY3" fmla="*/ 75526 h 75526"/>
                  <a:gd name="connsiteX4" fmla="*/ 210394 w 210394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0394" h="75526">
                    <a:moveTo>
                      <a:pt x="210394" y="0"/>
                    </a:moveTo>
                    <a:lnTo>
                      <a:pt x="45316" y="0"/>
                    </a:lnTo>
                    <a:lnTo>
                      <a:pt x="0" y="75526"/>
                    </a:lnTo>
                    <a:lnTo>
                      <a:pt x="172092" y="75526"/>
                    </a:lnTo>
                    <a:lnTo>
                      <a:pt x="21039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1" name="Полилиния: фигура 1710">
                <a:extLst>
                  <a:ext uri="{FF2B5EF4-FFF2-40B4-BE49-F238E27FC236}">
                    <a16:creationId xmlns:a16="http://schemas.microsoft.com/office/drawing/2014/main" id="{D8736AD4-9687-4917-B49B-72FF785DD4B9}"/>
                  </a:ext>
                </a:extLst>
              </p:cNvPr>
              <p:cNvSpPr/>
              <p:nvPr/>
            </p:nvSpPr>
            <p:spPr>
              <a:xfrm>
                <a:off x="1119568" y="5375472"/>
                <a:ext cx="234130" cy="75526"/>
              </a:xfrm>
              <a:custGeom>
                <a:avLst/>
                <a:gdLst>
                  <a:gd name="connsiteX0" fmla="*/ 234131 w 234130"/>
                  <a:gd name="connsiteY0" fmla="*/ 0 h 75526"/>
                  <a:gd name="connsiteX1" fmla="*/ 63118 w 234130"/>
                  <a:gd name="connsiteY1" fmla="*/ 0 h 75526"/>
                  <a:gd name="connsiteX2" fmla="*/ 0 w 234130"/>
                  <a:gd name="connsiteY2" fmla="*/ 75526 h 75526"/>
                  <a:gd name="connsiteX3" fmla="*/ 178349 w 234130"/>
                  <a:gd name="connsiteY3" fmla="*/ 75526 h 75526"/>
                  <a:gd name="connsiteX4" fmla="*/ 234131 w 234130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4130" h="75526">
                    <a:moveTo>
                      <a:pt x="234131" y="0"/>
                    </a:moveTo>
                    <a:lnTo>
                      <a:pt x="63118" y="0"/>
                    </a:lnTo>
                    <a:lnTo>
                      <a:pt x="0" y="75526"/>
                    </a:lnTo>
                    <a:lnTo>
                      <a:pt x="178349" y="75526"/>
                    </a:lnTo>
                    <a:lnTo>
                      <a:pt x="234131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2" name="Полилиния: фигура 1711">
                <a:extLst>
                  <a:ext uri="{FF2B5EF4-FFF2-40B4-BE49-F238E27FC236}">
                    <a16:creationId xmlns:a16="http://schemas.microsoft.com/office/drawing/2014/main" id="{A64301A3-E371-4DAB-9A91-9B0B5AE8A154}"/>
                  </a:ext>
                </a:extLst>
              </p:cNvPr>
              <p:cNvSpPr/>
              <p:nvPr/>
            </p:nvSpPr>
            <p:spPr>
              <a:xfrm>
                <a:off x="3337984" y="5375472"/>
                <a:ext cx="221830" cy="75526"/>
              </a:xfrm>
              <a:custGeom>
                <a:avLst/>
                <a:gdLst>
                  <a:gd name="connsiteX0" fmla="*/ 186010 w 221830"/>
                  <a:gd name="connsiteY0" fmla="*/ 0 h 75526"/>
                  <a:gd name="connsiteX1" fmla="*/ 0 w 221830"/>
                  <a:gd name="connsiteY1" fmla="*/ 0 h 75526"/>
                  <a:gd name="connsiteX2" fmla="*/ 27945 w 221830"/>
                  <a:gd name="connsiteY2" fmla="*/ 75526 h 75526"/>
                  <a:gd name="connsiteX3" fmla="*/ 221831 w 221830"/>
                  <a:gd name="connsiteY3" fmla="*/ 75526 h 75526"/>
                  <a:gd name="connsiteX4" fmla="*/ 186010 w 221830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830" h="75526">
                    <a:moveTo>
                      <a:pt x="186010" y="0"/>
                    </a:moveTo>
                    <a:lnTo>
                      <a:pt x="0" y="0"/>
                    </a:lnTo>
                    <a:lnTo>
                      <a:pt x="27945" y="75526"/>
                    </a:lnTo>
                    <a:lnTo>
                      <a:pt x="221831" y="75526"/>
                    </a:lnTo>
                    <a:lnTo>
                      <a:pt x="18601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3" name="Полилиния: фигура 1712">
                <a:extLst>
                  <a:ext uri="{FF2B5EF4-FFF2-40B4-BE49-F238E27FC236}">
                    <a16:creationId xmlns:a16="http://schemas.microsoft.com/office/drawing/2014/main" id="{BEA0A695-9ADF-469D-B516-AAE82695C046}"/>
                  </a:ext>
                </a:extLst>
              </p:cNvPr>
              <p:cNvSpPr/>
              <p:nvPr/>
            </p:nvSpPr>
            <p:spPr>
              <a:xfrm>
                <a:off x="4003692" y="5375472"/>
                <a:ext cx="239741" cy="75526"/>
              </a:xfrm>
              <a:custGeom>
                <a:avLst/>
                <a:gdLst>
                  <a:gd name="connsiteX0" fmla="*/ 0 w 239741"/>
                  <a:gd name="connsiteY0" fmla="*/ 0 h 75526"/>
                  <a:gd name="connsiteX1" fmla="*/ 56105 w 239741"/>
                  <a:gd name="connsiteY1" fmla="*/ 75526 h 75526"/>
                  <a:gd name="connsiteX2" fmla="*/ 239741 w 239741"/>
                  <a:gd name="connsiteY2" fmla="*/ 75526 h 75526"/>
                  <a:gd name="connsiteX3" fmla="*/ 176084 w 239741"/>
                  <a:gd name="connsiteY3" fmla="*/ 0 h 75526"/>
                  <a:gd name="connsiteX4" fmla="*/ 0 w 239741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9741" h="75526">
                    <a:moveTo>
                      <a:pt x="0" y="0"/>
                    </a:moveTo>
                    <a:lnTo>
                      <a:pt x="56105" y="75526"/>
                    </a:lnTo>
                    <a:lnTo>
                      <a:pt x="239741" y="75526"/>
                    </a:lnTo>
                    <a:lnTo>
                      <a:pt x="17608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4" name="Полилиния: фигура 1713">
                <a:extLst>
                  <a:ext uri="{FF2B5EF4-FFF2-40B4-BE49-F238E27FC236}">
                    <a16:creationId xmlns:a16="http://schemas.microsoft.com/office/drawing/2014/main" id="{2CB0C2AD-2A49-49CF-BED9-0AF0B1EB0862}"/>
                  </a:ext>
                </a:extLst>
              </p:cNvPr>
              <p:cNvSpPr/>
              <p:nvPr/>
            </p:nvSpPr>
            <p:spPr>
              <a:xfrm>
                <a:off x="3559815" y="5375472"/>
                <a:ext cx="231325" cy="75526"/>
              </a:xfrm>
              <a:custGeom>
                <a:avLst/>
                <a:gdLst>
                  <a:gd name="connsiteX0" fmla="*/ 186010 w 231325"/>
                  <a:gd name="connsiteY0" fmla="*/ 0 h 75526"/>
                  <a:gd name="connsiteX1" fmla="*/ 0 w 231325"/>
                  <a:gd name="connsiteY1" fmla="*/ 0 h 75526"/>
                  <a:gd name="connsiteX2" fmla="*/ 37439 w 231325"/>
                  <a:gd name="connsiteY2" fmla="*/ 75526 h 75526"/>
                  <a:gd name="connsiteX3" fmla="*/ 231326 w 231325"/>
                  <a:gd name="connsiteY3" fmla="*/ 75526 h 75526"/>
                  <a:gd name="connsiteX4" fmla="*/ 186010 w 231325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325" h="75526">
                    <a:moveTo>
                      <a:pt x="186010" y="0"/>
                    </a:moveTo>
                    <a:lnTo>
                      <a:pt x="0" y="0"/>
                    </a:lnTo>
                    <a:lnTo>
                      <a:pt x="37439" y="75526"/>
                    </a:lnTo>
                    <a:lnTo>
                      <a:pt x="231326" y="75526"/>
                    </a:lnTo>
                    <a:lnTo>
                      <a:pt x="18601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5" name="Полилиния: фигура 1714">
                <a:extLst>
                  <a:ext uri="{FF2B5EF4-FFF2-40B4-BE49-F238E27FC236}">
                    <a16:creationId xmlns:a16="http://schemas.microsoft.com/office/drawing/2014/main" id="{DBA0D17E-20DA-4826-8518-8D5A15D3B1ED}"/>
                  </a:ext>
                </a:extLst>
              </p:cNvPr>
              <p:cNvSpPr/>
              <p:nvPr/>
            </p:nvSpPr>
            <p:spPr>
              <a:xfrm>
                <a:off x="3781754" y="5375472"/>
                <a:ext cx="240712" cy="75526"/>
              </a:xfrm>
              <a:custGeom>
                <a:avLst/>
                <a:gdLst>
                  <a:gd name="connsiteX0" fmla="*/ 186010 w 240712"/>
                  <a:gd name="connsiteY0" fmla="*/ 0 h 75526"/>
                  <a:gd name="connsiteX1" fmla="*/ 0 w 240712"/>
                  <a:gd name="connsiteY1" fmla="*/ 0 h 75526"/>
                  <a:gd name="connsiteX2" fmla="*/ 46826 w 240712"/>
                  <a:gd name="connsiteY2" fmla="*/ 75526 h 75526"/>
                  <a:gd name="connsiteX3" fmla="*/ 240712 w 240712"/>
                  <a:gd name="connsiteY3" fmla="*/ 75526 h 75526"/>
                  <a:gd name="connsiteX4" fmla="*/ 186010 w 240712"/>
                  <a:gd name="connsiteY4" fmla="*/ 0 h 7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0712" h="75526">
                    <a:moveTo>
                      <a:pt x="186010" y="0"/>
                    </a:moveTo>
                    <a:lnTo>
                      <a:pt x="0" y="0"/>
                    </a:lnTo>
                    <a:lnTo>
                      <a:pt x="46826" y="75526"/>
                    </a:lnTo>
                    <a:lnTo>
                      <a:pt x="240712" y="75526"/>
                    </a:lnTo>
                    <a:lnTo>
                      <a:pt x="18601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16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188405" y="5299622"/>
              <a:ext cx="2985653" cy="69052"/>
              <a:chOff x="1188405" y="5299622"/>
              <a:chExt cx="2985653" cy="69052"/>
            </a:xfrm>
            <a:solidFill>
              <a:srgbClr val="FFFFFF"/>
            </a:solidFill>
          </p:grpSpPr>
          <p:sp>
            <p:nvSpPr>
              <p:cNvPr id="1717" name="Полилиния: фигура 1716">
                <a:extLst>
                  <a:ext uri="{FF2B5EF4-FFF2-40B4-BE49-F238E27FC236}">
                    <a16:creationId xmlns:a16="http://schemas.microsoft.com/office/drawing/2014/main" id="{E89A6A1E-60F8-4A26-9017-002827C7EB81}"/>
                  </a:ext>
                </a:extLst>
              </p:cNvPr>
              <p:cNvSpPr/>
              <p:nvPr/>
            </p:nvSpPr>
            <p:spPr>
              <a:xfrm>
                <a:off x="2277598" y="5299622"/>
                <a:ext cx="181478" cy="69052"/>
              </a:xfrm>
              <a:custGeom>
                <a:avLst/>
                <a:gdLst>
                  <a:gd name="connsiteX0" fmla="*/ 181478 w 181478"/>
                  <a:gd name="connsiteY0" fmla="*/ 0 h 69052"/>
                  <a:gd name="connsiteX1" fmla="*/ 15429 w 181478"/>
                  <a:gd name="connsiteY1" fmla="*/ 0 h 69052"/>
                  <a:gd name="connsiteX2" fmla="*/ 0 w 181478"/>
                  <a:gd name="connsiteY2" fmla="*/ 69053 h 69052"/>
                  <a:gd name="connsiteX3" fmla="*/ 172847 w 181478"/>
                  <a:gd name="connsiteY3" fmla="*/ 69053 h 69052"/>
                  <a:gd name="connsiteX4" fmla="*/ 181478 w 181478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478" h="69052">
                    <a:moveTo>
                      <a:pt x="181478" y="0"/>
                    </a:moveTo>
                    <a:lnTo>
                      <a:pt x="15429" y="0"/>
                    </a:lnTo>
                    <a:lnTo>
                      <a:pt x="0" y="69053"/>
                    </a:lnTo>
                    <a:lnTo>
                      <a:pt x="172847" y="69053"/>
                    </a:lnTo>
                    <a:lnTo>
                      <a:pt x="181478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8" name="Полилиния: фигура 1717">
                <a:extLst>
                  <a:ext uri="{FF2B5EF4-FFF2-40B4-BE49-F238E27FC236}">
                    <a16:creationId xmlns:a16="http://schemas.microsoft.com/office/drawing/2014/main" id="{DBCF29AD-4957-4334-AEE8-6DE3144D7700}"/>
                  </a:ext>
                </a:extLst>
              </p:cNvPr>
              <p:cNvSpPr/>
              <p:nvPr/>
            </p:nvSpPr>
            <p:spPr>
              <a:xfrm>
                <a:off x="2693963" y="5299622"/>
                <a:ext cx="173494" cy="69052"/>
              </a:xfrm>
              <a:custGeom>
                <a:avLst/>
                <a:gdLst>
                  <a:gd name="connsiteX0" fmla="*/ 166049 w 173494"/>
                  <a:gd name="connsiteY0" fmla="*/ 0 h 69052"/>
                  <a:gd name="connsiteX1" fmla="*/ 0 w 173494"/>
                  <a:gd name="connsiteY1" fmla="*/ 0 h 69052"/>
                  <a:gd name="connsiteX2" fmla="*/ 755 w 173494"/>
                  <a:gd name="connsiteY2" fmla="*/ 69053 h 69052"/>
                  <a:gd name="connsiteX3" fmla="*/ 173494 w 173494"/>
                  <a:gd name="connsiteY3" fmla="*/ 69053 h 69052"/>
                  <a:gd name="connsiteX4" fmla="*/ 166049 w 173494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494" h="69052">
                    <a:moveTo>
                      <a:pt x="166049" y="0"/>
                    </a:moveTo>
                    <a:lnTo>
                      <a:pt x="0" y="0"/>
                    </a:lnTo>
                    <a:lnTo>
                      <a:pt x="755" y="69053"/>
                    </a:lnTo>
                    <a:lnTo>
                      <a:pt x="173494" y="69053"/>
                    </a:lnTo>
                    <a:lnTo>
                      <a:pt x="1660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19" name="Полилиния: фигура 1718">
                <a:extLst>
                  <a:ext uri="{FF2B5EF4-FFF2-40B4-BE49-F238E27FC236}">
                    <a16:creationId xmlns:a16="http://schemas.microsoft.com/office/drawing/2014/main" id="{F5ECEB81-5CB9-4C1F-8793-E65648C8A324}"/>
                  </a:ext>
                </a:extLst>
              </p:cNvPr>
              <p:cNvSpPr/>
              <p:nvPr/>
            </p:nvSpPr>
            <p:spPr>
              <a:xfrm>
                <a:off x="2069038" y="5299622"/>
                <a:ext cx="189678" cy="69052"/>
              </a:xfrm>
              <a:custGeom>
                <a:avLst/>
                <a:gdLst>
                  <a:gd name="connsiteX0" fmla="*/ 189678 w 189678"/>
                  <a:gd name="connsiteY0" fmla="*/ 0 h 69052"/>
                  <a:gd name="connsiteX1" fmla="*/ 23521 w 189678"/>
                  <a:gd name="connsiteY1" fmla="*/ 0 h 69052"/>
                  <a:gd name="connsiteX2" fmla="*/ 0 w 189678"/>
                  <a:gd name="connsiteY2" fmla="*/ 69053 h 69052"/>
                  <a:gd name="connsiteX3" fmla="*/ 172847 w 189678"/>
                  <a:gd name="connsiteY3" fmla="*/ 69053 h 69052"/>
                  <a:gd name="connsiteX4" fmla="*/ 189678 w 189678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678" h="69052">
                    <a:moveTo>
                      <a:pt x="189678" y="0"/>
                    </a:moveTo>
                    <a:lnTo>
                      <a:pt x="23521" y="0"/>
                    </a:lnTo>
                    <a:lnTo>
                      <a:pt x="0" y="69053"/>
                    </a:lnTo>
                    <a:lnTo>
                      <a:pt x="172847" y="69053"/>
                    </a:lnTo>
                    <a:lnTo>
                      <a:pt x="189678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0" name="Полилиния: фигура 1719">
                <a:extLst>
                  <a:ext uri="{FF2B5EF4-FFF2-40B4-BE49-F238E27FC236}">
                    <a16:creationId xmlns:a16="http://schemas.microsoft.com/office/drawing/2014/main" id="{8643374A-4A6A-49A0-9318-77FD05C40C98}"/>
                  </a:ext>
                </a:extLst>
              </p:cNvPr>
              <p:cNvSpPr/>
              <p:nvPr/>
            </p:nvSpPr>
            <p:spPr>
              <a:xfrm>
                <a:off x="1652027" y="5299622"/>
                <a:ext cx="205754" cy="69052"/>
              </a:xfrm>
              <a:custGeom>
                <a:avLst/>
                <a:gdLst>
                  <a:gd name="connsiteX0" fmla="*/ 205755 w 205754"/>
                  <a:gd name="connsiteY0" fmla="*/ 0 h 69052"/>
                  <a:gd name="connsiteX1" fmla="*/ 39705 w 205754"/>
                  <a:gd name="connsiteY1" fmla="*/ 0 h 69052"/>
                  <a:gd name="connsiteX2" fmla="*/ 0 w 205754"/>
                  <a:gd name="connsiteY2" fmla="*/ 69053 h 69052"/>
                  <a:gd name="connsiteX3" fmla="*/ 172739 w 205754"/>
                  <a:gd name="connsiteY3" fmla="*/ 69053 h 69052"/>
                  <a:gd name="connsiteX4" fmla="*/ 205755 w 205754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54" h="69052">
                    <a:moveTo>
                      <a:pt x="205755" y="0"/>
                    </a:moveTo>
                    <a:lnTo>
                      <a:pt x="39705" y="0"/>
                    </a:lnTo>
                    <a:lnTo>
                      <a:pt x="0" y="69053"/>
                    </a:lnTo>
                    <a:lnTo>
                      <a:pt x="172739" y="69053"/>
                    </a:lnTo>
                    <a:lnTo>
                      <a:pt x="2057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1" name="Полилиния: фигура 1720">
                <a:extLst>
                  <a:ext uri="{FF2B5EF4-FFF2-40B4-BE49-F238E27FC236}">
                    <a16:creationId xmlns:a16="http://schemas.microsoft.com/office/drawing/2014/main" id="{7A63C023-36DE-49FD-8939-C44451FF3445}"/>
                  </a:ext>
                </a:extLst>
              </p:cNvPr>
              <p:cNvSpPr/>
              <p:nvPr/>
            </p:nvSpPr>
            <p:spPr>
              <a:xfrm>
                <a:off x="1443467" y="5299622"/>
                <a:ext cx="213846" cy="69052"/>
              </a:xfrm>
              <a:custGeom>
                <a:avLst/>
                <a:gdLst>
                  <a:gd name="connsiteX0" fmla="*/ 0 w 213846"/>
                  <a:gd name="connsiteY0" fmla="*/ 69053 h 69052"/>
                  <a:gd name="connsiteX1" fmla="*/ 172739 w 213846"/>
                  <a:gd name="connsiteY1" fmla="*/ 69053 h 69052"/>
                  <a:gd name="connsiteX2" fmla="*/ 213847 w 213846"/>
                  <a:gd name="connsiteY2" fmla="*/ 0 h 69052"/>
                  <a:gd name="connsiteX3" fmla="*/ 47797 w 213846"/>
                  <a:gd name="connsiteY3" fmla="*/ 0 h 69052"/>
                  <a:gd name="connsiteX4" fmla="*/ 0 w 213846"/>
                  <a:gd name="connsiteY4" fmla="*/ 69053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846" h="69052">
                    <a:moveTo>
                      <a:pt x="0" y="69053"/>
                    </a:moveTo>
                    <a:lnTo>
                      <a:pt x="172739" y="69053"/>
                    </a:lnTo>
                    <a:lnTo>
                      <a:pt x="213847" y="0"/>
                    </a:lnTo>
                    <a:lnTo>
                      <a:pt x="47797" y="0"/>
                    </a:lnTo>
                    <a:lnTo>
                      <a:pt x="0" y="69053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2" name="Полилиния: фигура 1721">
                <a:extLst>
                  <a:ext uri="{FF2B5EF4-FFF2-40B4-BE49-F238E27FC236}">
                    <a16:creationId xmlns:a16="http://schemas.microsoft.com/office/drawing/2014/main" id="{02E860B5-C08E-48AA-A214-2E76F7F247CA}"/>
                  </a:ext>
                </a:extLst>
              </p:cNvPr>
              <p:cNvSpPr/>
              <p:nvPr/>
            </p:nvSpPr>
            <p:spPr>
              <a:xfrm>
                <a:off x="1860586" y="5299622"/>
                <a:ext cx="197662" cy="69052"/>
              </a:xfrm>
              <a:custGeom>
                <a:avLst/>
                <a:gdLst>
                  <a:gd name="connsiteX0" fmla="*/ 197663 w 197662"/>
                  <a:gd name="connsiteY0" fmla="*/ 0 h 69052"/>
                  <a:gd name="connsiteX1" fmla="*/ 31613 w 197662"/>
                  <a:gd name="connsiteY1" fmla="*/ 0 h 69052"/>
                  <a:gd name="connsiteX2" fmla="*/ 0 w 197662"/>
                  <a:gd name="connsiteY2" fmla="*/ 69053 h 69052"/>
                  <a:gd name="connsiteX3" fmla="*/ 172739 w 197662"/>
                  <a:gd name="connsiteY3" fmla="*/ 69053 h 69052"/>
                  <a:gd name="connsiteX4" fmla="*/ 197663 w 197662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662" h="69052">
                    <a:moveTo>
                      <a:pt x="197663" y="0"/>
                    </a:moveTo>
                    <a:lnTo>
                      <a:pt x="31613" y="0"/>
                    </a:lnTo>
                    <a:lnTo>
                      <a:pt x="0" y="69053"/>
                    </a:lnTo>
                    <a:lnTo>
                      <a:pt x="172739" y="69053"/>
                    </a:lnTo>
                    <a:lnTo>
                      <a:pt x="197663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3" name="Полилиния: фигура 1722">
                <a:extLst>
                  <a:ext uri="{FF2B5EF4-FFF2-40B4-BE49-F238E27FC236}">
                    <a16:creationId xmlns:a16="http://schemas.microsoft.com/office/drawing/2014/main" id="{A86D5566-AF57-4FE7-A906-709B4BA71916}"/>
                  </a:ext>
                </a:extLst>
              </p:cNvPr>
              <p:cNvSpPr/>
              <p:nvPr/>
            </p:nvSpPr>
            <p:spPr>
              <a:xfrm>
                <a:off x="2486158" y="5299622"/>
                <a:ext cx="173386" cy="69052"/>
              </a:xfrm>
              <a:custGeom>
                <a:avLst/>
                <a:gdLst>
                  <a:gd name="connsiteX0" fmla="*/ 173386 w 173386"/>
                  <a:gd name="connsiteY0" fmla="*/ 0 h 69052"/>
                  <a:gd name="connsiteX1" fmla="*/ 7337 w 173386"/>
                  <a:gd name="connsiteY1" fmla="*/ 0 h 69052"/>
                  <a:gd name="connsiteX2" fmla="*/ 0 w 173386"/>
                  <a:gd name="connsiteY2" fmla="*/ 69053 h 69052"/>
                  <a:gd name="connsiteX3" fmla="*/ 172739 w 173386"/>
                  <a:gd name="connsiteY3" fmla="*/ 69053 h 69052"/>
                  <a:gd name="connsiteX4" fmla="*/ 173386 w 173386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3386" h="69052">
                    <a:moveTo>
                      <a:pt x="173386" y="0"/>
                    </a:moveTo>
                    <a:lnTo>
                      <a:pt x="7337" y="0"/>
                    </a:lnTo>
                    <a:lnTo>
                      <a:pt x="0" y="69053"/>
                    </a:lnTo>
                    <a:lnTo>
                      <a:pt x="172739" y="69053"/>
                    </a:lnTo>
                    <a:lnTo>
                      <a:pt x="17338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4" name="Полилиния: фигура 1723">
                <a:extLst>
                  <a:ext uri="{FF2B5EF4-FFF2-40B4-BE49-F238E27FC236}">
                    <a16:creationId xmlns:a16="http://schemas.microsoft.com/office/drawing/2014/main" id="{6AD6D686-A96E-407F-91BE-D5022F75C992}"/>
                  </a:ext>
                </a:extLst>
              </p:cNvPr>
              <p:cNvSpPr/>
              <p:nvPr/>
            </p:nvSpPr>
            <p:spPr>
              <a:xfrm>
                <a:off x="1188405" y="5299622"/>
                <a:ext cx="268549" cy="69052"/>
              </a:xfrm>
              <a:custGeom>
                <a:avLst/>
                <a:gdLst>
                  <a:gd name="connsiteX0" fmla="*/ 268549 w 268549"/>
                  <a:gd name="connsiteY0" fmla="*/ 0 h 69052"/>
                  <a:gd name="connsiteX1" fmla="*/ 57723 w 268549"/>
                  <a:gd name="connsiteY1" fmla="*/ 0 h 69052"/>
                  <a:gd name="connsiteX2" fmla="*/ 0 w 268549"/>
                  <a:gd name="connsiteY2" fmla="*/ 69053 h 69052"/>
                  <a:gd name="connsiteX3" fmla="*/ 219349 w 268549"/>
                  <a:gd name="connsiteY3" fmla="*/ 69053 h 69052"/>
                  <a:gd name="connsiteX4" fmla="*/ 268549 w 268549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8549" h="69052">
                    <a:moveTo>
                      <a:pt x="268549" y="0"/>
                    </a:moveTo>
                    <a:lnTo>
                      <a:pt x="57723" y="0"/>
                    </a:lnTo>
                    <a:lnTo>
                      <a:pt x="0" y="69053"/>
                    </a:lnTo>
                    <a:lnTo>
                      <a:pt x="219349" y="69053"/>
                    </a:lnTo>
                    <a:lnTo>
                      <a:pt x="2685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5" name="Полилиния: фигура 1724">
                <a:extLst>
                  <a:ext uri="{FF2B5EF4-FFF2-40B4-BE49-F238E27FC236}">
                    <a16:creationId xmlns:a16="http://schemas.microsoft.com/office/drawing/2014/main" id="{DBB9D3F7-992E-4C42-90B0-35C7F9611ECA}"/>
                  </a:ext>
                </a:extLst>
              </p:cNvPr>
              <p:cNvSpPr/>
              <p:nvPr/>
            </p:nvSpPr>
            <p:spPr>
              <a:xfrm>
                <a:off x="3495726" y="5299622"/>
                <a:ext cx="205862" cy="69052"/>
              </a:xfrm>
              <a:custGeom>
                <a:avLst/>
                <a:gdLst>
                  <a:gd name="connsiteX0" fmla="*/ 166050 w 205862"/>
                  <a:gd name="connsiteY0" fmla="*/ 0 h 69052"/>
                  <a:gd name="connsiteX1" fmla="*/ 0 w 205862"/>
                  <a:gd name="connsiteY1" fmla="*/ 0 h 69052"/>
                  <a:gd name="connsiteX2" fmla="*/ 33124 w 205862"/>
                  <a:gd name="connsiteY2" fmla="*/ 69053 h 69052"/>
                  <a:gd name="connsiteX3" fmla="*/ 205862 w 205862"/>
                  <a:gd name="connsiteY3" fmla="*/ 69053 h 69052"/>
                  <a:gd name="connsiteX4" fmla="*/ 166050 w 205862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862" h="69052">
                    <a:moveTo>
                      <a:pt x="166050" y="0"/>
                    </a:moveTo>
                    <a:lnTo>
                      <a:pt x="0" y="0"/>
                    </a:lnTo>
                    <a:lnTo>
                      <a:pt x="33124" y="69053"/>
                    </a:lnTo>
                    <a:lnTo>
                      <a:pt x="205862" y="69053"/>
                    </a:lnTo>
                    <a:lnTo>
                      <a:pt x="16605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6" name="Полилиния: фигура 1725">
                <a:extLst>
                  <a:ext uri="{FF2B5EF4-FFF2-40B4-BE49-F238E27FC236}">
                    <a16:creationId xmlns:a16="http://schemas.microsoft.com/office/drawing/2014/main" id="{F752002F-ACD8-4ED6-98DA-FF6A9AB1E5BF}"/>
                  </a:ext>
                </a:extLst>
              </p:cNvPr>
              <p:cNvSpPr/>
              <p:nvPr/>
            </p:nvSpPr>
            <p:spPr>
              <a:xfrm>
                <a:off x="3696086" y="5299622"/>
                <a:ext cx="477971" cy="69052"/>
              </a:xfrm>
              <a:custGeom>
                <a:avLst/>
                <a:gdLst>
                  <a:gd name="connsiteX0" fmla="*/ 0 w 477971"/>
                  <a:gd name="connsiteY0" fmla="*/ 0 h 69052"/>
                  <a:gd name="connsiteX1" fmla="*/ 41323 w 477971"/>
                  <a:gd name="connsiteY1" fmla="*/ 69053 h 69052"/>
                  <a:gd name="connsiteX2" fmla="*/ 477972 w 477971"/>
                  <a:gd name="connsiteY2" fmla="*/ 69053 h 69052"/>
                  <a:gd name="connsiteX3" fmla="*/ 419709 w 477971"/>
                  <a:gd name="connsiteY3" fmla="*/ 0 h 69052"/>
                  <a:gd name="connsiteX4" fmla="*/ 0 w 477971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7971" h="69052">
                    <a:moveTo>
                      <a:pt x="0" y="0"/>
                    </a:moveTo>
                    <a:lnTo>
                      <a:pt x="41323" y="69053"/>
                    </a:lnTo>
                    <a:lnTo>
                      <a:pt x="477972" y="69053"/>
                    </a:lnTo>
                    <a:lnTo>
                      <a:pt x="41970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7" name="Полилиния: фигура 1726">
                <a:extLst>
                  <a:ext uri="{FF2B5EF4-FFF2-40B4-BE49-F238E27FC236}">
                    <a16:creationId xmlns:a16="http://schemas.microsoft.com/office/drawing/2014/main" id="{21E4132A-3794-430F-AB54-84E95D0223EB}"/>
                  </a:ext>
                </a:extLst>
              </p:cNvPr>
              <p:cNvSpPr/>
              <p:nvPr/>
            </p:nvSpPr>
            <p:spPr>
              <a:xfrm>
                <a:off x="2894322" y="5299622"/>
                <a:ext cx="181694" cy="69052"/>
              </a:xfrm>
              <a:custGeom>
                <a:avLst/>
                <a:gdLst>
                  <a:gd name="connsiteX0" fmla="*/ 166157 w 181694"/>
                  <a:gd name="connsiteY0" fmla="*/ 0 h 69052"/>
                  <a:gd name="connsiteX1" fmla="*/ 0 w 181694"/>
                  <a:gd name="connsiteY1" fmla="*/ 0 h 69052"/>
                  <a:gd name="connsiteX2" fmla="*/ 8955 w 181694"/>
                  <a:gd name="connsiteY2" fmla="*/ 69053 h 69052"/>
                  <a:gd name="connsiteX3" fmla="*/ 181694 w 181694"/>
                  <a:gd name="connsiteY3" fmla="*/ 69053 h 69052"/>
                  <a:gd name="connsiteX4" fmla="*/ 166157 w 181694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694" h="69052">
                    <a:moveTo>
                      <a:pt x="166157" y="0"/>
                    </a:moveTo>
                    <a:lnTo>
                      <a:pt x="0" y="0"/>
                    </a:lnTo>
                    <a:lnTo>
                      <a:pt x="8955" y="69053"/>
                    </a:lnTo>
                    <a:lnTo>
                      <a:pt x="181694" y="69053"/>
                    </a:lnTo>
                    <a:lnTo>
                      <a:pt x="1661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8" name="Полилиния: фигура 1727">
                <a:extLst>
                  <a:ext uri="{FF2B5EF4-FFF2-40B4-BE49-F238E27FC236}">
                    <a16:creationId xmlns:a16="http://schemas.microsoft.com/office/drawing/2014/main" id="{BA909238-8C8E-4460-B066-621BD58E2F34}"/>
                  </a:ext>
                </a:extLst>
              </p:cNvPr>
              <p:cNvSpPr/>
              <p:nvPr/>
            </p:nvSpPr>
            <p:spPr>
              <a:xfrm>
                <a:off x="3094790" y="5299622"/>
                <a:ext cx="189786" cy="69052"/>
              </a:xfrm>
              <a:custGeom>
                <a:avLst/>
                <a:gdLst>
                  <a:gd name="connsiteX0" fmla="*/ 166050 w 189786"/>
                  <a:gd name="connsiteY0" fmla="*/ 0 h 69052"/>
                  <a:gd name="connsiteX1" fmla="*/ 0 w 189786"/>
                  <a:gd name="connsiteY1" fmla="*/ 0 h 69052"/>
                  <a:gd name="connsiteX2" fmla="*/ 16939 w 189786"/>
                  <a:gd name="connsiteY2" fmla="*/ 69053 h 69052"/>
                  <a:gd name="connsiteX3" fmla="*/ 189786 w 189786"/>
                  <a:gd name="connsiteY3" fmla="*/ 69053 h 69052"/>
                  <a:gd name="connsiteX4" fmla="*/ 166050 w 189786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786" h="69052">
                    <a:moveTo>
                      <a:pt x="166050" y="0"/>
                    </a:moveTo>
                    <a:lnTo>
                      <a:pt x="0" y="0"/>
                    </a:lnTo>
                    <a:lnTo>
                      <a:pt x="16939" y="69053"/>
                    </a:lnTo>
                    <a:lnTo>
                      <a:pt x="189786" y="69053"/>
                    </a:lnTo>
                    <a:lnTo>
                      <a:pt x="16605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9" name="Полилиния: фигура 1728">
                <a:extLst>
                  <a:ext uri="{FF2B5EF4-FFF2-40B4-BE49-F238E27FC236}">
                    <a16:creationId xmlns:a16="http://schemas.microsoft.com/office/drawing/2014/main" id="{3BBFF1D1-399E-443C-A079-BC1F72AAC4C0}"/>
                  </a:ext>
                </a:extLst>
              </p:cNvPr>
              <p:cNvSpPr/>
              <p:nvPr/>
            </p:nvSpPr>
            <p:spPr>
              <a:xfrm>
                <a:off x="3295258" y="5299622"/>
                <a:ext cx="197878" cy="69052"/>
              </a:xfrm>
              <a:custGeom>
                <a:avLst/>
                <a:gdLst>
                  <a:gd name="connsiteX0" fmla="*/ 166049 w 197878"/>
                  <a:gd name="connsiteY0" fmla="*/ 0 h 69052"/>
                  <a:gd name="connsiteX1" fmla="*/ 0 w 197878"/>
                  <a:gd name="connsiteY1" fmla="*/ 0 h 69052"/>
                  <a:gd name="connsiteX2" fmla="*/ 25031 w 197878"/>
                  <a:gd name="connsiteY2" fmla="*/ 69053 h 69052"/>
                  <a:gd name="connsiteX3" fmla="*/ 197878 w 197878"/>
                  <a:gd name="connsiteY3" fmla="*/ 69053 h 69052"/>
                  <a:gd name="connsiteX4" fmla="*/ 166049 w 197878"/>
                  <a:gd name="connsiteY4" fmla="*/ 0 h 6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7878" h="69052">
                    <a:moveTo>
                      <a:pt x="166049" y="0"/>
                    </a:moveTo>
                    <a:lnTo>
                      <a:pt x="0" y="0"/>
                    </a:lnTo>
                    <a:lnTo>
                      <a:pt x="25031" y="69053"/>
                    </a:lnTo>
                    <a:lnTo>
                      <a:pt x="197878" y="69053"/>
                    </a:lnTo>
                    <a:lnTo>
                      <a:pt x="1660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30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251415" y="5229815"/>
              <a:ext cx="2710198" cy="63441"/>
              <a:chOff x="1251415" y="5229815"/>
              <a:chExt cx="2710198" cy="63441"/>
            </a:xfrm>
            <a:solidFill>
              <a:srgbClr val="FFFFFF"/>
            </a:solidFill>
          </p:grpSpPr>
          <p:sp>
            <p:nvSpPr>
              <p:cNvPr id="1731" name="Полилиния: фигура 1730">
                <a:extLst>
                  <a:ext uri="{FF2B5EF4-FFF2-40B4-BE49-F238E27FC236}">
                    <a16:creationId xmlns:a16="http://schemas.microsoft.com/office/drawing/2014/main" id="{8A0908B8-EE85-42E2-A21F-01B51BE30980}"/>
                  </a:ext>
                </a:extLst>
              </p:cNvPr>
              <p:cNvSpPr/>
              <p:nvPr/>
            </p:nvSpPr>
            <p:spPr>
              <a:xfrm>
                <a:off x="2394124" y="5229815"/>
                <a:ext cx="170257" cy="63441"/>
              </a:xfrm>
              <a:custGeom>
                <a:avLst/>
                <a:gdLst>
                  <a:gd name="connsiteX0" fmla="*/ 170257 w 170257"/>
                  <a:gd name="connsiteY0" fmla="*/ 0 h 63441"/>
                  <a:gd name="connsiteX1" fmla="*/ 10466 w 170257"/>
                  <a:gd name="connsiteY1" fmla="*/ 0 h 63441"/>
                  <a:gd name="connsiteX2" fmla="*/ 0 w 170257"/>
                  <a:gd name="connsiteY2" fmla="*/ 63442 h 63441"/>
                  <a:gd name="connsiteX3" fmla="*/ 165942 w 170257"/>
                  <a:gd name="connsiteY3" fmla="*/ 63442 h 63441"/>
                  <a:gd name="connsiteX4" fmla="*/ 170257 w 170257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57" h="63441">
                    <a:moveTo>
                      <a:pt x="170257" y="0"/>
                    </a:moveTo>
                    <a:lnTo>
                      <a:pt x="10466" y="0"/>
                    </a:lnTo>
                    <a:lnTo>
                      <a:pt x="0" y="63442"/>
                    </a:lnTo>
                    <a:lnTo>
                      <a:pt x="165942" y="63442"/>
                    </a:lnTo>
                    <a:lnTo>
                      <a:pt x="17025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2" name="Полилиния: фигура 1731">
                <a:extLst>
                  <a:ext uri="{FF2B5EF4-FFF2-40B4-BE49-F238E27FC236}">
                    <a16:creationId xmlns:a16="http://schemas.microsoft.com/office/drawing/2014/main" id="{36519DB0-5319-43F4-8C81-B8F3DF327F90}"/>
                  </a:ext>
                </a:extLst>
              </p:cNvPr>
              <p:cNvSpPr/>
              <p:nvPr/>
            </p:nvSpPr>
            <p:spPr>
              <a:xfrm>
                <a:off x="2594376" y="5229815"/>
                <a:ext cx="165941" cy="63441"/>
              </a:xfrm>
              <a:custGeom>
                <a:avLst/>
                <a:gdLst>
                  <a:gd name="connsiteX0" fmla="*/ 162705 w 165941"/>
                  <a:gd name="connsiteY0" fmla="*/ 0 h 63441"/>
                  <a:gd name="connsiteX1" fmla="*/ 2913 w 165941"/>
                  <a:gd name="connsiteY1" fmla="*/ 0 h 63441"/>
                  <a:gd name="connsiteX2" fmla="*/ 0 w 165941"/>
                  <a:gd name="connsiteY2" fmla="*/ 63442 h 63441"/>
                  <a:gd name="connsiteX3" fmla="*/ 165941 w 165941"/>
                  <a:gd name="connsiteY3" fmla="*/ 63442 h 63441"/>
                  <a:gd name="connsiteX4" fmla="*/ 162705 w 165941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1" h="63441">
                    <a:moveTo>
                      <a:pt x="162705" y="0"/>
                    </a:moveTo>
                    <a:lnTo>
                      <a:pt x="2913" y="0"/>
                    </a:lnTo>
                    <a:lnTo>
                      <a:pt x="0" y="63442"/>
                    </a:lnTo>
                    <a:lnTo>
                      <a:pt x="165941" y="63442"/>
                    </a:lnTo>
                    <a:lnTo>
                      <a:pt x="16270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3" name="Полилиния: фигура 1732">
                <a:extLst>
                  <a:ext uri="{FF2B5EF4-FFF2-40B4-BE49-F238E27FC236}">
                    <a16:creationId xmlns:a16="http://schemas.microsoft.com/office/drawing/2014/main" id="{BFE69FA2-F3D7-4634-8268-8E372079642D}"/>
                  </a:ext>
                </a:extLst>
              </p:cNvPr>
              <p:cNvSpPr/>
              <p:nvPr/>
            </p:nvSpPr>
            <p:spPr>
              <a:xfrm>
                <a:off x="2193872" y="5229815"/>
                <a:ext cx="177702" cy="63441"/>
              </a:xfrm>
              <a:custGeom>
                <a:avLst/>
                <a:gdLst>
                  <a:gd name="connsiteX0" fmla="*/ 177702 w 177702"/>
                  <a:gd name="connsiteY0" fmla="*/ 0 h 63441"/>
                  <a:gd name="connsiteX1" fmla="*/ 17911 w 177702"/>
                  <a:gd name="connsiteY1" fmla="*/ 0 h 63441"/>
                  <a:gd name="connsiteX2" fmla="*/ 0 w 177702"/>
                  <a:gd name="connsiteY2" fmla="*/ 63442 h 63441"/>
                  <a:gd name="connsiteX3" fmla="*/ 166049 w 177702"/>
                  <a:gd name="connsiteY3" fmla="*/ 63442 h 63441"/>
                  <a:gd name="connsiteX4" fmla="*/ 177702 w 177702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02" h="63441">
                    <a:moveTo>
                      <a:pt x="177702" y="0"/>
                    </a:moveTo>
                    <a:lnTo>
                      <a:pt x="17911" y="0"/>
                    </a:lnTo>
                    <a:lnTo>
                      <a:pt x="0" y="63442"/>
                    </a:lnTo>
                    <a:lnTo>
                      <a:pt x="166049" y="63442"/>
                    </a:lnTo>
                    <a:lnTo>
                      <a:pt x="17770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4" name="Полилиния: фигура 1733">
                <a:extLst>
                  <a:ext uri="{FF2B5EF4-FFF2-40B4-BE49-F238E27FC236}">
                    <a16:creationId xmlns:a16="http://schemas.microsoft.com/office/drawing/2014/main" id="{1324457D-7974-43E9-9D40-B81407EB6C30}"/>
                  </a:ext>
                </a:extLst>
              </p:cNvPr>
              <p:cNvSpPr/>
              <p:nvPr/>
            </p:nvSpPr>
            <p:spPr>
              <a:xfrm>
                <a:off x="1993728" y="5229815"/>
                <a:ext cx="185146" cy="63441"/>
              </a:xfrm>
              <a:custGeom>
                <a:avLst/>
                <a:gdLst>
                  <a:gd name="connsiteX0" fmla="*/ 185147 w 185146"/>
                  <a:gd name="connsiteY0" fmla="*/ 0 h 63441"/>
                  <a:gd name="connsiteX1" fmla="*/ 25355 w 185146"/>
                  <a:gd name="connsiteY1" fmla="*/ 0 h 63441"/>
                  <a:gd name="connsiteX2" fmla="*/ 0 w 185146"/>
                  <a:gd name="connsiteY2" fmla="*/ 63442 h 63441"/>
                  <a:gd name="connsiteX3" fmla="*/ 165941 w 185146"/>
                  <a:gd name="connsiteY3" fmla="*/ 63442 h 63441"/>
                  <a:gd name="connsiteX4" fmla="*/ 185147 w 185146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146" h="63441">
                    <a:moveTo>
                      <a:pt x="185147" y="0"/>
                    </a:moveTo>
                    <a:lnTo>
                      <a:pt x="25355" y="0"/>
                    </a:lnTo>
                    <a:lnTo>
                      <a:pt x="0" y="63442"/>
                    </a:lnTo>
                    <a:lnTo>
                      <a:pt x="165941" y="63442"/>
                    </a:lnTo>
                    <a:lnTo>
                      <a:pt x="185147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5" name="Полилиния: фигура 1734">
                <a:extLst>
                  <a:ext uri="{FF2B5EF4-FFF2-40B4-BE49-F238E27FC236}">
                    <a16:creationId xmlns:a16="http://schemas.microsoft.com/office/drawing/2014/main" id="{B90EC1AF-511A-4254-8197-B4A8A4D996A2}"/>
                  </a:ext>
                </a:extLst>
              </p:cNvPr>
              <p:cNvSpPr/>
              <p:nvPr/>
            </p:nvSpPr>
            <p:spPr>
              <a:xfrm>
                <a:off x="1793476" y="5229815"/>
                <a:ext cx="192591" cy="63441"/>
              </a:xfrm>
              <a:custGeom>
                <a:avLst/>
                <a:gdLst>
                  <a:gd name="connsiteX0" fmla="*/ 192592 w 192591"/>
                  <a:gd name="connsiteY0" fmla="*/ 0 h 63441"/>
                  <a:gd name="connsiteX1" fmla="*/ 32800 w 192591"/>
                  <a:gd name="connsiteY1" fmla="*/ 0 h 63441"/>
                  <a:gd name="connsiteX2" fmla="*/ 0 w 192591"/>
                  <a:gd name="connsiteY2" fmla="*/ 63442 h 63441"/>
                  <a:gd name="connsiteX3" fmla="*/ 165942 w 192591"/>
                  <a:gd name="connsiteY3" fmla="*/ 63442 h 63441"/>
                  <a:gd name="connsiteX4" fmla="*/ 192592 w 192591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591" h="63441">
                    <a:moveTo>
                      <a:pt x="192592" y="0"/>
                    </a:moveTo>
                    <a:lnTo>
                      <a:pt x="32800" y="0"/>
                    </a:lnTo>
                    <a:lnTo>
                      <a:pt x="0" y="63442"/>
                    </a:lnTo>
                    <a:lnTo>
                      <a:pt x="165942" y="63442"/>
                    </a:lnTo>
                    <a:lnTo>
                      <a:pt x="1925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6" name="Полилиния: фигура 1735">
                <a:extLst>
                  <a:ext uri="{FF2B5EF4-FFF2-40B4-BE49-F238E27FC236}">
                    <a16:creationId xmlns:a16="http://schemas.microsoft.com/office/drawing/2014/main" id="{61A03566-BD20-4AE9-B55B-404F3225DBA1}"/>
                  </a:ext>
                </a:extLst>
              </p:cNvPr>
              <p:cNvSpPr/>
              <p:nvPr/>
            </p:nvSpPr>
            <p:spPr>
              <a:xfrm>
                <a:off x="1593332" y="5229815"/>
                <a:ext cx="200036" cy="63441"/>
              </a:xfrm>
              <a:custGeom>
                <a:avLst/>
                <a:gdLst>
                  <a:gd name="connsiteX0" fmla="*/ 0 w 200036"/>
                  <a:gd name="connsiteY0" fmla="*/ 63442 h 63441"/>
                  <a:gd name="connsiteX1" fmla="*/ 165942 w 200036"/>
                  <a:gd name="connsiteY1" fmla="*/ 63442 h 63441"/>
                  <a:gd name="connsiteX2" fmla="*/ 200036 w 200036"/>
                  <a:gd name="connsiteY2" fmla="*/ 0 h 63441"/>
                  <a:gd name="connsiteX3" fmla="*/ 40245 w 200036"/>
                  <a:gd name="connsiteY3" fmla="*/ 0 h 63441"/>
                  <a:gd name="connsiteX4" fmla="*/ 0 w 200036"/>
                  <a:gd name="connsiteY4" fmla="*/ 63442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036" h="63441">
                    <a:moveTo>
                      <a:pt x="0" y="63442"/>
                    </a:moveTo>
                    <a:lnTo>
                      <a:pt x="165942" y="63442"/>
                    </a:lnTo>
                    <a:lnTo>
                      <a:pt x="200036" y="0"/>
                    </a:lnTo>
                    <a:lnTo>
                      <a:pt x="40245" y="0"/>
                    </a:lnTo>
                    <a:lnTo>
                      <a:pt x="0" y="63442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7" name="Полилиния: фигура 1736">
                <a:extLst>
                  <a:ext uri="{FF2B5EF4-FFF2-40B4-BE49-F238E27FC236}">
                    <a16:creationId xmlns:a16="http://schemas.microsoft.com/office/drawing/2014/main" id="{1D5C221F-2E01-452A-9F8E-147952038F35}"/>
                  </a:ext>
                </a:extLst>
              </p:cNvPr>
              <p:cNvSpPr/>
              <p:nvPr/>
            </p:nvSpPr>
            <p:spPr>
              <a:xfrm>
                <a:off x="2790097" y="5229815"/>
                <a:ext cx="170472" cy="63441"/>
              </a:xfrm>
              <a:custGeom>
                <a:avLst/>
                <a:gdLst>
                  <a:gd name="connsiteX0" fmla="*/ 159792 w 170472"/>
                  <a:gd name="connsiteY0" fmla="*/ 0 h 63441"/>
                  <a:gd name="connsiteX1" fmla="*/ 0 w 170472"/>
                  <a:gd name="connsiteY1" fmla="*/ 0 h 63441"/>
                  <a:gd name="connsiteX2" fmla="*/ 4424 w 170472"/>
                  <a:gd name="connsiteY2" fmla="*/ 63442 h 63441"/>
                  <a:gd name="connsiteX3" fmla="*/ 170473 w 170472"/>
                  <a:gd name="connsiteY3" fmla="*/ 63442 h 63441"/>
                  <a:gd name="connsiteX4" fmla="*/ 159792 w 170472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472" h="63441">
                    <a:moveTo>
                      <a:pt x="159792" y="0"/>
                    </a:moveTo>
                    <a:lnTo>
                      <a:pt x="0" y="0"/>
                    </a:lnTo>
                    <a:lnTo>
                      <a:pt x="4424" y="63442"/>
                    </a:lnTo>
                    <a:lnTo>
                      <a:pt x="170473" y="63442"/>
                    </a:lnTo>
                    <a:lnTo>
                      <a:pt x="1597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8" name="Полилиния: фигура 1737">
                <a:extLst>
                  <a:ext uri="{FF2B5EF4-FFF2-40B4-BE49-F238E27FC236}">
                    <a16:creationId xmlns:a16="http://schemas.microsoft.com/office/drawing/2014/main" id="{B93F9034-BD50-46B0-8883-2EDB1550DC27}"/>
                  </a:ext>
                </a:extLst>
              </p:cNvPr>
              <p:cNvSpPr/>
              <p:nvPr/>
            </p:nvSpPr>
            <p:spPr>
              <a:xfrm>
                <a:off x="1251415" y="5229815"/>
                <a:ext cx="349146" cy="63441"/>
              </a:xfrm>
              <a:custGeom>
                <a:avLst/>
                <a:gdLst>
                  <a:gd name="connsiteX0" fmla="*/ 349146 w 349146"/>
                  <a:gd name="connsiteY0" fmla="*/ 0 h 63441"/>
                  <a:gd name="connsiteX1" fmla="*/ 52976 w 349146"/>
                  <a:gd name="connsiteY1" fmla="*/ 0 h 63441"/>
                  <a:gd name="connsiteX2" fmla="*/ 0 w 349146"/>
                  <a:gd name="connsiteY2" fmla="*/ 63442 h 63441"/>
                  <a:gd name="connsiteX3" fmla="*/ 307607 w 349146"/>
                  <a:gd name="connsiteY3" fmla="*/ 63442 h 63441"/>
                  <a:gd name="connsiteX4" fmla="*/ 349146 w 349146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146" h="63441">
                    <a:moveTo>
                      <a:pt x="349146" y="0"/>
                    </a:moveTo>
                    <a:lnTo>
                      <a:pt x="52976" y="0"/>
                    </a:lnTo>
                    <a:lnTo>
                      <a:pt x="0" y="63442"/>
                    </a:lnTo>
                    <a:lnTo>
                      <a:pt x="307607" y="63442"/>
                    </a:lnTo>
                    <a:lnTo>
                      <a:pt x="34914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9" name="Полилиния: фигура 1738">
                <a:extLst>
                  <a:ext uri="{FF2B5EF4-FFF2-40B4-BE49-F238E27FC236}">
                    <a16:creationId xmlns:a16="http://schemas.microsoft.com/office/drawing/2014/main" id="{22E87B6F-79CF-4D06-8D0D-699A3D1E2A42}"/>
                  </a:ext>
                </a:extLst>
              </p:cNvPr>
              <p:cNvSpPr/>
              <p:nvPr/>
            </p:nvSpPr>
            <p:spPr>
              <a:xfrm>
                <a:off x="3753917" y="5229815"/>
                <a:ext cx="207696" cy="63441"/>
              </a:xfrm>
              <a:custGeom>
                <a:avLst/>
                <a:gdLst>
                  <a:gd name="connsiteX0" fmla="*/ 159792 w 207696"/>
                  <a:gd name="connsiteY0" fmla="*/ 0 h 63441"/>
                  <a:gd name="connsiteX1" fmla="*/ 0 w 207696"/>
                  <a:gd name="connsiteY1" fmla="*/ 0 h 63441"/>
                  <a:gd name="connsiteX2" fmla="*/ 41755 w 207696"/>
                  <a:gd name="connsiteY2" fmla="*/ 63442 h 63441"/>
                  <a:gd name="connsiteX3" fmla="*/ 207697 w 207696"/>
                  <a:gd name="connsiteY3" fmla="*/ 63442 h 63441"/>
                  <a:gd name="connsiteX4" fmla="*/ 159792 w 207696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696" h="63441">
                    <a:moveTo>
                      <a:pt x="159792" y="0"/>
                    </a:moveTo>
                    <a:lnTo>
                      <a:pt x="0" y="0"/>
                    </a:lnTo>
                    <a:lnTo>
                      <a:pt x="41755" y="63442"/>
                    </a:lnTo>
                    <a:lnTo>
                      <a:pt x="207697" y="63442"/>
                    </a:lnTo>
                    <a:lnTo>
                      <a:pt x="1597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0" name="Полилиния: фигура 1739">
                <a:extLst>
                  <a:ext uri="{FF2B5EF4-FFF2-40B4-BE49-F238E27FC236}">
                    <a16:creationId xmlns:a16="http://schemas.microsoft.com/office/drawing/2014/main" id="{FC72469B-A4C5-45DB-BECF-D18707E6139F}"/>
                  </a:ext>
                </a:extLst>
              </p:cNvPr>
              <p:cNvSpPr/>
              <p:nvPr/>
            </p:nvSpPr>
            <p:spPr>
              <a:xfrm>
                <a:off x="2982904" y="5229815"/>
                <a:ext cx="177809" cy="63441"/>
              </a:xfrm>
              <a:custGeom>
                <a:avLst/>
                <a:gdLst>
                  <a:gd name="connsiteX0" fmla="*/ 159684 w 177809"/>
                  <a:gd name="connsiteY0" fmla="*/ 0 h 63441"/>
                  <a:gd name="connsiteX1" fmla="*/ 0 w 177809"/>
                  <a:gd name="connsiteY1" fmla="*/ 0 h 63441"/>
                  <a:gd name="connsiteX2" fmla="*/ 11868 w 177809"/>
                  <a:gd name="connsiteY2" fmla="*/ 63442 h 63441"/>
                  <a:gd name="connsiteX3" fmla="*/ 177810 w 177809"/>
                  <a:gd name="connsiteY3" fmla="*/ 63442 h 63441"/>
                  <a:gd name="connsiteX4" fmla="*/ 159684 w 177809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809" h="63441">
                    <a:moveTo>
                      <a:pt x="159684" y="0"/>
                    </a:moveTo>
                    <a:lnTo>
                      <a:pt x="0" y="0"/>
                    </a:lnTo>
                    <a:lnTo>
                      <a:pt x="11868" y="63442"/>
                    </a:lnTo>
                    <a:lnTo>
                      <a:pt x="177810" y="63442"/>
                    </a:lnTo>
                    <a:lnTo>
                      <a:pt x="159684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1" name="Полилиния: фигура 1740">
                <a:extLst>
                  <a:ext uri="{FF2B5EF4-FFF2-40B4-BE49-F238E27FC236}">
                    <a16:creationId xmlns:a16="http://schemas.microsoft.com/office/drawing/2014/main" id="{1387E462-26BA-420A-BE8B-AA33408BD996}"/>
                  </a:ext>
                </a:extLst>
              </p:cNvPr>
              <p:cNvSpPr/>
              <p:nvPr/>
            </p:nvSpPr>
            <p:spPr>
              <a:xfrm>
                <a:off x="3561110" y="5229815"/>
                <a:ext cx="200251" cy="63441"/>
              </a:xfrm>
              <a:custGeom>
                <a:avLst/>
                <a:gdLst>
                  <a:gd name="connsiteX0" fmla="*/ 159792 w 200251"/>
                  <a:gd name="connsiteY0" fmla="*/ 0 h 63441"/>
                  <a:gd name="connsiteX1" fmla="*/ 0 w 200251"/>
                  <a:gd name="connsiteY1" fmla="*/ 0 h 63441"/>
                  <a:gd name="connsiteX2" fmla="*/ 34310 w 200251"/>
                  <a:gd name="connsiteY2" fmla="*/ 63442 h 63441"/>
                  <a:gd name="connsiteX3" fmla="*/ 200252 w 200251"/>
                  <a:gd name="connsiteY3" fmla="*/ 63442 h 63441"/>
                  <a:gd name="connsiteX4" fmla="*/ 159792 w 200251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0251" h="63441">
                    <a:moveTo>
                      <a:pt x="159792" y="0"/>
                    </a:moveTo>
                    <a:lnTo>
                      <a:pt x="0" y="0"/>
                    </a:lnTo>
                    <a:lnTo>
                      <a:pt x="34310" y="63442"/>
                    </a:lnTo>
                    <a:lnTo>
                      <a:pt x="200252" y="63442"/>
                    </a:lnTo>
                    <a:lnTo>
                      <a:pt x="1597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2" name="Полилиния: фигура 1741">
                <a:extLst>
                  <a:ext uri="{FF2B5EF4-FFF2-40B4-BE49-F238E27FC236}">
                    <a16:creationId xmlns:a16="http://schemas.microsoft.com/office/drawing/2014/main" id="{92F5854C-CDA2-4065-BC6D-30254A68259C}"/>
                  </a:ext>
                </a:extLst>
              </p:cNvPr>
              <p:cNvSpPr/>
              <p:nvPr/>
            </p:nvSpPr>
            <p:spPr>
              <a:xfrm>
                <a:off x="3175603" y="5229815"/>
                <a:ext cx="185362" cy="63441"/>
              </a:xfrm>
              <a:custGeom>
                <a:avLst/>
                <a:gdLst>
                  <a:gd name="connsiteX0" fmla="*/ 159792 w 185362"/>
                  <a:gd name="connsiteY0" fmla="*/ 0 h 63441"/>
                  <a:gd name="connsiteX1" fmla="*/ 0 w 185362"/>
                  <a:gd name="connsiteY1" fmla="*/ 0 h 63441"/>
                  <a:gd name="connsiteX2" fmla="*/ 19421 w 185362"/>
                  <a:gd name="connsiteY2" fmla="*/ 63442 h 63441"/>
                  <a:gd name="connsiteX3" fmla="*/ 185363 w 185362"/>
                  <a:gd name="connsiteY3" fmla="*/ 63442 h 63441"/>
                  <a:gd name="connsiteX4" fmla="*/ 159792 w 185362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362" h="63441">
                    <a:moveTo>
                      <a:pt x="159792" y="0"/>
                    </a:moveTo>
                    <a:lnTo>
                      <a:pt x="0" y="0"/>
                    </a:lnTo>
                    <a:lnTo>
                      <a:pt x="19421" y="63442"/>
                    </a:lnTo>
                    <a:lnTo>
                      <a:pt x="185363" y="63442"/>
                    </a:lnTo>
                    <a:lnTo>
                      <a:pt x="1597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3" name="Полилиния: фигура 1742">
                <a:extLst>
                  <a:ext uri="{FF2B5EF4-FFF2-40B4-BE49-F238E27FC236}">
                    <a16:creationId xmlns:a16="http://schemas.microsoft.com/office/drawing/2014/main" id="{3BF1E226-8FAC-4FDC-8EFF-B1E648C994ED}"/>
                  </a:ext>
                </a:extLst>
              </p:cNvPr>
              <p:cNvSpPr/>
              <p:nvPr/>
            </p:nvSpPr>
            <p:spPr>
              <a:xfrm>
                <a:off x="3368411" y="5229815"/>
                <a:ext cx="192807" cy="63441"/>
              </a:xfrm>
              <a:custGeom>
                <a:avLst/>
                <a:gdLst>
                  <a:gd name="connsiteX0" fmla="*/ 159792 w 192807"/>
                  <a:gd name="connsiteY0" fmla="*/ 0 h 63441"/>
                  <a:gd name="connsiteX1" fmla="*/ 0 w 192807"/>
                  <a:gd name="connsiteY1" fmla="*/ 0 h 63441"/>
                  <a:gd name="connsiteX2" fmla="*/ 26758 w 192807"/>
                  <a:gd name="connsiteY2" fmla="*/ 63442 h 63441"/>
                  <a:gd name="connsiteX3" fmla="*/ 192807 w 192807"/>
                  <a:gd name="connsiteY3" fmla="*/ 63442 h 63441"/>
                  <a:gd name="connsiteX4" fmla="*/ 159792 w 192807"/>
                  <a:gd name="connsiteY4" fmla="*/ 0 h 63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07" h="63441">
                    <a:moveTo>
                      <a:pt x="159792" y="0"/>
                    </a:moveTo>
                    <a:lnTo>
                      <a:pt x="0" y="0"/>
                    </a:lnTo>
                    <a:lnTo>
                      <a:pt x="26758" y="63442"/>
                    </a:lnTo>
                    <a:lnTo>
                      <a:pt x="192807" y="63442"/>
                    </a:lnTo>
                    <a:lnTo>
                      <a:pt x="15979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44" name="Рисунок 2">
              <a:extLst>
                <a:ext uri="{FF2B5EF4-FFF2-40B4-BE49-F238E27FC236}">
                  <a16:creationId xmlns:a16="http://schemas.microsoft.com/office/drawing/2014/main" id="{6A5E939F-2E60-48FC-B2E3-2F9F53B5A2F9}"/>
                </a:ext>
              </a:extLst>
            </p:cNvPr>
            <p:cNvGrpSpPr/>
            <p:nvPr/>
          </p:nvGrpSpPr>
          <p:grpSpPr>
            <a:xfrm>
              <a:off x="1309246" y="5165618"/>
              <a:ext cx="2799319" cy="128394"/>
              <a:chOff x="1309246" y="5165618"/>
              <a:chExt cx="2799319" cy="128394"/>
            </a:xfrm>
            <a:solidFill>
              <a:srgbClr val="FFFFFF"/>
            </a:solidFill>
          </p:grpSpPr>
          <p:sp>
            <p:nvSpPr>
              <p:cNvPr id="1745" name="Полилиния: фигура 1744">
                <a:extLst>
                  <a:ext uri="{FF2B5EF4-FFF2-40B4-BE49-F238E27FC236}">
                    <a16:creationId xmlns:a16="http://schemas.microsoft.com/office/drawing/2014/main" id="{DB709825-E9AB-47CB-95B7-2D78B988E0EA}"/>
                  </a:ext>
                </a:extLst>
              </p:cNvPr>
              <p:cNvSpPr/>
              <p:nvPr/>
            </p:nvSpPr>
            <p:spPr>
              <a:xfrm>
                <a:off x="2343953" y="5165618"/>
                <a:ext cx="162273" cy="58478"/>
              </a:xfrm>
              <a:custGeom>
                <a:avLst/>
                <a:gdLst>
                  <a:gd name="connsiteX0" fmla="*/ 0 w 162273"/>
                  <a:gd name="connsiteY0" fmla="*/ 58479 h 58478"/>
                  <a:gd name="connsiteX1" fmla="*/ 156015 w 162273"/>
                  <a:gd name="connsiteY1" fmla="*/ 58479 h 58478"/>
                  <a:gd name="connsiteX2" fmla="*/ 162273 w 162273"/>
                  <a:gd name="connsiteY2" fmla="*/ 0 h 58478"/>
                  <a:gd name="connsiteX3" fmla="*/ 11868 w 162273"/>
                  <a:gd name="connsiteY3" fmla="*/ 0 h 58478"/>
                  <a:gd name="connsiteX4" fmla="*/ 0 w 162273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73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62273" y="0"/>
                    </a:lnTo>
                    <a:lnTo>
                      <a:pt x="11868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6" name="Полилиния: фигура 1745">
                <a:extLst>
                  <a:ext uri="{FF2B5EF4-FFF2-40B4-BE49-F238E27FC236}">
                    <a16:creationId xmlns:a16="http://schemas.microsoft.com/office/drawing/2014/main" id="{B9AF030B-7CC4-4068-8C7B-34230FA6FF99}"/>
                  </a:ext>
                </a:extLst>
              </p:cNvPr>
              <p:cNvSpPr/>
              <p:nvPr/>
            </p:nvSpPr>
            <p:spPr>
              <a:xfrm>
                <a:off x="2155138" y="5165618"/>
                <a:ext cx="168962" cy="58478"/>
              </a:xfrm>
              <a:custGeom>
                <a:avLst/>
                <a:gdLst>
                  <a:gd name="connsiteX0" fmla="*/ 0 w 168962"/>
                  <a:gd name="connsiteY0" fmla="*/ 58479 h 58478"/>
                  <a:gd name="connsiteX1" fmla="*/ 156015 w 168962"/>
                  <a:gd name="connsiteY1" fmla="*/ 58479 h 58478"/>
                  <a:gd name="connsiteX2" fmla="*/ 168963 w 168962"/>
                  <a:gd name="connsiteY2" fmla="*/ 0 h 58478"/>
                  <a:gd name="connsiteX3" fmla="*/ 18558 w 168962"/>
                  <a:gd name="connsiteY3" fmla="*/ 0 h 58478"/>
                  <a:gd name="connsiteX4" fmla="*/ 0 w 168962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962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68963" y="0"/>
                    </a:lnTo>
                    <a:lnTo>
                      <a:pt x="18558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7" name="Полилиния: фигура 1746">
                <a:extLst>
                  <a:ext uri="{FF2B5EF4-FFF2-40B4-BE49-F238E27FC236}">
                    <a16:creationId xmlns:a16="http://schemas.microsoft.com/office/drawing/2014/main" id="{FB51AC17-C4F2-4F70-B0E0-8972C86239D2}"/>
                  </a:ext>
                </a:extLst>
              </p:cNvPr>
              <p:cNvSpPr/>
              <p:nvPr/>
            </p:nvSpPr>
            <p:spPr>
              <a:xfrm>
                <a:off x="2532876" y="5165618"/>
                <a:ext cx="156015" cy="58478"/>
              </a:xfrm>
              <a:custGeom>
                <a:avLst/>
                <a:gdLst>
                  <a:gd name="connsiteX0" fmla="*/ 0 w 156015"/>
                  <a:gd name="connsiteY0" fmla="*/ 58479 h 58478"/>
                  <a:gd name="connsiteX1" fmla="*/ 156015 w 156015"/>
                  <a:gd name="connsiteY1" fmla="*/ 58479 h 58478"/>
                  <a:gd name="connsiteX2" fmla="*/ 155476 w 156015"/>
                  <a:gd name="connsiteY2" fmla="*/ 0 h 58478"/>
                  <a:gd name="connsiteX3" fmla="*/ 5071 w 156015"/>
                  <a:gd name="connsiteY3" fmla="*/ 0 h 58478"/>
                  <a:gd name="connsiteX4" fmla="*/ 0 w 156015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015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55476" y="0"/>
                    </a:lnTo>
                    <a:lnTo>
                      <a:pt x="5071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8" name="Полилиния: фигура 1747">
                <a:extLst>
                  <a:ext uri="{FF2B5EF4-FFF2-40B4-BE49-F238E27FC236}">
                    <a16:creationId xmlns:a16="http://schemas.microsoft.com/office/drawing/2014/main" id="{DAFAF082-51FE-4BE0-9677-3F7AC8E3F50B}"/>
                  </a:ext>
                </a:extLst>
              </p:cNvPr>
              <p:cNvSpPr/>
              <p:nvPr/>
            </p:nvSpPr>
            <p:spPr>
              <a:xfrm>
                <a:off x="1588477" y="5165618"/>
                <a:ext cx="189246" cy="58478"/>
              </a:xfrm>
              <a:custGeom>
                <a:avLst/>
                <a:gdLst>
                  <a:gd name="connsiteX0" fmla="*/ 0 w 189246"/>
                  <a:gd name="connsiteY0" fmla="*/ 58479 h 58478"/>
                  <a:gd name="connsiteX1" fmla="*/ 156015 w 189246"/>
                  <a:gd name="connsiteY1" fmla="*/ 58479 h 58478"/>
                  <a:gd name="connsiteX2" fmla="*/ 189247 w 189246"/>
                  <a:gd name="connsiteY2" fmla="*/ 0 h 58478"/>
                  <a:gd name="connsiteX3" fmla="*/ 38842 w 189246"/>
                  <a:gd name="connsiteY3" fmla="*/ 0 h 58478"/>
                  <a:gd name="connsiteX4" fmla="*/ 0 w 189246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9246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89247" y="0"/>
                    </a:lnTo>
                    <a:lnTo>
                      <a:pt x="38842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9" name="Полилиния: фигура 1748">
                <a:extLst>
                  <a:ext uri="{FF2B5EF4-FFF2-40B4-BE49-F238E27FC236}">
                    <a16:creationId xmlns:a16="http://schemas.microsoft.com/office/drawing/2014/main" id="{AE929D43-2C5C-449C-B617-E924AA556A7E}"/>
                  </a:ext>
                </a:extLst>
              </p:cNvPr>
              <p:cNvSpPr/>
              <p:nvPr/>
            </p:nvSpPr>
            <p:spPr>
              <a:xfrm>
                <a:off x="1777292" y="5165618"/>
                <a:ext cx="182557" cy="58478"/>
              </a:xfrm>
              <a:custGeom>
                <a:avLst/>
                <a:gdLst>
                  <a:gd name="connsiteX0" fmla="*/ 0 w 182557"/>
                  <a:gd name="connsiteY0" fmla="*/ 58479 h 58478"/>
                  <a:gd name="connsiteX1" fmla="*/ 156015 w 182557"/>
                  <a:gd name="connsiteY1" fmla="*/ 58479 h 58478"/>
                  <a:gd name="connsiteX2" fmla="*/ 182557 w 182557"/>
                  <a:gd name="connsiteY2" fmla="*/ 0 h 58478"/>
                  <a:gd name="connsiteX3" fmla="*/ 32153 w 182557"/>
                  <a:gd name="connsiteY3" fmla="*/ 0 h 58478"/>
                  <a:gd name="connsiteX4" fmla="*/ 0 w 182557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57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82557" y="0"/>
                    </a:lnTo>
                    <a:lnTo>
                      <a:pt x="32153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0" name="Полилиния: фигура 1749">
                <a:extLst>
                  <a:ext uri="{FF2B5EF4-FFF2-40B4-BE49-F238E27FC236}">
                    <a16:creationId xmlns:a16="http://schemas.microsoft.com/office/drawing/2014/main" id="{7E1460C7-198A-43DD-9A2A-3C2BD4A99608}"/>
                  </a:ext>
                </a:extLst>
              </p:cNvPr>
              <p:cNvSpPr/>
              <p:nvPr/>
            </p:nvSpPr>
            <p:spPr>
              <a:xfrm>
                <a:off x="2720073" y="5165618"/>
                <a:ext cx="157741" cy="58478"/>
              </a:xfrm>
              <a:custGeom>
                <a:avLst/>
                <a:gdLst>
                  <a:gd name="connsiteX0" fmla="*/ 1618 w 157741"/>
                  <a:gd name="connsiteY0" fmla="*/ 58479 h 58478"/>
                  <a:gd name="connsiteX1" fmla="*/ 157742 w 157741"/>
                  <a:gd name="connsiteY1" fmla="*/ 58479 h 58478"/>
                  <a:gd name="connsiteX2" fmla="*/ 150405 w 157741"/>
                  <a:gd name="connsiteY2" fmla="*/ 0 h 58478"/>
                  <a:gd name="connsiteX3" fmla="*/ 0 w 157741"/>
                  <a:gd name="connsiteY3" fmla="*/ 0 h 58478"/>
                  <a:gd name="connsiteX4" fmla="*/ 1618 w 157741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741" h="58478">
                    <a:moveTo>
                      <a:pt x="1618" y="58479"/>
                    </a:moveTo>
                    <a:lnTo>
                      <a:pt x="157742" y="58479"/>
                    </a:lnTo>
                    <a:lnTo>
                      <a:pt x="150405" y="0"/>
                    </a:lnTo>
                    <a:lnTo>
                      <a:pt x="0" y="0"/>
                    </a:lnTo>
                    <a:lnTo>
                      <a:pt x="1618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1" name="Полилиния: фигура 1750">
                <a:extLst>
                  <a:ext uri="{FF2B5EF4-FFF2-40B4-BE49-F238E27FC236}">
                    <a16:creationId xmlns:a16="http://schemas.microsoft.com/office/drawing/2014/main" id="{C4B01AEE-0547-4F35-ACFB-4932E4133C70}"/>
                  </a:ext>
                </a:extLst>
              </p:cNvPr>
              <p:cNvSpPr/>
              <p:nvPr/>
            </p:nvSpPr>
            <p:spPr>
              <a:xfrm>
                <a:off x="1966215" y="5165618"/>
                <a:ext cx="175759" cy="58478"/>
              </a:xfrm>
              <a:custGeom>
                <a:avLst/>
                <a:gdLst>
                  <a:gd name="connsiteX0" fmla="*/ 0 w 175759"/>
                  <a:gd name="connsiteY0" fmla="*/ 58479 h 58478"/>
                  <a:gd name="connsiteX1" fmla="*/ 156015 w 175759"/>
                  <a:gd name="connsiteY1" fmla="*/ 58479 h 58478"/>
                  <a:gd name="connsiteX2" fmla="*/ 175760 w 175759"/>
                  <a:gd name="connsiteY2" fmla="*/ 0 h 58478"/>
                  <a:gd name="connsiteX3" fmla="*/ 25355 w 175759"/>
                  <a:gd name="connsiteY3" fmla="*/ 0 h 58478"/>
                  <a:gd name="connsiteX4" fmla="*/ 0 w 175759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759" h="58478">
                    <a:moveTo>
                      <a:pt x="0" y="58479"/>
                    </a:moveTo>
                    <a:lnTo>
                      <a:pt x="156015" y="58479"/>
                    </a:lnTo>
                    <a:lnTo>
                      <a:pt x="175760" y="0"/>
                    </a:lnTo>
                    <a:lnTo>
                      <a:pt x="25355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2" name="Полилиния: фигура 1751">
                <a:extLst>
                  <a:ext uri="{FF2B5EF4-FFF2-40B4-BE49-F238E27FC236}">
                    <a16:creationId xmlns:a16="http://schemas.microsoft.com/office/drawing/2014/main" id="{AEDFB2CF-9953-4BF9-B7B8-4C88F87AC0FD}"/>
                  </a:ext>
                </a:extLst>
              </p:cNvPr>
              <p:cNvSpPr/>
              <p:nvPr/>
            </p:nvSpPr>
            <p:spPr>
              <a:xfrm>
                <a:off x="3844440" y="5165618"/>
                <a:ext cx="264125" cy="128394"/>
              </a:xfrm>
              <a:custGeom>
                <a:avLst/>
                <a:gdLst>
                  <a:gd name="connsiteX0" fmla="*/ 158389 w 264125"/>
                  <a:gd name="connsiteY0" fmla="*/ 0 h 128394"/>
                  <a:gd name="connsiteX1" fmla="*/ 0 w 264125"/>
                  <a:gd name="connsiteY1" fmla="*/ 0 h 128394"/>
                  <a:gd name="connsiteX2" fmla="*/ 43373 w 264125"/>
                  <a:gd name="connsiteY2" fmla="*/ 58479 h 128394"/>
                  <a:gd name="connsiteX3" fmla="*/ 82000 w 264125"/>
                  <a:gd name="connsiteY3" fmla="*/ 58479 h 128394"/>
                  <a:gd name="connsiteX4" fmla="*/ 96458 w 264125"/>
                  <a:gd name="connsiteY4" fmla="*/ 62471 h 128394"/>
                  <a:gd name="connsiteX5" fmla="*/ 147384 w 264125"/>
                  <a:gd name="connsiteY5" fmla="*/ 128394 h 128394"/>
                  <a:gd name="connsiteX6" fmla="*/ 264125 w 264125"/>
                  <a:gd name="connsiteY6" fmla="*/ 128394 h 128394"/>
                  <a:gd name="connsiteX7" fmla="*/ 158389 w 264125"/>
                  <a:gd name="connsiteY7" fmla="*/ 0 h 128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4125" h="128394">
                    <a:moveTo>
                      <a:pt x="158389" y="0"/>
                    </a:moveTo>
                    <a:lnTo>
                      <a:pt x="0" y="0"/>
                    </a:lnTo>
                    <a:lnTo>
                      <a:pt x="43373" y="58479"/>
                    </a:lnTo>
                    <a:lnTo>
                      <a:pt x="82000" y="58479"/>
                    </a:lnTo>
                    <a:cubicBezTo>
                      <a:pt x="88258" y="58479"/>
                      <a:pt x="94731" y="60313"/>
                      <a:pt x="96458" y="62471"/>
                    </a:cubicBezTo>
                    <a:lnTo>
                      <a:pt x="147384" y="128394"/>
                    </a:lnTo>
                    <a:lnTo>
                      <a:pt x="264125" y="128394"/>
                    </a:lnTo>
                    <a:lnTo>
                      <a:pt x="158389" y="0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3" name="Полилиния: фигура 1752">
                <a:extLst>
                  <a:ext uri="{FF2B5EF4-FFF2-40B4-BE49-F238E27FC236}">
                    <a16:creationId xmlns:a16="http://schemas.microsoft.com/office/drawing/2014/main" id="{087155AD-73FB-4265-981A-8F13A231F5AF}"/>
                  </a:ext>
                </a:extLst>
              </p:cNvPr>
              <p:cNvSpPr/>
              <p:nvPr/>
            </p:nvSpPr>
            <p:spPr>
              <a:xfrm>
                <a:off x="3448576" y="5165618"/>
                <a:ext cx="184715" cy="58478"/>
              </a:xfrm>
              <a:custGeom>
                <a:avLst/>
                <a:gdLst>
                  <a:gd name="connsiteX0" fmla="*/ 28700 w 184715"/>
                  <a:gd name="connsiteY0" fmla="*/ 58479 h 58478"/>
                  <a:gd name="connsiteX1" fmla="*/ 184715 w 184715"/>
                  <a:gd name="connsiteY1" fmla="*/ 58479 h 58478"/>
                  <a:gd name="connsiteX2" fmla="*/ 150405 w 184715"/>
                  <a:gd name="connsiteY2" fmla="*/ 0 h 58478"/>
                  <a:gd name="connsiteX3" fmla="*/ 0 w 184715"/>
                  <a:gd name="connsiteY3" fmla="*/ 0 h 58478"/>
                  <a:gd name="connsiteX4" fmla="*/ 28700 w 184715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4715" h="58478">
                    <a:moveTo>
                      <a:pt x="28700" y="58479"/>
                    </a:moveTo>
                    <a:lnTo>
                      <a:pt x="184715" y="58479"/>
                    </a:lnTo>
                    <a:lnTo>
                      <a:pt x="150405" y="0"/>
                    </a:lnTo>
                    <a:lnTo>
                      <a:pt x="0" y="0"/>
                    </a:lnTo>
                    <a:lnTo>
                      <a:pt x="2870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4" name="Полилиния: фигура 1753">
                <a:extLst>
                  <a:ext uri="{FF2B5EF4-FFF2-40B4-BE49-F238E27FC236}">
                    <a16:creationId xmlns:a16="http://schemas.microsoft.com/office/drawing/2014/main" id="{0FD94786-81B7-48A9-87F2-107F0DCD0EB3}"/>
                  </a:ext>
                </a:extLst>
              </p:cNvPr>
              <p:cNvSpPr/>
              <p:nvPr/>
            </p:nvSpPr>
            <p:spPr>
              <a:xfrm>
                <a:off x="3630702" y="5165618"/>
                <a:ext cx="224312" cy="58478"/>
              </a:xfrm>
              <a:custGeom>
                <a:avLst/>
                <a:gdLst>
                  <a:gd name="connsiteX0" fmla="*/ 35389 w 224312"/>
                  <a:gd name="connsiteY0" fmla="*/ 58479 h 58478"/>
                  <a:gd name="connsiteX1" fmla="*/ 224312 w 224312"/>
                  <a:gd name="connsiteY1" fmla="*/ 58479 h 58478"/>
                  <a:gd name="connsiteX2" fmla="*/ 182126 w 224312"/>
                  <a:gd name="connsiteY2" fmla="*/ 0 h 58478"/>
                  <a:gd name="connsiteX3" fmla="*/ 0 w 224312"/>
                  <a:gd name="connsiteY3" fmla="*/ 0 h 58478"/>
                  <a:gd name="connsiteX4" fmla="*/ 35389 w 224312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4312" h="58478">
                    <a:moveTo>
                      <a:pt x="35389" y="58479"/>
                    </a:moveTo>
                    <a:lnTo>
                      <a:pt x="224312" y="58479"/>
                    </a:lnTo>
                    <a:lnTo>
                      <a:pt x="182126" y="0"/>
                    </a:lnTo>
                    <a:lnTo>
                      <a:pt x="0" y="0"/>
                    </a:lnTo>
                    <a:lnTo>
                      <a:pt x="35389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5" name="Полилиния: фигура 1754">
                <a:extLst>
                  <a:ext uri="{FF2B5EF4-FFF2-40B4-BE49-F238E27FC236}">
                    <a16:creationId xmlns:a16="http://schemas.microsoft.com/office/drawing/2014/main" id="{465CC797-D654-4C2D-A444-AEFC80D5F496}"/>
                  </a:ext>
                </a:extLst>
              </p:cNvPr>
              <p:cNvSpPr/>
              <p:nvPr/>
            </p:nvSpPr>
            <p:spPr>
              <a:xfrm>
                <a:off x="1309246" y="5165618"/>
                <a:ext cx="286351" cy="58478"/>
              </a:xfrm>
              <a:custGeom>
                <a:avLst/>
                <a:gdLst>
                  <a:gd name="connsiteX0" fmla="*/ 0 w 286351"/>
                  <a:gd name="connsiteY0" fmla="*/ 58479 h 58478"/>
                  <a:gd name="connsiteX1" fmla="*/ 246323 w 286351"/>
                  <a:gd name="connsiteY1" fmla="*/ 58479 h 58478"/>
                  <a:gd name="connsiteX2" fmla="*/ 286352 w 286351"/>
                  <a:gd name="connsiteY2" fmla="*/ 0 h 58478"/>
                  <a:gd name="connsiteX3" fmla="*/ 48876 w 286351"/>
                  <a:gd name="connsiteY3" fmla="*/ 0 h 58478"/>
                  <a:gd name="connsiteX4" fmla="*/ 0 w 286351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6351" h="58478">
                    <a:moveTo>
                      <a:pt x="0" y="58479"/>
                    </a:moveTo>
                    <a:lnTo>
                      <a:pt x="246323" y="58479"/>
                    </a:lnTo>
                    <a:lnTo>
                      <a:pt x="286352" y="0"/>
                    </a:lnTo>
                    <a:lnTo>
                      <a:pt x="48876" y="0"/>
                    </a:lnTo>
                    <a:lnTo>
                      <a:pt x="0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6" name="Полилиния: фигура 1755">
                <a:extLst>
                  <a:ext uri="{FF2B5EF4-FFF2-40B4-BE49-F238E27FC236}">
                    <a16:creationId xmlns:a16="http://schemas.microsoft.com/office/drawing/2014/main" id="{0740B2DF-17A5-457C-A808-C5B216C46966}"/>
                  </a:ext>
                </a:extLst>
              </p:cNvPr>
              <p:cNvSpPr/>
              <p:nvPr/>
            </p:nvSpPr>
            <p:spPr>
              <a:xfrm>
                <a:off x="2902199" y="5165618"/>
                <a:ext cx="164430" cy="58478"/>
              </a:xfrm>
              <a:custGeom>
                <a:avLst/>
                <a:gdLst>
                  <a:gd name="connsiteX0" fmla="*/ 8416 w 164430"/>
                  <a:gd name="connsiteY0" fmla="*/ 58479 h 58478"/>
                  <a:gd name="connsiteX1" fmla="*/ 164431 w 164430"/>
                  <a:gd name="connsiteY1" fmla="*/ 58479 h 58478"/>
                  <a:gd name="connsiteX2" fmla="*/ 150405 w 164430"/>
                  <a:gd name="connsiteY2" fmla="*/ 0 h 58478"/>
                  <a:gd name="connsiteX3" fmla="*/ 0 w 164430"/>
                  <a:gd name="connsiteY3" fmla="*/ 0 h 58478"/>
                  <a:gd name="connsiteX4" fmla="*/ 8416 w 164430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30" h="58478">
                    <a:moveTo>
                      <a:pt x="8416" y="58479"/>
                    </a:moveTo>
                    <a:lnTo>
                      <a:pt x="164431" y="58479"/>
                    </a:lnTo>
                    <a:lnTo>
                      <a:pt x="150405" y="0"/>
                    </a:lnTo>
                    <a:lnTo>
                      <a:pt x="0" y="0"/>
                    </a:lnTo>
                    <a:lnTo>
                      <a:pt x="8416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7" name="Полилиния: фигура 1756">
                <a:extLst>
                  <a:ext uri="{FF2B5EF4-FFF2-40B4-BE49-F238E27FC236}">
                    <a16:creationId xmlns:a16="http://schemas.microsoft.com/office/drawing/2014/main" id="{11E61161-2DD8-44F4-82F3-68992458E5F3}"/>
                  </a:ext>
                </a:extLst>
              </p:cNvPr>
              <p:cNvSpPr/>
              <p:nvPr/>
            </p:nvSpPr>
            <p:spPr>
              <a:xfrm>
                <a:off x="3266450" y="5165618"/>
                <a:ext cx="177917" cy="58478"/>
              </a:xfrm>
              <a:custGeom>
                <a:avLst/>
                <a:gdLst>
                  <a:gd name="connsiteX0" fmla="*/ 21903 w 177917"/>
                  <a:gd name="connsiteY0" fmla="*/ 58479 h 58478"/>
                  <a:gd name="connsiteX1" fmla="*/ 177918 w 177917"/>
                  <a:gd name="connsiteY1" fmla="*/ 58479 h 58478"/>
                  <a:gd name="connsiteX2" fmla="*/ 150405 w 177917"/>
                  <a:gd name="connsiteY2" fmla="*/ 0 h 58478"/>
                  <a:gd name="connsiteX3" fmla="*/ 0 w 177917"/>
                  <a:gd name="connsiteY3" fmla="*/ 0 h 58478"/>
                  <a:gd name="connsiteX4" fmla="*/ 21903 w 177917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917" h="58478">
                    <a:moveTo>
                      <a:pt x="21903" y="58479"/>
                    </a:moveTo>
                    <a:lnTo>
                      <a:pt x="177918" y="58479"/>
                    </a:lnTo>
                    <a:lnTo>
                      <a:pt x="150405" y="0"/>
                    </a:lnTo>
                    <a:lnTo>
                      <a:pt x="0" y="0"/>
                    </a:lnTo>
                    <a:lnTo>
                      <a:pt x="21903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8" name="Полилиния: фигура 1757">
                <a:extLst>
                  <a:ext uri="{FF2B5EF4-FFF2-40B4-BE49-F238E27FC236}">
                    <a16:creationId xmlns:a16="http://schemas.microsoft.com/office/drawing/2014/main" id="{F9E2957D-D86A-420A-A362-614C452F8389}"/>
                  </a:ext>
                </a:extLst>
              </p:cNvPr>
              <p:cNvSpPr/>
              <p:nvPr/>
            </p:nvSpPr>
            <p:spPr>
              <a:xfrm>
                <a:off x="3084324" y="5165618"/>
                <a:ext cx="171228" cy="58478"/>
              </a:xfrm>
              <a:custGeom>
                <a:avLst/>
                <a:gdLst>
                  <a:gd name="connsiteX0" fmla="*/ 15213 w 171228"/>
                  <a:gd name="connsiteY0" fmla="*/ 58479 h 58478"/>
                  <a:gd name="connsiteX1" fmla="*/ 171228 w 171228"/>
                  <a:gd name="connsiteY1" fmla="*/ 58479 h 58478"/>
                  <a:gd name="connsiteX2" fmla="*/ 150405 w 171228"/>
                  <a:gd name="connsiteY2" fmla="*/ 0 h 58478"/>
                  <a:gd name="connsiteX3" fmla="*/ 0 w 171228"/>
                  <a:gd name="connsiteY3" fmla="*/ 0 h 58478"/>
                  <a:gd name="connsiteX4" fmla="*/ 15213 w 171228"/>
                  <a:gd name="connsiteY4" fmla="*/ 58479 h 58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228" h="58478">
                    <a:moveTo>
                      <a:pt x="15213" y="58479"/>
                    </a:moveTo>
                    <a:lnTo>
                      <a:pt x="171228" y="58479"/>
                    </a:lnTo>
                    <a:lnTo>
                      <a:pt x="150405" y="0"/>
                    </a:lnTo>
                    <a:lnTo>
                      <a:pt x="0" y="0"/>
                    </a:lnTo>
                    <a:lnTo>
                      <a:pt x="15213" y="58479"/>
                    </a:lnTo>
                    <a:close/>
                  </a:path>
                </a:pathLst>
              </a:custGeom>
              <a:solidFill>
                <a:srgbClr val="FFFFFF"/>
              </a:solidFill>
              <a:ln w="11424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pic>
        <p:nvPicPr>
          <p:cNvPr id="272" name="ОТП_Logo">
            <a:extLst>
              <a:ext uri="{FF2B5EF4-FFF2-40B4-BE49-F238E27FC236}">
                <a16:creationId xmlns:a16="http://schemas.microsoft.com/office/drawing/2014/main" id="{84B4ECE1-E3FC-4088-88D0-4DE39613CE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593624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16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ccel="45000" decel="4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16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2.91667E-6 0.03264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6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62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repeatCount="indefinite" accel="50000" decel="50000" autoRev="1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3.7037E-6 L -0.03907 3.7037E-6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16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53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3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3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5" presetClass="path" presetSubtype="0" repeatCount="indefinite" accel="50000" decel="50000" autoRev="1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7.40741E-7 L -0.06159 -7.40741E-7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12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86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35" presetClass="path" presetSubtype="0" repeatCount="indefinite" accel="50000" decel="50000" autoRev="1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4.07407E-6 L 0.04297 4.07407E-6 " pathEditMode="relative" rAng="0" ptsTypes="AA">
                                      <p:cBhvr>
                                        <p:cTn id="20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61" grpId="0" animBg="1"/>
      <p:bldP spid="1280" grpId="0" animBg="1"/>
      <p:bldP spid="16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294695D1-1303-495B-9325-4C50B74DA4EE}"/>
              </a:ext>
            </a:extLst>
          </p:cNvPr>
          <p:cNvGrpSpPr/>
          <p:nvPr/>
        </p:nvGrpSpPr>
        <p:grpSpPr>
          <a:xfrm>
            <a:off x="12559247" y="1313186"/>
            <a:ext cx="4831039" cy="3881770"/>
            <a:chOff x="7730281" y="1313186"/>
            <a:chExt cx="4831039" cy="3881770"/>
          </a:xfrm>
        </p:grpSpPr>
        <p:sp>
          <p:nvSpPr>
            <p:cNvPr id="110" name="Rounded Rectangle">
              <a:extLst>
                <a:ext uri="{FF2B5EF4-FFF2-40B4-BE49-F238E27FC236}">
                  <a16:creationId xmlns:a16="http://schemas.microsoft.com/office/drawing/2014/main" id="{576C88C3-7FA8-4D04-9CC9-95D3573A1484}"/>
                </a:ext>
              </a:extLst>
            </p:cNvPr>
            <p:cNvSpPr/>
            <p:nvPr/>
          </p:nvSpPr>
          <p:spPr>
            <a:xfrm>
              <a:off x="7730281" y="2395395"/>
              <a:ext cx="4831039" cy="2799561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89000"/>
              </a:schemeClr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  <a:reflection endPos="0" dist="50800" dir="5400000" sy="-100000" algn="bl" rotWithShape="0"/>
              <a:softEdge rad="0"/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1" name="Описание">
              <a:extLst>
                <a:ext uri="{FF2B5EF4-FFF2-40B4-BE49-F238E27FC236}">
                  <a16:creationId xmlns:a16="http://schemas.microsoft.com/office/drawing/2014/main" id="{567CEB69-9174-485C-81F5-4ECC247B61AA}"/>
                </a:ext>
              </a:extLst>
            </p:cNvPr>
            <p:cNvSpPr txBox="1"/>
            <p:nvPr/>
          </p:nvSpPr>
          <p:spPr>
            <a:xfrm>
              <a:off x="7982262" y="1313186"/>
              <a:ext cx="21339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>
                  <a:solidFill>
                    <a:schemeClr val="accent2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дачи </a:t>
              </a:r>
              <a:r>
                <a:rPr lang="en-US" b="1" dirty="0">
                  <a:solidFill>
                    <a:schemeClr val="accent2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lient Gate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</p:grpSp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-14259" y="265430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9DA9F920-0DD6-4A33-A7B3-3F833741F5DD}"/>
              </a:ext>
            </a:extLst>
          </p:cNvPr>
          <p:cNvGrpSpPr/>
          <p:nvPr/>
        </p:nvGrpSpPr>
        <p:grpSpPr>
          <a:xfrm rot="7231138">
            <a:off x="6857899" y="2486901"/>
            <a:ext cx="708842" cy="409681"/>
            <a:chOff x="2615298" y="2868391"/>
            <a:chExt cx="1041708" cy="602064"/>
          </a:xfrm>
        </p:grpSpPr>
        <p:pic>
          <p:nvPicPr>
            <p:cNvPr id="87" name="Рисунок 86">
              <a:extLst>
                <a:ext uri="{FF2B5EF4-FFF2-40B4-BE49-F238E27FC236}">
                  <a16:creationId xmlns:a16="http://schemas.microsoft.com/office/drawing/2014/main" id="{2A1ABD94-0CDD-44D0-A8FE-CA51B28904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88" name="Рисунок 87">
              <a:extLst>
                <a:ext uri="{FF2B5EF4-FFF2-40B4-BE49-F238E27FC236}">
                  <a16:creationId xmlns:a16="http://schemas.microsoft.com/office/drawing/2014/main" id="{82D3A505-2CFD-4227-B2B2-BD19465A3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83321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Разработка собственной </a:t>
            </a:r>
            <a:r>
              <a:rPr lang="en-US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CRM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D877FD25-3303-471F-90E6-5D2FCF6DAD96}"/>
              </a:ext>
            </a:extLst>
          </p:cNvPr>
          <p:cNvGrpSpPr/>
          <p:nvPr/>
        </p:nvGrpSpPr>
        <p:grpSpPr>
          <a:xfrm>
            <a:off x="2175911" y="1764940"/>
            <a:ext cx="3694129" cy="3919339"/>
            <a:chOff x="771558" y="1774656"/>
            <a:chExt cx="3694129" cy="3919339"/>
          </a:xfrm>
        </p:grpSpPr>
        <p:sp>
          <p:nvSpPr>
            <p:cNvPr id="56" name="Shape_фон">
              <a:extLst>
                <a:ext uri="{FF2B5EF4-FFF2-40B4-BE49-F238E27FC236}">
                  <a16:creationId xmlns:a16="http://schemas.microsoft.com/office/drawing/2014/main" id="{0DB3213E-D772-46A9-88CA-A5D1DEFB56D5}"/>
                </a:ext>
              </a:extLst>
            </p:cNvPr>
            <p:cNvSpPr/>
            <p:nvPr/>
          </p:nvSpPr>
          <p:spPr>
            <a:xfrm>
              <a:off x="771558" y="1774656"/>
              <a:ext cx="3694129" cy="39193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я</a:t>
              </a:r>
            </a:p>
          </p:txBody>
        </p:sp>
        <p:sp>
          <p:nvSpPr>
            <p:cNvPr id="57" name="Motion design">
              <a:extLst>
                <a:ext uri="{FF2B5EF4-FFF2-40B4-BE49-F238E27FC236}">
                  <a16:creationId xmlns:a16="http://schemas.microsoft.com/office/drawing/2014/main" id="{9CF2B038-9A1D-4B2D-8B00-E79FBB62FEB3}"/>
                </a:ext>
              </a:extLst>
            </p:cNvPr>
            <p:cNvSpPr txBox="1"/>
            <p:nvPr/>
          </p:nvSpPr>
          <p:spPr>
            <a:xfrm>
              <a:off x="1020224" y="2790477"/>
              <a:ext cx="2933236" cy="24947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effectLst/>
                  <a:latin typeface="Helvetica Neue" panose="02000503000000020004" pitchFamily="2" charset="0"/>
                </a:rPr>
                <a:t>Единая клиентская база.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CR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-система может не хранить данные, которые есть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. </a:t>
              </a:r>
              <a:r>
                <a:rPr lang="en-US" sz="1400" dirty="0">
                  <a:latin typeface="Helvetica Neue" panose="02000503000000020004" pitchFamily="2" charset="0"/>
                </a:rPr>
                <a:t>CRM </a:t>
              </a:r>
              <a:r>
                <a:rPr lang="ru-RU" sz="1400" dirty="0">
                  <a:latin typeface="Helvetica Neue" panose="02000503000000020004" pitchFamily="2" charset="0"/>
                </a:rPr>
                <a:t>следит за клиентами в </a:t>
              </a:r>
              <a:r>
                <a:rPr lang="en-US" sz="1400" dirty="0">
                  <a:latin typeface="Helvetica Neue" panose="02000503000000020004" pitchFamily="2" charset="0"/>
                </a:rPr>
                <a:t>MDM</a:t>
              </a:r>
              <a:endParaRPr lang="ru-RU" sz="1400" dirty="0">
                <a:latin typeface="Helvetica Neue" panose="02000503000000020004" pitchFamily="2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endParaRPr lang="ru-RU" sz="1400" dirty="0">
                <a:effectLst/>
                <a:latin typeface="Helvetica Neue" panose="02000503000000020004" pitchFamily="2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Helvetica Neue" panose="02000503000000020004" pitchFamily="2" charset="0"/>
                </a:rPr>
                <a:t>Отказ от кросс-ссылок между системами. Все ссылки хранятся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endParaRPr lang="ru-RU" sz="1400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id="{D187AE24-559F-429C-BED4-2F81C9FDCF9E}"/>
                </a:ext>
              </a:extLst>
            </p:cNvPr>
            <p:cNvGrpSpPr/>
            <p:nvPr/>
          </p:nvGrpSpPr>
          <p:grpSpPr>
            <a:xfrm>
              <a:off x="858511" y="2040092"/>
              <a:ext cx="3355935" cy="480583"/>
              <a:chOff x="858511" y="2040092"/>
              <a:chExt cx="3355935" cy="480583"/>
            </a:xfrm>
          </p:grpSpPr>
          <p:sp>
            <p:nvSpPr>
              <p:cNvPr id="59" name="Rounded Rectangle">
                <a:extLst>
                  <a:ext uri="{FF2B5EF4-FFF2-40B4-BE49-F238E27FC236}">
                    <a16:creationId xmlns:a16="http://schemas.microsoft.com/office/drawing/2014/main" id="{C7775A59-D647-4F0E-893F-68DDCD4B9BAA}"/>
                  </a:ext>
                </a:extLst>
              </p:cNvPr>
              <p:cNvSpPr/>
              <p:nvPr/>
            </p:nvSpPr>
            <p:spPr>
              <a:xfrm>
                <a:off x="858511" y="2040092"/>
                <a:ext cx="3355935" cy="48058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412750" hangingPunct="0"/>
                <a:endParaRPr lang="ru-RU" sz="1600" kern="0" dirty="0">
                  <a:solidFill>
                    <a:srgbClr val="FFFFFF"/>
                  </a:solidFill>
                  <a:latin typeface="Akrobat" panose="00000600000000000000" pitchFamily="50" charset="-52"/>
                  <a:cs typeface="Poppins Bold"/>
                  <a:sym typeface="Poppins Bold"/>
                </a:endParaRPr>
              </a:p>
            </p:txBody>
          </p:sp>
          <p:sp>
            <p:nvSpPr>
              <p:cNvPr id="60" name="Circle">
                <a:extLst>
                  <a:ext uri="{FF2B5EF4-FFF2-40B4-BE49-F238E27FC236}">
                    <a16:creationId xmlns:a16="http://schemas.microsoft.com/office/drawing/2014/main" id="{711A003B-6091-4FBE-B5D8-B3EDD2ABB2E9}"/>
                  </a:ext>
                </a:extLst>
              </p:cNvPr>
              <p:cNvSpPr/>
              <p:nvPr/>
            </p:nvSpPr>
            <p:spPr>
              <a:xfrm>
                <a:off x="997752" y="2115116"/>
                <a:ext cx="335294" cy="335294"/>
              </a:xfrm>
              <a:prstGeom prst="ellipse">
                <a:avLst/>
              </a:prstGeom>
              <a:solidFill>
                <a:schemeClr val="accent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chemeClr val="accent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1" name="Описание">
                <a:extLst>
                  <a:ext uri="{FF2B5EF4-FFF2-40B4-BE49-F238E27FC236}">
                    <a16:creationId xmlns:a16="http://schemas.microsoft.com/office/drawing/2014/main" id="{8438026B-92F9-4DC6-B80C-934E1CB622F0}"/>
                  </a:ext>
                </a:extLst>
              </p:cNvPr>
              <p:cNvSpPr txBox="1"/>
              <p:nvPr/>
            </p:nvSpPr>
            <p:spPr>
              <a:xfrm>
                <a:off x="1376470" y="2095717"/>
                <a:ext cx="153294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b="1" dirty="0">
                    <a:solidFill>
                      <a:schemeClr val="accent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люсы</a:t>
                </a:r>
                <a:endPara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223351D3-EE52-4268-9ED0-DD4E8C47F3B3}"/>
              </a:ext>
            </a:extLst>
          </p:cNvPr>
          <p:cNvGrpSpPr/>
          <p:nvPr/>
        </p:nvGrpSpPr>
        <p:grpSpPr>
          <a:xfrm rot="5400000">
            <a:off x="8150600" y="3453488"/>
            <a:ext cx="708842" cy="409681"/>
            <a:chOff x="2615298" y="2868391"/>
            <a:chExt cx="1041708" cy="602064"/>
          </a:xfrm>
        </p:grpSpPr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EB1AB7D1-A752-4F6C-A1C2-765073814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0" name="Рисунок 69">
              <a:extLst>
                <a:ext uri="{FF2B5EF4-FFF2-40B4-BE49-F238E27FC236}">
                  <a16:creationId xmlns:a16="http://schemas.microsoft.com/office/drawing/2014/main" id="{4A8479E0-4B9F-4A97-8638-E4218C3981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4C6F96C9-6F69-4BFD-A4CE-4F777178CA4F}"/>
              </a:ext>
            </a:extLst>
          </p:cNvPr>
          <p:cNvGrpSpPr/>
          <p:nvPr/>
        </p:nvGrpSpPr>
        <p:grpSpPr>
          <a:xfrm rot="16200000" flipH="1">
            <a:off x="6875211" y="3453488"/>
            <a:ext cx="708842" cy="409681"/>
            <a:chOff x="2615298" y="2868391"/>
            <a:chExt cx="1041708" cy="602064"/>
          </a:xfrm>
        </p:grpSpPr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B286CB04-2AC9-4D9B-9D2F-A025DA3738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id="{6F6ADD90-05C2-48BD-9DB2-972E98DEC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F9F71123-A7EF-4101-A462-E85741D6C3E5}"/>
              </a:ext>
            </a:extLst>
          </p:cNvPr>
          <p:cNvGrpSpPr/>
          <p:nvPr/>
        </p:nvGrpSpPr>
        <p:grpSpPr>
          <a:xfrm>
            <a:off x="6768656" y="1768588"/>
            <a:ext cx="2180820" cy="1377955"/>
            <a:chOff x="6883587" y="1731154"/>
            <a:chExt cx="2180820" cy="1377955"/>
          </a:xfrm>
        </p:grpSpPr>
        <p:sp>
          <p:nvSpPr>
            <p:cNvPr id="75" name="Shape_фон">
              <a:extLst>
                <a:ext uri="{FF2B5EF4-FFF2-40B4-BE49-F238E27FC236}">
                  <a16:creationId xmlns:a16="http://schemas.microsoft.com/office/drawing/2014/main" id="{AFDBA572-4DE8-4DEB-AFFA-96F26C5116C7}"/>
                </a:ext>
              </a:extLst>
            </p:cNvPr>
            <p:cNvSpPr/>
            <p:nvPr/>
          </p:nvSpPr>
          <p:spPr>
            <a:xfrm>
              <a:off x="6883587" y="1731154"/>
              <a:ext cx="2180820" cy="137795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6" name="Описание">
              <a:extLst>
                <a:ext uri="{FF2B5EF4-FFF2-40B4-BE49-F238E27FC236}">
                  <a16:creationId xmlns:a16="http://schemas.microsoft.com/office/drawing/2014/main" id="{1F586592-7D03-4F3D-B07A-FAD1F4CEF842}"/>
                </a:ext>
              </a:extLst>
            </p:cNvPr>
            <p:cNvSpPr txBox="1"/>
            <p:nvPr/>
          </p:nvSpPr>
          <p:spPr>
            <a:xfrm>
              <a:off x="7390344" y="1916788"/>
              <a:ext cx="11673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lient Gate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7" name="Рисунок 76">
              <a:extLst>
                <a:ext uri="{FF2B5EF4-FFF2-40B4-BE49-F238E27FC236}">
                  <a16:creationId xmlns:a16="http://schemas.microsoft.com/office/drawing/2014/main" id="{354CFF38-87B1-48AF-AAB8-59F8AE2F4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59232" y="2300609"/>
              <a:ext cx="630726" cy="586689"/>
            </a:xfrm>
            <a:prstGeom prst="rect">
              <a:avLst/>
            </a:prstGeom>
          </p:spPr>
        </p:pic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904584B9-21BB-42E6-9E0E-8E1E11CA71E4}"/>
              </a:ext>
            </a:extLst>
          </p:cNvPr>
          <p:cNvGrpSpPr/>
          <p:nvPr/>
        </p:nvGrpSpPr>
        <p:grpSpPr>
          <a:xfrm>
            <a:off x="6262799" y="4203854"/>
            <a:ext cx="1507914" cy="1484073"/>
            <a:chOff x="6377730" y="4166420"/>
            <a:chExt cx="1507914" cy="1484073"/>
          </a:xfrm>
        </p:grpSpPr>
        <p:sp>
          <p:nvSpPr>
            <p:cNvPr id="79" name="Shape_фон">
              <a:extLst>
                <a:ext uri="{FF2B5EF4-FFF2-40B4-BE49-F238E27FC236}">
                  <a16:creationId xmlns:a16="http://schemas.microsoft.com/office/drawing/2014/main" id="{FA8F56D8-D613-43DE-8D47-CADB24DE4713}"/>
                </a:ext>
              </a:extLst>
            </p:cNvPr>
            <p:cNvSpPr/>
            <p:nvPr/>
          </p:nvSpPr>
          <p:spPr>
            <a:xfrm>
              <a:off x="6377730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0" name="Описание">
              <a:extLst>
                <a:ext uri="{FF2B5EF4-FFF2-40B4-BE49-F238E27FC236}">
                  <a16:creationId xmlns:a16="http://schemas.microsoft.com/office/drawing/2014/main" id="{120AE92C-ADA3-47FD-B3B7-8D98C6B9C455}"/>
                </a:ext>
              </a:extLst>
            </p:cNvPr>
            <p:cNvSpPr txBox="1"/>
            <p:nvPr/>
          </p:nvSpPr>
          <p:spPr>
            <a:xfrm>
              <a:off x="6800566" y="4393287"/>
              <a:ext cx="6751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MD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81" name="Рисунок 80">
              <a:extLst>
                <a:ext uri="{FF2B5EF4-FFF2-40B4-BE49-F238E27FC236}">
                  <a16:creationId xmlns:a16="http://schemas.microsoft.com/office/drawing/2014/main" id="{4B4879B2-EE2E-486B-A6F8-C493C3F95E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25390" y="4789527"/>
              <a:ext cx="611730" cy="583924"/>
            </a:xfrm>
            <a:prstGeom prst="rect">
              <a:avLst/>
            </a:prstGeom>
          </p:spPr>
        </p:pic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F78AB47C-5FB9-421D-BB44-E5FD828C2F40}"/>
              </a:ext>
            </a:extLst>
          </p:cNvPr>
          <p:cNvGrpSpPr/>
          <p:nvPr/>
        </p:nvGrpSpPr>
        <p:grpSpPr>
          <a:xfrm>
            <a:off x="8005237" y="4203854"/>
            <a:ext cx="1507914" cy="1484073"/>
            <a:chOff x="8120168" y="4166420"/>
            <a:chExt cx="1507914" cy="1484073"/>
          </a:xfrm>
        </p:grpSpPr>
        <p:sp>
          <p:nvSpPr>
            <p:cNvPr id="83" name="Shape_фон">
              <a:extLst>
                <a:ext uri="{FF2B5EF4-FFF2-40B4-BE49-F238E27FC236}">
                  <a16:creationId xmlns:a16="http://schemas.microsoft.com/office/drawing/2014/main" id="{1F93A24B-6E10-4CEB-B12A-C98BF4572FFA}"/>
                </a:ext>
              </a:extLst>
            </p:cNvPr>
            <p:cNvSpPr/>
            <p:nvPr/>
          </p:nvSpPr>
          <p:spPr>
            <a:xfrm>
              <a:off x="8120168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4" name="Описание">
              <a:extLst>
                <a:ext uri="{FF2B5EF4-FFF2-40B4-BE49-F238E27FC236}">
                  <a16:creationId xmlns:a16="http://schemas.microsoft.com/office/drawing/2014/main" id="{C742B654-4479-4FED-8823-6E0D566CCD51}"/>
                </a:ext>
              </a:extLst>
            </p:cNvPr>
            <p:cNvSpPr txBox="1"/>
            <p:nvPr/>
          </p:nvSpPr>
          <p:spPr>
            <a:xfrm>
              <a:off x="8560640" y="4393287"/>
              <a:ext cx="6254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id="{483110A6-D2C7-4C96-8612-E23FFBAC4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96561" y="4805662"/>
              <a:ext cx="555210" cy="555210"/>
            </a:xfrm>
            <a:prstGeom prst="rect">
              <a:avLst/>
            </a:prstGeom>
          </p:spPr>
        </p:pic>
      </p:grpSp>
      <p:pic>
        <p:nvPicPr>
          <p:cNvPr id="62" name="ОТП_Logo">
            <a:extLst>
              <a:ext uri="{FF2B5EF4-FFF2-40B4-BE49-F238E27FC236}">
                <a16:creationId xmlns:a16="http://schemas.microsoft.com/office/drawing/2014/main" id="{634564DA-611C-4760-A1AC-6F15580933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4BEDED21-64B3-4E17-8D42-2C88E2B374C2}"/>
              </a:ext>
            </a:extLst>
          </p:cNvPr>
          <p:cNvGrpSpPr/>
          <p:nvPr/>
        </p:nvGrpSpPr>
        <p:grpSpPr>
          <a:xfrm>
            <a:off x="12361170" y="1749068"/>
            <a:ext cx="5051622" cy="847113"/>
            <a:chOff x="6510195" y="1556711"/>
            <a:chExt cx="5051622" cy="847113"/>
          </a:xfrm>
        </p:grpSpPr>
        <p:sp>
          <p:nvSpPr>
            <p:cNvPr id="66" name="Rounded Rectangle">
              <a:extLst>
                <a:ext uri="{FF2B5EF4-FFF2-40B4-BE49-F238E27FC236}">
                  <a16:creationId xmlns:a16="http://schemas.microsoft.com/office/drawing/2014/main" id="{6F30D462-A39F-4B96-9EE1-DD8B443C8B5F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" name="Motion design">
              <a:extLst>
                <a:ext uri="{FF2B5EF4-FFF2-40B4-BE49-F238E27FC236}">
                  <a16:creationId xmlns:a16="http://schemas.microsoft.com/office/drawing/2014/main" id="{08FB5E0D-0316-411C-9ECC-9501A82B6C72}"/>
                </a:ext>
              </a:extLst>
            </p:cNvPr>
            <p:cNvSpPr txBox="1"/>
            <p:nvPr/>
          </p:nvSpPr>
          <p:spPr>
            <a:xfrm>
              <a:off x="7434557" y="1702170"/>
              <a:ext cx="3389575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ый интерфейс клиентского домена для потребителей</a:t>
              </a:r>
            </a:p>
          </p:txBody>
        </p:sp>
        <p:sp>
          <p:nvSpPr>
            <p:cNvPr id="89" name="Circle">
              <a:extLst>
                <a:ext uri="{FF2B5EF4-FFF2-40B4-BE49-F238E27FC236}">
                  <a16:creationId xmlns:a16="http://schemas.microsoft.com/office/drawing/2014/main" id="{668BB38C-5F30-43A2-ACFD-63D5600F0746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90" name="Рисунок 89">
              <a:extLst>
                <a:ext uri="{FF2B5EF4-FFF2-40B4-BE49-F238E27FC236}">
                  <a16:creationId xmlns:a16="http://schemas.microsoft.com/office/drawing/2014/main" id="{BDAA3044-5BB4-411A-8B4E-34CCEC135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6786835" y="1817575"/>
              <a:ext cx="330367" cy="330367"/>
            </a:xfrm>
            <a:prstGeom prst="rect">
              <a:avLst/>
            </a:prstGeom>
          </p:spPr>
        </p:pic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41DE4063-7919-4FD3-B7E8-AC5C200BB61F}"/>
              </a:ext>
            </a:extLst>
          </p:cNvPr>
          <p:cNvGrpSpPr/>
          <p:nvPr/>
        </p:nvGrpSpPr>
        <p:grpSpPr>
          <a:xfrm>
            <a:off x="12361170" y="3818473"/>
            <a:ext cx="5051622" cy="847113"/>
            <a:chOff x="7315420" y="4380123"/>
            <a:chExt cx="5051622" cy="847113"/>
          </a:xfrm>
        </p:grpSpPr>
        <p:sp>
          <p:nvSpPr>
            <p:cNvPr id="92" name="Rounded Rectangle">
              <a:extLst>
                <a:ext uri="{FF2B5EF4-FFF2-40B4-BE49-F238E27FC236}">
                  <a16:creationId xmlns:a16="http://schemas.microsoft.com/office/drawing/2014/main" id="{C733C0EF-8E5C-4A8D-9803-87F70E0AFA42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3" name="Motion design">
              <a:extLst>
                <a:ext uri="{FF2B5EF4-FFF2-40B4-BE49-F238E27FC236}">
                  <a16:creationId xmlns:a16="http://schemas.microsoft.com/office/drawing/2014/main" id="{EFBE043C-BFF6-4F3F-9254-5AA8116506BF}"/>
                </a:ext>
              </a:extLst>
            </p:cNvPr>
            <p:cNvSpPr txBox="1"/>
            <p:nvPr/>
          </p:nvSpPr>
          <p:spPr>
            <a:xfrm>
              <a:off x="8239784" y="4665620"/>
              <a:ext cx="3021273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ая авторизация в системах</a:t>
              </a:r>
            </a:p>
          </p:txBody>
        </p:sp>
        <p:sp>
          <p:nvSpPr>
            <p:cNvPr id="94" name="Circle">
              <a:extLst>
                <a:ext uri="{FF2B5EF4-FFF2-40B4-BE49-F238E27FC236}">
                  <a16:creationId xmlns:a16="http://schemas.microsoft.com/office/drawing/2014/main" id="{D2C6BAA7-30C3-4F33-89E6-CFADDDAF60E4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95" name="Рисунок 94">
              <a:extLst>
                <a:ext uri="{FF2B5EF4-FFF2-40B4-BE49-F238E27FC236}">
                  <a16:creationId xmlns:a16="http://schemas.microsoft.com/office/drawing/2014/main" id="{E266FACC-45F3-4AE1-9D92-16EAB220E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12646" y="4674301"/>
              <a:ext cx="309781" cy="263314"/>
            </a:xfrm>
            <a:prstGeom prst="rect">
              <a:avLst/>
            </a:prstGeom>
          </p:spPr>
        </p:pic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90CC5EBF-CE69-41D2-9715-25DCB91D5303}"/>
              </a:ext>
            </a:extLst>
          </p:cNvPr>
          <p:cNvGrpSpPr/>
          <p:nvPr/>
        </p:nvGrpSpPr>
        <p:grpSpPr>
          <a:xfrm>
            <a:off x="12361170" y="4853176"/>
            <a:ext cx="5051622" cy="847113"/>
            <a:chOff x="7315420" y="4380123"/>
            <a:chExt cx="5051622" cy="847113"/>
          </a:xfrm>
        </p:grpSpPr>
        <p:sp>
          <p:nvSpPr>
            <p:cNvPr id="97" name="Rounded Rectangle">
              <a:extLst>
                <a:ext uri="{FF2B5EF4-FFF2-40B4-BE49-F238E27FC236}">
                  <a16:creationId xmlns:a16="http://schemas.microsoft.com/office/drawing/2014/main" id="{D9F4F624-2901-40AF-BD9A-E12FF9B10D76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8" name="Motion design">
              <a:extLst>
                <a:ext uri="{FF2B5EF4-FFF2-40B4-BE49-F238E27FC236}">
                  <a16:creationId xmlns:a16="http://schemas.microsoft.com/office/drawing/2014/main" id="{7F35F5A2-3828-44B3-904B-9EFD36C7A1A5}"/>
                </a:ext>
              </a:extLst>
            </p:cNvPr>
            <p:cNvSpPr txBox="1"/>
            <p:nvPr/>
          </p:nvSpPr>
          <p:spPr>
            <a:xfrm>
              <a:off x="8239784" y="4525582"/>
              <a:ext cx="308477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озможность локализовать некоторые точки принятия решения </a:t>
              </a:r>
            </a:p>
          </p:txBody>
        </p:sp>
        <p:sp>
          <p:nvSpPr>
            <p:cNvPr id="99" name="Circle">
              <a:extLst>
                <a:ext uri="{FF2B5EF4-FFF2-40B4-BE49-F238E27FC236}">
                  <a16:creationId xmlns:a16="http://schemas.microsoft.com/office/drawing/2014/main" id="{D5E83404-B2B3-4930-BA0D-FE45D6FE4762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00" name="Рисунок 99">
              <a:extLst>
                <a:ext uri="{FF2B5EF4-FFF2-40B4-BE49-F238E27FC236}">
                  <a16:creationId xmlns:a16="http://schemas.microsoft.com/office/drawing/2014/main" id="{9B394756-A8F3-424F-8694-CD22B5720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7576090" y="4627828"/>
              <a:ext cx="382892" cy="336946"/>
            </a:xfrm>
            <a:prstGeom prst="rect">
              <a:avLst/>
            </a:prstGeom>
          </p:spPr>
        </p:pic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37C27A4D-9415-4555-BDC6-1ED9A6009443}"/>
              </a:ext>
            </a:extLst>
          </p:cNvPr>
          <p:cNvGrpSpPr/>
          <p:nvPr/>
        </p:nvGrpSpPr>
        <p:grpSpPr>
          <a:xfrm>
            <a:off x="12361170" y="2783771"/>
            <a:ext cx="5051622" cy="847113"/>
            <a:chOff x="7520951" y="2783771"/>
            <a:chExt cx="5051622" cy="847113"/>
          </a:xfrm>
        </p:grpSpPr>
        <p:sp>
          <p:nvSpPr>
            <p:cNvPr id="102" name="Rounded Rectangle">
              <a:extLst>
                <a:ext uri="{FF2B5EF4-FFF2-40B4-BE49-F238E27FC236}">
                  <a16:creationId xmlns:a16="http://schemas.microsoft.com/office/drawing/2014/main" id="{81454A0F-117A-479C-82C1-E671A90D9BB1}"/>
                </a:ext>
              </a:extLst>
            </p:cNvPr>
            <p:cNvSpPr/>
            <p:nvPr/>
          </p:nvSpPr>
          <p:spPr>
            <a:xfrm>
              <a:off x="7520951" y="278377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3" name="Motion design">
              <a:extLst>
                <a:ext uri="{FF2B5EF4-FFF2-40B4-BE49-F238E27FC236}">
                  <a16:creationId xmlns:a16="http://schemas.microsoft.com/office/drawing/2014/main" id="{F8CD3F3D-D811-4400-841B-CF128521E4CE}"/>
                </a:ext>
              </a:extLst>
            </p:cNvPr>
            <p:cNvSpPr txBox="1"/>
            <p:nvPr/>
          </p:nvSpPr>
          <p:spPr>
            <a:xfrm>
              <a:off x="8445315" y="2929229"/>
              <a:ext cx="322961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Контроль наличия данных в клиентских карточках для клиентов</a:t>
              </a:r>
            </a:p>
          </p:txBody>
        </p:sp>
        <p:sp>
          <p:nvSpPr>
            <p:cNvPr id="104" name="Circle">
              <a:extLst>
                <a:ext uri="{FF2B5EF4-FFF2-40B4-BE49-F238E27FC236}">
                  <a16:creationId xmlns:a16="http://schemas.microsoft.com/office/drawing/2014/main" id="{769F7E2E-6546-4269-A61B-FC0083802B0B}"/>
                </a:ext>
              </a:extLst>
            </p:cNvPr>
            <p:cNvSpPr/>
            <p:nvPr/>
          </p:nvSpPr>
          <p:spPr>
            <a:xfrm>
              <a:off x="7647135" y="288966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0912B9C2-74C3-4388-933E-022440A7D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/>
          </p:blipFill>
          <p:spPr>
            <a:xfrm>
              <a:off x="7773586" y="3082328"/>
              <a:ext cx="378376" cy="24999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850427060"/>
      </p:ext>
    </p:extLst>
  </p:cSld>
  <p:clrMapOvr>
    <a:masterClrMapping/>
  </p:clrMapOvr>
  <p:transition spd="slow"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2576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719" name="Группа 718">
            <a:extLst>
              <a:ext uri="{FF2B5EF4-FFF2-40B4-BE49-F238E27FC236}">
                <a16:creationId xmlns:a16="http://schemas.microsoft.com/office/drawing/2014/main" id="{831CBCC9-41F9-4EC5-9950-CDFE07628E17}"/>
              </a:ext>
            </a:extLst>
          </p:cNvPr>
          <p:cNvGrpSpPr/>
          <p:nvPr/>
        </p:nvGrpSpPr>
        <p:grpSpPr>
          <a:xfrm rot="7231138">
            <a:off x="4572431" y="2486901"/>
            <a:ext cx="708842" cy="409681"/>
            <a:chOff x="2615298" y="2868391"/>
            <a:chExt cx="1041708" cy="602064"/>
          </a:xfrm>
        </p:grpSpPr>
        <p:pic>
          <p:nvPicPr>
            <p:cNvPr id="720" name="Рисунок 719">
              <a:extLst>
                <a:ext uri="{FF2B5EF4-FFF2-40B4-BE49-F238E27FC236}">
                  <a16:creationId xmlns:a16="http://schemas.microsoft.com/office/drawing/2014/main" id="{1C070E04-E11F-4EFE-BF27-C312502A5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21" name="Рисунок 720">
              <a:extLst>
                <a:ext uri="{FF2B5EF4-FFF2-40B4-BE49-F238E27FC236}">
                  <a16:creationId xmlns:a16="http://schemas.microsoft.com/office/drawing/2014/main" id="{A932F513-9F43-496F-850F-38F184BAF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83321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Разработка собственной </a:t>
            </a:r>
            <a:r>
              <a:rPr lang="en-US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CRM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1A61F22-BB67-43EE-88B3-8012ABB137C9}"/>
              </a:ext>
            </a:extLst>
          </p:cNvPr>
          <p:cNvGrpSpPr/>
          <p:nvPr/>
        </p:nvGrpSpPr>
        <p:grpSpPr>
          <a:xfrm>
            <a:off x="7730281" y="1313186"/>
            <a:ext cx="4831039" cy="3881770"/>
            <a:chOff x="7730281" y="1313186"/>
            <a:chExt cx="4831039" cy="3881770"/>
          </a:xfrm>
        </p:grpSpPr>
        <p:sp>
          <p:nvSpPr>
            <p:cNvPr id="485" name="Rounded Rectangle">
              <a:extLst>
                <a:ext uri="{FF2B5EF4-FFF2-40B4-BE49-F238E27FC236}">
                  <a16:creationId xmlns:a16="http://schemas.microsoft.com/office/drawing/2014/main" id="{27FED30D-A3D6-4F30-9880-769BE4357EF8}"/>
                </a:ext>
              </a:extLst>
            </p:cNvPr>
            <p:cNvSpPr/>
            <p:nvPr/>
          </p:nvSpPr>
          <p:spPr>
            <a:xfrm>
              <a:off x="7730281" y="2395395"/>
              <a:ext cx="4831039" cy="2799561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89000"/>
              </a:schemeClr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  <a:reflection endPos="0" dist="50800" dir="5400000" sy="-100000" algn="bl" rotWithShape="0"/>
              <a:softEdge rad="0"/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31" name="Описание">
              <a:extLst>
                <a:ext uri="{FF2B5EF4-FFF2-40B4-BE49-F238E27FC236}">
                  <a16:creationId xmlns:a16="http://schemas.microsoft.com/office/drawing/2014/main" id="{27845CDF-A906-4CE7-9EBB-783A9E17A958}"/>
                </a:ext>
              </a:extLst>
            </p:cNvPr>
            <p:cNvSpPr txBox="1"/>
            <p:nvPr/>
          </p:nvSpPr>
          <p:spPr>
            <a:xfrm>
              <a:off x="7982262" y="1313186"/>
              <a:ext cx="21339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b="1" dirty="0">
                  <a:solidFill>
                    <a:schemeClr val="accent2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дачи </a:t>
              </a:r>
              <a:r>
                <a:rPr lang="en-US" b="1" dirty="0">
                  <a:solidFill>
                    <a:schemeClr val="accent2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lient Gate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</p:grpSp>
      <p:grpSp>
        <p:nvGrpSpPr>
          <p:cNvPr id="412" name="Группа 411">
            <a:extLst>
              <a:ext uri="{FF2B5EF4-FFF2-40B4-BE49-F238E27FC236}">
                <a16:creationId xmlns:a16="http://schemas.microsoft.com/office/drawing/2014/main" id="{FA0A45BC-A7EC-4486-AA94-A5BA6534475B}"/>
              </a:ext>
            </a:extLst>
          </p:cNvPr>
          <p:cNvGrpSpPr/>
          <p:nvPr/>
        </p:nvGrpSpPr>
        <p:grpSpPr>
          <a:xfrm>
            <a:off x="7520951" y="1749068"/>
            <a:ext cx="5051622" cy="847113"/>
            <a:chOff x="6510195" y="1556711"/>
            <a:chExt cx="5051622" cy="847113"/>
          </a:xfrm>
        </p:grpSpPr>
        <p:sp>
          <p:nvSpPr>
            <p:cNvPr id="413" name="Rounded Rectangle">
              <a:extLst>
                <a:ext uri="{FF2B5EF4-FFF2-40B4-BE49-F238E27FC236}">
                  <a16:creationId xmlns:a16="http://schemas.microsoft.com/office/drawing/2014/main" id="{FE571BA8-7817-41F8-82DE-F00757ABC647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4" name="Motion design">
              <a:extLst>
                <a:ext uri="{FF2B5EF4-FFF2-40B4-BE49-F238E27FC236}">
                  <a16:creationId xmlns:a16="http://schemas.microsoft.com/office/drawing/2014/main" id="{516CE25E-F43A-482D-902C-0799E6AB228F}"/>
                </a:ext>
              </a:extLst>
            </p:cNvPr>
            <p:cNvSpPr txBox="1"/>
            <p:nvPr/>
          </p:nvSpPr>
          <p:spPr>
            <a:xfrm>
              <a:off x="7434557" y="1702170"/>
              <a:ext cx="3389575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ый интерфейс клиентского домена для потребителей</a:t>
              </a:r>
            </a:p>
          </p:txBody>
        </p:sp>
        <p:sp>
          <p:nvSpPr>
            <p:cNvPr id="415" name="Circle">
              <a:extLst>
                <a:ext uri="{FF2B5EF4-FFF2-40B4-BE49-F238E27FC236}">
                  <a16:creationId xmlns:a16="http://schemas.microsoft.com/office/drawing/2014/main" id="{CECCCD2D-688C-4788-A97C-5F28CAA4E096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16" name="Рисунок 415">
              <a:extLst>
                <a:ext uri="{FF2B5EF4-FFF2-40B4-BE49-F238E27FC236}">
                  <a16:creationId xmlns:a16="http://schemas.microsoft.com/office/drawing/2014/main" id="{69F3442B-9663-4B2F-A188-C466D79EE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786835" y="1817575"/>
              <a:ext cx="330367" cy="330367"/>
            </a:xfrm>
            <a:prstGeom prst="rect">
              <a:avLst/>
            </a:prstGeom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F1D6281-12F2-4EF8-BCED-29A0345187F5}"/>
              </a:ext>
            </a:extLst>
          </p:cNvPr>
          <p:cNvGrpSpPr/>
          <p:nvPr/>
        </p:nvGrpSpPr>
        <p:grpSpPr>
          <a:xfrm>
            <a:off x="7520951" y="3818473"/>
            <a:ext cx="5051622" cy="847113"/>
            <a:chOff x="7315420" y="4380123"/>
            <a:chExt cx="5051622" cy="847113"/>
          </a:xfrm>
        </p:grpSpPr>
        <p:sp>
          <p:nvSpPr>
            <p:cNvPr id="423" name="Rounded Rectangle">
              <a:extLst>
                <a:ext uri="{FF2B5EF4-FFF2-40B4-BE49-F238E27FC236}">
                  <a16:creationId xmlns:a16="http://schemas.microsoft.com/office/drawing/2014/main" id="{88AD5A99-40B5-4C7E-8A7A-D229FC3EA1E9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7" name="Motion design">
              <a:extLst>
                <a:ext uri="{FF2B5EF4-FFF2-40B4-BE49-F238E27FC236}">
                  <a16:creationId xmlns:a16="http://schemas.microsoft.com/office/drawing/2014/main" id="{405B2B1E-5D85-4D92-B012-659F9E879577}"/>
                </a:ext>
              </a:extLst>
            </p:cNvPr>
            <p:cNvSpPr txBox="1"/>
            <p:nvPr/>
          </p:nvSpPr>
          <p:spPr>
            <a:xfrm>
              <a:off x="8239784" y="4665620"/>
              <a:ext cx="3021273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ая авторизация в системах</a:t>
              </a:r>
            </a:p>
          </p:txBody>
        </p:sp>
        <p:sp>
          <p:nvSpPr>
            <p:cNvPr id="480" name="Circle">
              <a:extLst>
                <a:ext uri="{FF2B5EF4-FFF2-40B4-BE49-F238E27FC236}">
                  <a16:creationId xmlns:a16="http://schemas.microsoft.com/office/drawing/2014/main" id="{5AE9C216-9FA0-4F47-8517-84DFE5725877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84" name="Рисунок 483">
              <a:extLst>
                <a:ext uri="{FF2B5EF4-FFF2-40B4-BE49-F238E27FC236}">
                  <a16:creationId xmlns:a16="http://schemas.microsoft.com/office/drawing/2014/main" id="{C4DF5E32-83B0-4ED3-8D9C-9C08315C7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12646" y="4674301"/>
              <a:ext cx="309781" cy="263314"/>
            </a:xfrm>
            <a:prstGeom prst="rect">
              <a:avLst/>
            </a:prstGeom>
          </p:spPr>
        </p:pic>
      </p:grpSp>
      <p:grpSp>
        <p:nvGrpSpPr>
          <p:cNvPr id="302" name="Группа 301">
            <a:extLst>
              <a:ext uri="{FF2B5EF4-FFF2-40B4-BE49-F238E27FC236}">
                <a16:creationId xmlns:a16="http://schemas.microsoft.com/office/drawing/2014/main" id="{C8C7F781-A0A5-4ACC-B274-DDC7D5385FD4}"/>
              </a:ext>
            </a:extLst>
          </p:cNvPr>
          <p:cNvGrpSpPr/>
          <p:nvPr/>
        </p:nvGrpSpPr>
        <p:grpSpPr>
          <a:xfrm>
            <a:off x="7520951" y="4853176"/>
            <a:ext cx="5051622" cy="847113"/>
            <a:chOff x="7315420" y="4380123"/>
            <a:chExt cx="5051622" cy="847113"/>
          </a:xfrm>
        </p:grpSpPr>
        <p:sp>
          <p:nvSpPr>
            <p:cNvPr id="303" name="Rounded Rectangle">
              <a:extLst>
                <a:ext uri="{FF2B5EF4-FFF2-40B4-BE49-F238E27FC236}">
                  <a16:creationId xmlns:a16="http://schemas.microsoft.com/office/drawing/2014/main" id="{7B487637-CD78-4A68-B01D-8F2FCF03F5E8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04" name="Motion design">
              <a:extLst>
                <a:ext uri="{FF2B5EF4-FFF2-40B4-BE49-F238E27FC236}">
                  <a16:creationId xmlns:a16="http://schemas.microsoft.com/office/drawing/2014/main" id="{997FEC74-D4AA-41C1-B9EB-877D2B272DA3}"/>
                </a:ext>
              </a:extLst>
            </p:cNvPr>
            <p:cNvSpPr txBox="1"/>
            <p:nvPr/>
          </p:nvSpPr>
          <p:spPr>
            <a:xfrm>
              <a:off x="8239784" y="4525582"/>
              <a:ext cx="308477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озможность локализовать некоторые точки принятия решения </a:t>
              </a:r>
            </a:p>
          </p:txBody>
        </p:sp>
        <p:sp>
          <p:nvSpPr>
            <p:cNvPr id="305" name="Circle">
              <a:extLst>
                <a:ext uri="{FF2B5EF4-FFF2-40B4-BE49-F238E27FC236}">
                  <a16:creationId xmlns:a16="http://schemas.microsoft.com/office/drawing/2014/main" id="{2846A35D-3353-4994-8E39-15A6F473B716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06" name="Рисунок 305">
              <a:extLst>
                <a:ext uri="{FF2B5EF4-FFF2-40B4-BE49-F238E27FC236}">
                  <a16:creationId xmlns:a16="http://schemas.microsoft.com/office/drawing/2014/main" id="{83643E33-C151-4C1D-BB6F-07AF3413C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7576090" y="4627828"/>
              <a:ext cx="382892" cy="336946"/>
            </a:xfrm>
            <a:prstGeom prst="rect">
              <a:avLst/>
            </a:prstGeom>
          </p:spPr>
        </p:pic>
      </p:grpSp>
      <p:grpSp>
        <p:nvGrpSpPr>
          <p:cNvPr id="694" name="Группа 693">
            <a:extLst>
              <a:ext uri="{FF2B5EF4-FFF2-40B4-BE49-F238E27FC236}">
                <a16:creationId xmlns:a16="http://schemas.microsoft.com/office/drawing/2014/main" id="{D1E43501-5A62-4A60-992E-54A13A1E0241}"/>
              </a:ext>
            </a:extLst>
          </p:cNvPr>
          <p:cNvGrpSpPr/>
          <p:nvPr/>
        </p:nvGrpSpPr>
        <p:grpSpPr>
          <a:xfrm>
            <a:off x="126397" y="1774656"/>
            <a:ext cx="3694129" cy="3919339"/>
            <a:chOff x="771558" y="1774656"/>
            <a:chExt cx="3694129" cy="3919339"/>
          </a:xfrm>
        </p:grpSpPr>
        <p:sp>
          <p:nvSpPr>
            <p:cNvPr id="695" name="Shape_фон">
              <a:extLst>
                <a:ext uri="{FF2B5EF4-FFF2-40B4-BE49-F238E27FC236}">
                  <a16:creationId xmlns:a16="http://schemas.microsoft.com/office/drawing/2014/main" id="{AB35F627-3E3D-49C6-8663-B8FE7F7D11E4}"/>
                </a:ext>
              </a:extLst>
            </p:cNvPr>
            <p:cNvSpPr/>
            <p:nvPr/>
          </p:nvSpPr>
          <p:spPr>
            <a:xfrm>
              <a:off x="771558" y="1774656"/>
              <a:ext cx="3694129" cy="39193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я</a:t>
              </a:r>
            </a:p>
          </p:txBody>
        </p:sp>
        <p:sp>
          <p:nvSpPr>
            <p:cNvPr id="696" name="Motion design">
              <a:extLst>
                <a:ext uri="{FF2B5EF4-FFF2-40B4-BE49-F238E27FC236}">
                  <a16:creationId xmlns:a16="http://schemas.microsoft.com/office/drawing/2014/main" id="{187895E1-248B-4BC3-98F8-F8DEF20DA3C8}"/>
                </a:ext>
              </a:extLst>
            </p:cNvPr>
            <p:cNvSpPr txBox="1"/>
            <p:nvPr/>
          </p:nvSpPr>
          <p:spPr>
            <a:xfrm>
              <a:off x="1020224" y="2790477"/>
              <a:ext cx="2933236" cy="24947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effectLst/>
                  <a:latin typeface="Helvetica Neue" panose="02000503000000020004" pitchFamily="2" charset="0"/>
                </a:rPr>
                <a:t>Единая клиентская база.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CR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-система может не хранить данные, которые есть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. </a:t>
              </a:r>
              <a:r>
                <a:rPr lang="en-US" sz="1400" dirty="0">
                  <a:latin typeface="Helvetica Neue" panose="02000503000000020004" pitchFamily="2" charset="0"/>
                </a:rPr>
                <a:t>CRM </a:t>
              </a:r>
              <a:r>
                <a:rPr lang="ru-RU" sz="1400" dirty="0">
                  <a:latin typeface="Helvetica Neue" panose="02000503000000020004" pitchFamily="2" charset="0"/>
                </a:rPr>
                <a:t>следит за клиентами в </a:t>
              </a:r>
              <a:r>
                <a:rPr lang="en-US" sz="1400" dirty="0">
                  <a:latin typeface="Helvetica Neue" panose="02000503000000020004" pitchFamily="2" charset="0"/>
                </a:rPr>
                <a:t>MDM</a:t>
              </a:r>
              <a:endParaRPr lang="ru-RU" sz="1400" dirty="0">
                <a:latin typeface="Helvetica Neue" panose="02000503000000020004" pitchFamily="2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endParaRPr lang="ru-RU" sz="1400" dirty="0">
                <a:effectLst/>
                <a:latin typeface="Helvetica Neue" panose="02000503000000020004" pitchFamily="2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Helvetica Neue" panose="02000503000000020004" pitchFamily="2" charset="0"/>
                </a:rPr>
                <a:t>Отказ от кросс-ссылок между системами. Все ссылки хранятся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endParaRPr lang="ru-RU" sz="1400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grpSp>
          <p:nvGrpSpPr>
            <p:cNvPr id="697" name="Группа 696">
              <a:extLst>
                <a:ext uri="{FF2B5EF4-FFF2-40B4-BE49-F238E27FC236}">
                  <a16:creationId xmlns:a16="http://schemas.microsoft.com/office/drawing/2014/main" id="{EB55B76D-3A4B-4BFC-A1F4-AC490E0D0CC2}"/>
                </a:ext>
              </a:extLst>
            </p:cNvPr>
            <p:cNvGrpSpPr/>
            <p:nvPr/>
          </p:nvGrpSpPr>
          <p:grpSpPr>
            <a:xfrm>
              <a:off x="858511" y="2040092"/>
              <a:ext cx="3355935" cy="480583"/>
              <a:chOff x="858511" y="2040092"/>
              <a:chExt cx="3355935" cy="480583"/>
            </a:xfrm>
          </p:grpSpPr>
          <p:sp>
            <p:nvSpPr>
              <p:cNvPr id="698" name="Rounded Rectangle">
                <a:extLst>
                  <a:ext uri="{FF2B5EF4-FFF2-40B4-BE49-F238E27FC236}">
                    <a16:creationId xmlns:a16="http://schemas.microsoft.com/office/drawing/2014/main" id="{DE4FF609-5AAD-41C5-8692-DDC2276AD433}"/>
                  </a:ext>
                </a:extLst>
              </p:cNvPr>
              <p:cNvSpPr/>
              <p:nvPr/>
            </p:nvSpPr>
            <p:spPr>
              <a:xfrm>
                <a:off x="858511" y="2040092"/>
                <a:ext cx="3355935" cy="48058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412750" hangingPunct="0"/>
                <a:endParaRPr lang="ru-RU" sz="1600" kern="0" dirty="0">
                  <a:solidFill>
                    <a:srgbClr val="FFFFFF"/>
                  </a:solidFill>
                  <a:latin typeface="Akrobat" panose="00000600000000000000" pitchFamily="50" charset="-52"/>
                  <a:cs typeface="Poppins Bold"/>
                  <a:sym typeface="Poppins Bold"/>
                </a:endParaRPr>
              </a:p>
            </p:txBody>
          </p:sp>
          <p:sp>
            <p:nvSpPr>
              <p:cNvPr id="699" name="Circle">
                <a:extLst>
                  <a:ext uri="{FF2B5EF4-FFF2-40B4-BE49-F238E27FC236}">
                    <a16:creationId xmlns:a16="http://schemas.microsoft.com/office/drawing/2014/main" id="{AB504674-9221-496D-9E18-D82D98E2C199}"/>
                  </a:ext>
                </a:extLst>
              </p:cNvPr>
              <p:cNvSpPr/>
              <p:nvPr/>
            </p:nvSpPr>
            <p:spPr>
              <a:xfrm>
                <a:off x="997752" y="2115116"/>
                <a:ext cx="335294" cy="335294"/>
              </a:xfrm>
              <a:prstGeom prst="ellipse">
                <a:avLst/>
              </a:prstGeom>
              <a:solidFill>
                <a:schemeClr val="accent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chemeClr val="accent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00" name="Описание">
                <a:extLst>
                  <a:ext uri="{FF2B5EF4-FFF2-40B4-BE49-F238E27FC236}">
                    <a16:creationId xmlns:a16="http://schemas.microsoft.com/office/drawing/2014/main" id="{92335657-D7F1-4ED4-9E76-FFDFC2AB1A76}"/>
                  </a:ext>
                </a:extLst>
              </p:cNvPr>
              <p:cNvSpPr txBox="1"/>
              <p:nvPr/>
            </p:nvSpPr>
            <p:spPr>
              <a:xfrm>
                <a:off x="1376471" y="2095717"/>
                <a:ext cx="12075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b="1" dirty="0">
                    <a:solidFill>
                      <a:schemeClr val="accent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люсы</a:t>
                </a:r>
                <a:endPara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</p:grpSp>
      <p:grpSp>
        <p:nvGrpSpPr>
          <p:cNvPr id="701" name="Группа 700">
            <a:extLst>
              <a:ext uri="{FF2B5EF4-FFF2-40B4-BE49-F238E27FC236}">
                <a16:creationId xmlns:a16="http://schemas.microsoft.com/office/drawing/2014/main" id="{97FA7DF5-F834-466E-852F-59ED4216F75B}"/>
              </a:ext>
            </a:extLst>
          </p:cNvPr>
          <p:cNvGrpSpPr/>
          <p:nvPr/>
        </p:nvGrpSpPr>
        <p:grpSpPr>
          <a:xfrm rot="5400000">
            <a:off x="5985709" y="3453487"/>
            <a:ext cx="708842" cy="409681"/>
            <a:chOff x="2615298" y="2868391"/>
            <a:chExt cx="1041708" cy="602064"/>
          </a:xfrm>
        </p:grpSpPr>
        <p:pic>
          <p:nvPicPr>
            <p:cNvPr id="702" name="Рисунок 701">
              <a:extLst>
                <a:ext uri="{FF2B5EF4-FFF2-40B4-BE49-F238E27FC236}">
                  <a16:creationId xmlns:a16="http://schemas.microsoft.com/office/drawing/2014/main" id="{1C5D6239-BDD2-404A-85F5-8E446DB2C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03" name="Рисунок 702">
              <a:extLst>
                <a:ext uri="{FF2B5EF4-FFF2-40B4-BE49-F238E27FC236}">
                  <a16:creationId xmlns:a16="http://schemas.microsoft.com/office/drawing/2014/main" id="{7F305A39-BAB7-49C0-8571-BF09F438A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04" name="Группа 703">
            <a:extLst>
              <a:ext uri="{FF2B5EF4-FFF2-40B4-BE49-F238E27FC236}">
                <a16:creationId xmlns:a16="http://schemas.microsoft.com/office/drawing/2014/main" id="{24F744D8-1D97-405D-92CF-8C35B3153118}"/>
              </a:ext>
            </a:extLst>
          </p:cNvPr>
          <p:cNvGrpSpPr/>
          <p:nvPr/>
        </p:nvGrpSpPr>
        <p:grpSpPr>
          <a:xfrm rot="16200000" flipH="1">
            <a:off x="4710320" y="3453487"/>
            <a:ext cx="708842" cy="409681"/>
            <a:chOff x="2615298" y="2868391"/>
            <a:chExt cx="1041708" cy="602064"/>
          </a:xfrm>
        </p:grpSpPr>
        <p:pic>
          <p:nvPicPr>
            <p:cNvPr id="705" name="Рисунок 704">
              <a:extLst>
                <a:ext uri="{FF2B5EF4-FFF2-40B4-BE49-F238E27FC236}">
                  <a16:creationId xmlns:a16="http://schemas.microsoft.com/office/drawing/2014/main" id="{9AF09469-B84A-4D14-9ADD-9894BEFD4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06" name="Рисунок 705">
              <a:extLst>
                <a:ext uri="{FF2B5EF4-FFF2-40B4-BE49-F238E27FC236}">
                  <a16:creationId xmlns:a16="http://schemas.microsoft.com/office/drawing/2014/main" id="{8E4BB177-9FA7-47DC-BC29-E7A6AB332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07" name="Группа 706">
            <a:extLst>
              <a:ext uri="{FF2B5EF4-FFF2-40B4-BE49-F238E27FC236}">
                <a16:creationId xmlns:a16="http://schemas.microsoft.com/office/drawing/2014/main" id="{B81490C8-CAFA-4EF5-BDCB-C28EF70E5B8B}"/>
              </a:ext>
            </a:extLst>
          </p:cNvPr>
          <p:cNvGrpSpPr/>
          <p:nvPr/>
        </p:nvGrpSpPr>
        <p:grpSpPr>
          <a:xfrm>
            <a:off x="4603765" y="1768587"/>
            <a:ext cx="2180820" cy="1377955"/>
            <a:chOff x="6883587" y="1731154"/>
            <a:chExt cx="2180820" cy="1377955"/>
          </a:xfrm>
        </p:grpSpPr>
        <p:sp>
          <p:nvSpPr>
            <p:cNvPr id="708" name="Shape_фон">
              <a:extLst>
                <a:ext uri="{FF2B5EF4-FFF2-40B4-BE49-F238E27FC236}">
                  <a16:creationId xmlns:a16="http://schemas.microsoft.com/office/drawing/2014/main" id="{D41D005F-188B-46F7-A33D-16D5DC5E30AA}"/>
                </a:ext>
              </a:extLst>
            </p:cNvPr>
            <p:cNvSpPr/>
            <p:nvPr/>
          </p:nvSpPr>
          <p:spPr>
            <a:xfrm>
              <a:off x="6883587" y="1731154"/>
              <a:ext cx="2180820" cy="137795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09" name="Описание">
              <a:extLst>
                <a:ext uri="{FF2B5EF4-FFF2-40B4-BE49-F238E27FC236}">
                  <a16:creationId xmlns:a16="http://schemas.microsoft.com/office/drawing/2014/main" id="{3FC4DA49-9A30-488C-8CCF-33F05431DC05}"/>
                </a:ext>
              </a:extLst>
            </p:cNvPr>
            <p:cNvSpPr txBox="1"/>
            <p:nvPr/>
          </p:nvSpPr>
          <p:spPr>
            <a:xfrm>
              <a:off x="7390344" y="1916788"/>
              <a:ext cx="11673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lient Gate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0" name="Рисунок 709">
              <a:extLst>
                <a:ext uri="{FF2B5EF4-FFF2-40B4-BE49-F238E27FC236}">
                  <a16:creationId xmlns:a16="http://schemas.microsoft.com/office/drawing/2014/main" id="{1CD166C9-50D8-4BFE-ACE0-6B1255C34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659232" y="2300609"/>
              <a:ext cx="630726" cy="586689"/>
            </a:xfrm>
            <a:prstGeom prst="rect">
              <a:avLst/>
            </a:prstGeom>
          </p:spPr>
        </p:pic>
      </p:grpSp>
      <p:grpSp>
        <p:nvGrpSpPr>
          <p:cNvPr id="711" name="Группа 710">
            <a:extLst>
              <a:ext uri="{FF2B5EF4-FFF2-40B4-BE49-F238E27FC236}">
                <a16:creationId xmlns:a16="http://schemas.microsoft.com/office/drawing/2014/main" id="{0365BF31-262E-4FA8-A5C9-9DCD1DA689C5}"/>
              </a:ext>
            </a:extLst>
          </p:cNvPr>
          <p:cNvGrpSpPr/>
          <p:nvPr/>
        </p:nvGrpSpPr>
        <p:grpSpPr>
          <a:xfrm>
            <a:off x="4097908" y="4203853"/>
            <a:ext cx="1507914" cy="1484073"/>
            <a:chOff x="6377730" y="4166420"/>
            <a:chExt cx="1507914" cy="1484073"/>
          </a:xfrm>
        </p:grpSpPr>
        <p:sp>
          <p:nvSpPr>
            <p:cNvPr id="712" name="Shape_фон">
              <a:extLst>
                <a:ext uri="{FF2B5EF4-FFF2-40B4-BE49-F238E27FC236}">
                  <a16:creationId xmlns:a16="http://schemas.microsoft.com/office/drawing/2014/main" id="{21C943C2-9622-465C-91CA-6A5D9A738813}"/>
                </a:ext>
              </a:extLst>
            </p:cNvPr>
            <p:cNvSpPr/>
            <p:nvPr/>
          </p:nvSpPr>
          <p:spPr>
            <a:xfrm>
              <a:off x="6377730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3" name="Описание">
              <a:extLst>
                <a:ext uri="{FF2B5EF4-FFF2-40B4-BE49-F238E27FC236}">
                  <a16:creationId xmlns:a16="http://schemas.microsoft.com/office/drawing/2014/main" id="{DE08D114-2EDA-48F7-BFB7-CFA18DBB8F0E}"/>
                </a:ext>
              </a:extLst>
            </p:cNvPr>
            <p:cNvSpPr txBox="1"/>
            <p:nvPr/>
          </p:nvSpPr>
          <p:spPr>
            <a:xfrm>
              <a:off x="6800566" y="4393287"/>
              <a:ext cx="6751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MD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4" name="Рисунок 713">
              <a:extLst>
                <a:ext uri="{FF2B5EF4-FFF2-40B4-BE49-F238E27FC236}">
                  <a16:creationId xmlns:a16="http://schemas.microsoft.com/office/drawing/2014/main" id="{54AA48E0-9B17-4509-8372-035DC36B9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825390" y="4789527"/>
              <a:ext cx="611730" cy="583924"/>
            </a:xfrm>
            <a:prstGeom prst="rect">
              <a:avLst/>
            </a:prstGeom>
          </p:spPr>
        </p:pic>
      </p:grpSp>
      <p:grpSp>
        <p:nvGrpSpPr>
          <p:cNvPr id="715" name="Группа 714">
            <a:extLst>
              <a:ext uri="{FF2B5EF4-FFF2-40B4-BE49-F238E27FC236}">
                <a16:creationId xmlns:a16="http://schemas.microsoft.com/office/drawing/2014/main" id="{0C95AE1A-92AD-44C5-9B7A-D627812EF43F}"/>
              </a:ext>
            </a:extLst>
          </p:cNvPr>
          <p:cNvGrpSpPr/>
          <p:nvPr/>
        </p:nvGrpSpPr>
        <p:grpSpPr>
          <a:xfrm>
            <a:off x="5840346" y="4203853"/>
            <a:ext cx="1507914" cy="1484073"/>
            <a:chOff x="8120168" y="4166420"/>
            <a:chExt cx="1507914" cy="1484073"/>
          </a:xfrm>
        </p:grpSpPr>
        <p:sp>
          <p:nvSpPr>
            <p:cNvPr id="716" name="Shape_фон">
              <a:extLst>
                <a:ext uri="{FF2B5EF4-FFF2-40B4-BE49-F238E27FC236}">
                  <a16:creationId xmlns:a16="http://schemas.microsoft.com/office/drawing/2014/main" id="{747CCEB0-61A8-49D4-9691-23DCD60CF01D}"/>
                </a:ext>
              </a:extLst>
            </p:cNvPr>
            <p:cNvSpPr/>
            <p:nvPr/>
          </p:nvSpPr>
          <p:spPr>
            <a:xfrm>
              <a:off x="8120168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7" name="Описание">
              <a:extLst>
                <a:ext uri="{FF2B5EF4-FFF2-40B4-BE49-F238E27FC236}">
                  <a16:creationId xmlns:a16="http://schemas.microsoft.com/office/drawing/2014/main" id="{1AD38D39-9E8C-4D25-B052-F7FEDC715982}"/>
                </a:ext>
              </a:extLst>
            </p:cNvPr>
            <p:cNvSpPr txBox="1"/>
            <p:nvPr/>
          </p:nvSpPr>
          <p:spPr>
            <a:xfrm>
              <a:off x="8560640" y="4393287"/>
              <a:ext cx="6254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8" name="Рисунок 717">
              <a:extLst>
                <a:ext uri="{FF2B5EF4-FFF2-40B4-BE49-F238E27FC236}">
                  <a16:creationId xmlns:a16="http://schemas.microsoft.com/office/drawing/2014/main" id="{C3E26FA6-15CC-48DC-91BF-727F93416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596561" y="4805662"/>
              <a:ext cx="555210" cy="555210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AF15B0E-9A3D-4B0D-9FBD-C0C685089021}"/>
              </a:ext>
            </a:extLst>
          </p:cNvPr>
          <p:cNvGrpSpPr/>
          <p:nvPr/>
        </p:nvGrpSpPr>
        <p:grpSpPr>
          <a:xfrm>
            <a:off x="7520951" y="2783771"/>
            <a:ext cx="5051622" cy="847113"/>
            <a:chOff x="7520951" y="2783771"/>
            <a:chExt cx="5051622" cy="847113"/>
          </a:xfrm>
        </p:grpSpPr>
        <p:sp>
          <p:nvSpPr>
            <p:cNvPr id="418" name="Rounded Rectangle">
              <a:extLst>
                <a:ext uri="{FF2B5EF4-FFF2-40B4-BE49-F238E27FC236}">
                  <a16:creationId xmlns:a16="http://schemas.microsoft.com/office/drawing/2014/main" id="{08B6BC13-C9AD-4352-82E9-266F8592EFAF}"/>
                </a:ext>
              </a:extLst>
            </p:cNvPr>
            <p:cNvSpPr/>
            <p:nvPr/>
          </p:nvSpPr>
          <p:spPr>
            <a:xfrm>
              <a:off x="7520951" y="278377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9" name="Motion design">
              <a:extLst>
                <a:ext uri="{FF2B5EF4-FFF2-40B4-BE49-F238E27FC236}">
                  <a16:creationId xmlns:a16="http://schemas.microsoft.com/office/drawing/2014/main" id="{B9EBABED-28D5-4C9E-A387-5F8FEE4F5411}"/>
                </a:ext>
              </a:extLst>
            </p:cNvPr>
            <p:cNvSpPr txBox="1"/>
            <p:nvPr/>
          </p:nvSpPr>
          <p:spPr>
            <a:xfrm>
              <a:off x="8445315" y="2929229"/>
              <a:ext cx="322961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Контроль наличия данных в клиентских карточках для клиентов</a:t>
              </a:r>
            </a:p>
          </p:txBody>
        </p:sp>
        <p:sp>
          <p:nvSpPr>
            <p:cNvPr id="420" name="Circle">
              <a:extLst>
                <a:ext uri="{FF2B5EF4-FFF2-40B4-BE49-F238E27FC236}">
                  <a16:creationId xmlns:a16="http://schemas.microsoft.com/office/drawing/2014/main" id="{186F9E45-EC2A-4974-B082-15F9C4A2F73C}"/>
                </a:ext>
              </a:extLst>
            </p:cNvPr>
            <p:cNvSpPr/>
            <p:nvPr/>
          </p:nvSpPr>
          <p:spPr>
            <a:xfrm>
              <a:off x="7647135" y="288966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39" name="Рисунок 738">
              <a:extLst>
                <a:ext uri="{FF2B5EF4-FFF2-40B4-BE49-F238E27FC236}">
                  <a16:creationId xmlns:a16="http://schemas.microsoft.com/office/drawing/2014/main" id="{437AC371-0BDF-49DC-AAEE-1794ED214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7773586" y="3082328"/>
              <a:ext cx="378376" cy="249998"/>
            </a:xfrm>
            <a:prstGeom prst="rect">
              <a:avLst/>
            </a:prstGeom>
          </p:spPr>
        </p:pic>
      </p:grpSp>
      <p:sp>
        <p:nvSpPr>
          <p:cNvPr id="740" name="Rounded Rectangle">
            <a:extLst>
              <a:ext uri="{FF2B5EF4-FFF2-40B4-BE49-F238E27FC236}">
                <a16:creationId xmlns:a16="http://schemas.microsoft.com/office/drawing/2014/main" id="{443501DA-F01F-4EC6-8C86-53D736229C0C}"/>
              </a:ext>
            </a:extLst>
          </p:cNvPr>
          <p:cNvSpPr/>
          <p:nvPr/>
        </p:nvSpPr>
        <p:spPr>
          <a:xfrm>
            <a:off x="13802165" y="2791426"/>
            <a:ext cx="4831039" cy="2103555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741" name="Группа 740">
            <a:extLst>
              <a:ext uri="{FF2B5EF4-FFF2-40B4-BE49-F238E27FC236}">
                <a16:creationId xmlns:a16="http://schemas.microsoft.com/office/drawing/2014/main" id="{95ACEF17-888C-44F0-A145-3263AF8CD227}"/>
              </a:ext>
            </a:extLst>
          </p:cNvPr>
          <p:cNvGrpSpPr/>
          <p:nvPr/>
        </p:nvGrpSpPr>
        <p:grpSpPr>
          <a:xfrm>
            <a:off x="13592835" y="2145099"/>
            <a:ext cx="5051622" cy="847113"/>
            <a:chOff x="6510195" y="1556711"/>
            <a:chExt cx="5051622" cy="847113"/>
          </a:xfrm>
        </p:grpSpPr>
        <p:sp>
          <p:nvSpPr>
            <p:cNvPr id="742" name="Rounded Rectangle">
              <a:extLst>
                <a:ext uri="{FF2B5EF4-FFF2-40B4-BE49-F238E27FC236}">
                  <a16:creationId xmlns:a16="http://schemas.microsoft.com/office/drawing/2014/main" id="{4FF95011-D6AA-4D57-8CFF-B48D39285F78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43" name="Motion design">
              <a:extLst>
                <a:ext uri="{FF2B5EF4-FFF2-40B4-BE49-F238E27FC236}">
                  <a16:creationId xmlns:a16="http://schemas.microsoft.com/office/drawing/2014/main" id="{851E6F1B-9D06-49FF-AF79-7AFA0BA1180A}"/>
                </a:ext>
              </a:extLst>
            </p:cNvPr>
            <p:cNvSpPr txBox="1"/>
            <p:nvPr/>
          </p:nvSpPr>
          <p:spPr>
            <a:xfrm>
              <a:off x="7434558" y="1702170"/>
              <a:ext cx="2787806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се юридические лица хранятся в CRM ЮЛ</a:t>
              </a:r>
            </a:p>
          </p:txBody>
        </p:sp>
        <p:sp>
          <p:nvSpPr>
            <p:cNvPr id="744" name="Circle">
              <a:extLst>
                <a:ext uri="{FF2B5EF4-FFF2-40B4-BE49-F238E27FC236}">
                  <a16:creationId xmlns:a16="http://schemas.microsoft.com/office/drawing/2014/main" id="{015F20A3-36DE-4F39-94A7-7791625ACE26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45" name="Рисунок 744">
              <a:extLst>
                <a:ext uri="{FF2B5EF4-FFF2-40B4-BE49-F238E27FC236}">
                  <a16:creationId xmlns:a16="http://schemas.microsoft.com/office/drawing/2014/main" id="{FFE11E6F-FFC5-42AC-8660-F32D19E42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/>
          </p:blipFill>
          <p:spPr>
            <a:xfrm>
              <a:off x="6806657" y="1817575"/>
              <a:ext cx="290722" cy="330367"/>
            </a:xfrm>
            <a:prstGeom prst="rect">
              <a:avLst/>
            </a:prstGeom>
          </p:spPr>
        </p:pic>
      </p:grpSp>
      <p:grpSp>
        <p:nvGrpSpPr>
          <p:cNvPr id="746" name="Группа 745">
            <a:extLst>
              <a:ext uri="{FF2B5EF4-FFF2-40B4-BE49-F238E27FC236}">
                <a16:creationId xmlns:a16="http://schemas.microsoft.com/office/drawing/2014/main" id="{5D966922-6A36-400A-8748-E9CE6B72B19A}"/>
              </a:ext>
            </a:extLst>
          </p:cNvPr>
          <p:cNvGrpSpPr/>
          <p:nvPr/>
        </p:nvGrpSpPr>
        <p:grpSpPr>
          <a:xfrm>
            <a:off x="13592835" y="4214504"/>
            <a:ext cx="5051622" cy="847113"/>
            <a:chOff x="7315420" y="4380123"/>
            <a:chExt cx="5051622" cy="847113"/>
          </a:xfrm>
        </p:grpSpPr>
        <p:sp>
          <p:nvSpPr>
            <p:cNvPr id="747" name="Rounded Rectangle">
              <a:extLst>
                <a:ext uri="{FF2B5EF4-FFF2-40B4-BE49-F238E27FC236}">
                  <a16:creationId xmlns:a16="http://schemas.microsoft.com/office/drawing/2014/main" id="{5EC46538-140A-4C89-8D53-769268444C6F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48" name="Motion design">
              <a:extLst>
                <a:ext uri="{FF2B5EF4-FFF2-40B4-BE49-F238E27FC236}">
                  <a16:creationId xmlns:a16="http://schemas.microsoft.com/office/drawing/2014/main" id="{AFE90614-491A-46C0-9774-79CDEF978352}"/>
                </a:ext>
              </a:extLst>
            </p:cNvPr>
            <p:cNvSpPr txBox="1"/>
            <p:nvPr/>
          </p:nvSpPr>
          <p:spPr>
            <a:xfrm>
              <a:off x="8239784" y="4525582"/>
              <a:ext cx="302127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вязи между ФЛ и ЮЛ хранятся в «Едином клиенте»</a:t>
              </a:r>
            </a:p>
          </p:txBody>
        </p:sp>
        <p:sp>
          <p:nvSpPr>
            <p:cNvPr id="749" name="Circle">
              <a:extLst>
                <a:ext uri="{FF2B5EF4-FFF2-40B4-BE49-F238E27FC236}">
                  <a16:creationId xmlns:a16="http://schemas.microsoft.com/office/drawing/2014/main" id="{01D21D05-AF79-4647-A42A-39321CC40F8C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50" name="Рисунок 749">
              <a:extLst>
                <a:ext uri="{FF2B5EF4-FFF2-40B4-BE49-F238E27FC236}">
                  <a16:creationId xmlns:a16="http://schemas.microsoft.com/office/drawing/2014/main" id="{FE0F3577-37C0-4169-95FF-1C997B40E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/>
          </p:blipFill>
          <p:spPr>
            <a:xfrm>
              <a:off x="7635879" y="4674301"/>
              <a:ext cx="263314" cy="263314"/>
            </a:xfrm>
            <a:prstGeom prst="rect">
              <a:avLst/>
            </a:prstGeom>
          </p:spPr>
        </p:pic>
      </p:grpSp>
      <p:grpSp>
        <p:nvGrpSpPr>
          <p:cNvPr id="751" name="Группа 750">
            <a:extLst>
              <a:ext uri="{FF2B5EF4-FFF2-40B4-BE49-F238E27FC236}">
                <a16:creationId xmlns:a16="http://schemas.microsoft.com/office/drawing/2014/main" id="{29BBFA41-492B-4DDE-8815-C1354F3DD5D2}"/>
              </a:ext>
            </a:extLst>
          </p:cNvPr>
          <p:cNvGrpSpPr/>
          <p:nvPr/>
        </p:nvGrpSpPr>
        <p:grpSpPr>
          <a:xfrm>
            <a:off x="13592835" y="3179802"/>
            <a:ext cx="5051622" cy="847113"/>
            <a:chOff x="7118595" y="3179802"/>
            <a:chExt cx="5051622" cy="847113"/>
          </a:xfrm>
        </p:grpSpPr>
        <p:sp>
          <p:nvSpPr>
            <p:cNvPr id="752" name="Rounded Rectangle">
              <a:extLst>
                <a:ext uri="{FF2B5EF4-FFF2-40B4-BE49-F238E27FC236}">
                  <a16:creationId xmlns:a16="http://schemas.microsoft.com/office/drawing/2014/main" id="{65BC5A8F-8CD2-458C-99D8-78535380E0A7}"/>
                </a:ext>
              </a:extLst>
            </p:cNvPr>
            <p:cNvSpPr/>
            <p:nvPr/>
          </p:nvSpPr>
          <p:spPr>
            <a:xfrm>
              <a:off x="7118595" y="3179802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53" name="Motion design">
              <a:extLst>
                <a:ext uri="{FF2B5EF4-FFF2-40B4-BE49-F238E27FC236}">
                  <a16:creationId xmlns:a16="http://schemas.microsoft.com/office/drawing/2014/main" id="{739D0279-CC1A-41A3-837C-BF2CE4ECD298}"/>
                </a:ext>
              </a:extLst>
            </p:cNvPr>
            <p:cNvSpPr txBox="1"/>
            <p:nvPr/>
          </p:nvSpPr>
          <p:spPr>
            <a:xfrm>
              <a:off x="8042959" y="3325260"/>
              <a:ext cx="3626004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се физические лица, связанные </a:t>
              </a:r>
              <a:b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 юридическими лежат в MDM + CRM ФЛ</a:t>
              </a:r>
            </a:p>
          </p:txBody>
        </p:sp>
        <p:sp>
          <p:nvSpPr>
            <p:cNvPr id="754" name="Circle">
              <a:extLst>
                <a:ext uri="{FF2B5EF4-FFF2-40B4-BE49-F238E27FC236}">
                  <a16:creationId xmlns:a16="http://schemas.microsoft.com/office/drawing/2014/main" id="{B03341FD-89E2-482D-B9F5-04B201F75A6D}"/>
                </a:ext>
              </a:extLst>
            </p:cNvPr>
            <p:cNvSpPr/>
            <p:nvPr/>
          </p:nvSpPr>
          <p:spPr>
            <a:xfrm>
              <a:off x="7244779" y="3285691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55" name="Рисунок 754">
              <a:extLst>
                <a:ext uri="{FF2B5EF4-FFF2-40B4-BE49-F238E27FC236}">
                  <a16:creationId xmlns:a16="http://schemas.microsoft.com/office/drawing/2014/main" id="{3750ECC2-44A0-454B-8240-9A99C10E49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390994" y="3461934"/>
              <a:ext cx="332761" cy="282847"/>
            </a:xfrm>
            <a:prstGeom prst="rect">
              <a:avLst/>
            </a:prstGeom>
          </p:spPr>
        </p:pic>
      </p:grpSp>
      <p:pic>
        <p:nvPicPr>
          <p:cNvPr id="76" name="ОТП_Logo">
            <a:extLst>
              <a:ext uri="{FF2B5EF4-FFF2-40B4-BE49-F238E27FC236}">
                <a16:creationId xmlns:a16="http://schemas.microsoft.com/office/drawing/2014/main" id="{E5C43B96-0235-49E1-A754-B5766DB8843C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67127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1.45833E-6 1.48148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1.45833E-6 1.48148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1.45833E-6 -4.44444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3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2576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83321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CRM</a:t>
            </a: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 для юрлиц</a:t>
            </a:r>
            <a:endParaRPr lang="en-US" sz="4400" b="1" dirty="0">
              <a:solidFill>
                <a:srgbClr val="0D0D0D">
                  <a:lumMod val="75000"/>
                  <a:lumOff val="25000"/>
                </a:srgbClr>
              </a:solidFill>
              <a:latin typeface="Roboto" pitchFamily="2" charset="0"/>
              <a:ea typeface="Roboto" pitchFamily="2" charset="0"/>
            </a:endParaRP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94" name="Группа 693">
            <a:extLst>
              <a:ext uri="{FF2B5EF4-FFF2-40B4-BE49-F238E27FC236}">
                <a16:creationId xmlns:a16="http://schemas.microsoft.com/office/drawing/2014/main" id="{D1E43501-5A62-4A60-992E-54A13A1E0241}"/>
              </a:ext>
            </a:extLst>
          </p:cNvPr>
          <p:cNvGrpSpPr/>
          <p:nvPr/>
        </p:nvGrpSpPr>
        <p:grpSpPr>
          <a:xfrm>
            <a:off x="-4062312" y="1774656"/>
            <a:ext cx="3694129" cy="3919339"/>
            <a:chOff x="771558" y="1774656"/>
            <a:chExt cx="3694129" cy="3919339"/>
          </a:xfrm>
        </p:grpSpPr>
        <p:sp>
          <p:nvSpPr>
            <p:cNvPr id="695" name="Shape_фон">
              <a:extLst>
                <a:ext uri="{FF2B5EF4-FFF2-40B4-BE49-F238E27FC236}">
                  <a16:creationId xmlns:a16="http://schemas.microsoft.com/office/drawing/2014/main" id="{AB35F627-3E3D-49C6-8663-B8FE7F7D11E4}"/>
                </a:ext>
              </a:extLst>
            </p:cNvPr>
            <p:cNvSpPr/>
            <p:nvPr/>
          </p:nvSpPr>
          <p:spPr>
            <a:xfrm>
              <a:off x="771558" y="1774656"/>
              <a:ext cx="3694129" cy="39193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я</a:t>
              </a:r>
            </a:p>
          </p:txBody>
        </p:sp>
        <p:sp>
          <p:nvSpPr>
            <p:cNvPr id="696" name="Motion design">
              <a:extLst>
                <a:ext uri="{FF2B5EF4-FFF2-40B4-BE49-F238E27FC236}">
                  <a16:creationId xmlns:a16="http://schemas.microsoft.com/office/drawing/2014/main" id="{187895E1-248B-4BC3-98F8-F8DEF20DA3C8}"/>
                </a:ext>
              </a:extLst>
            </p:cNvPr>
            <p:cNvSpPr txBox="1"/>
            <p:nvPr/>
          </p:nvSpPr>
          <p:spPr>
            <a:xfrm>
              <a:off x="1020224" y="2790477"/>
              <a:ext cx="2933236" cy="24947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effectLst/>
                  <a:latin typeface="Helvetica Neue" panose="02000503000000020004" pitchFamily="2" charset="0"/>
                </a:rPr>
                <a:t>Единая клиентская база.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CR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-система может не хранить данные, которые есть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r>
                <a:rPr lang="ru-RU" sz="1400" dirty="0">
                  <a:effectLst/>
                  <a:latin typeface="Helvetica Neue" panose="02000503000000020004" pitchFamily="2" charset="0"/>
                </a:rPr>
                <a:t>. </a:t>
              </a:r>
              <a:r>
                <a:rPr lang="en-US" sz="1400" dirty="0">
                  <a:latin typeface="Helvetica Neue" panose="02000503000000020004" pitchFamily="2" charset="0"/>
                </a:rPr>
                <a:t>CRM </a:t>
              </a:r>
              <a:r>
                <a:rPr lang="ru-RU" sz="1400" dirty="0">
                  <a:latin typeface="Helvetica Neue" panose="02000503000000020004" pitchFamily="2" charset="0"/>
                </a:rPr>
                <a:t>следит за клиентами в </a:t>
              </a:r>
              <a:r>
                <a:rPr lang="en-US" sz="1400" dirty="0">
                  <a:latin typeface="Helvetica Neue" panose="02000503000000020004" pitchFamily="2" charset="0"/>
                </a:rPr>
                <a:t>MDM</a:t>
              </a:r>
              <a:r>
                <a:rPr lang="ru-RU" sz="1400" dirty="0">
                  <a:latin typeface="Helvetica Neue" panose="02000503000000020004" pitchFamily="2" charset="0"/>
                </a:rPr>
                <a:t>. </a:t>
              </a: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endParaRPr lang="ru-RU" sz="1400" dirty="0">
                <a:effectLst/>
                <a:latin typeface="Helvetica Neue" panose="02000503000000020004" pitchFamily="2" charset="0"/>
              </a:endParaRPr>
            </a:p>
            <a:p>
              <a:pPr marL="285750" indent="-285750"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Helvetica Neue" panose="02000503000000020004" pitchFamily="2" charset="0"/>
                </a:rPr>
                <a:t>Отказ от кросс-ссылок между системами. Все ссылки хранятся в </a:t>
              </a:r>
              <a:r>
                <a:rPr lang="en-US" sz="1400" dirty="0">
                  <a:effectLst/>
                  <a:latin typeface="Helvetica Neue" panose="02000503000000020004" pitchFamily="2" charset="0"/>
                </a:rPr>
                <a:t>MDM</a:t>
              </a:r>
              <a:endParaRPr lang="ru-RU" sz="1400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grpSp>
          <p:nvGrpSpPr>
            <p:cNvPr id="697" name="Группа 696">
              <a:extLst>
                <a:ext uri="{FF2B5EF4-FFF2-40B4-BE49-F238E27FC236}">
                  <a16:creationId xmlns:a16="http://schemas.microsoft.com/office/drawing/2014/main" id="{EB55B76D-3A4B-4BFC-A1F4-AC490E0D0CC2}"/>
                </a:ext>
              </a:extLst>
            </p:cNvPr>
            <p:cNvGrpSpPr/>
            <p:nvPr/>
          </p:nvGrpSpPr>
          <p:grpSpPr>
            <a:xfrm>
              <a:off x="858511" y="2040092"/>
              <a:ext cx="3355935" cy="480583"/>
              <a:chOff x="858511" y="2040092"/>
              <a:chExt cx="3355935" cy="480583"/>
            </a:xfrm>
          </p:grpSpPr>
          <p:sp>
            <p:nvSpPr>
              <p:cNvPr id="698" name="Rounded Rectangle">
                <a:extLst>
                  <a:ext uri="{FF2B5EF4-FFF2-40B4-BE49-F238E27FC236}">
                    <a16:creationId xmlns:a16="http://schemas.microsoft.com/office/drawing/2014/main" id="{DE4FF609-5AAD-41C5-8692-DDC2276AD433}"/>
                  </a:ext>
                </a:extLst>
              </p:cNvPr>
              <p:cNvSpPr/>
              <p:nvPr/>
            </p:nvSpPr>
            <p:spPr>
              <a:xfrm>
                <a:off x="858511" y="2040092"/>
                <a:ext cx="3355935" cy="48058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412750" hangingPunct="0"/>
                <a:endParaRPr lang="ru-RU" sz="1600" kern="0" dirty="0">
                  <a:solidFill>
                    <a:srgbClr val="FFFFFF"/>
                  </a:solidFill>
                  <a:latin typeface="Akrobat" panose="00000600000000000000" pitchFamily="50" charset="-52"/>
                  <a:cs typeface="Poppins Bold"/>
                  <a:sym typeface="Poppins Bold"/>
                </a:endParaRPr>
              </a:p>
            </p:txBody>
          </p:sp>
          <p:sp>
            <p:nvSpPr>
              <p:cNvPr id="699" name="Circle">
                <a:extLst>
                  <a:ext uri="{FF2B5EF4-FFF2-40B4-BE49-F238E27FC236}">
                    <a16:creationId xmlns:a16="http://schemas.microsoft.com/office/drawing/2014/main" id="{AB504674-9221-496D-9E18-D82D98E2C199}"/>
                  </a:ext>
                </a:extLst>
              </p:cNvPr>
              <p:cNvSpPr/>
              <p:nvPr/>
            </p:nvSpPr>
            <p:spPr>
              <a:xfrm>
                <a:off x="997752" y="2115116"/>
                <a:ext cx="335294" cy="335294"/>
              </a:xfrm>
              <a:prstGeom prst="ellipse">
                <a:avLst/>
              </a:prstGeom>
              <a:solidFill>
                <a:schemeClr val="accent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chemeClr val="accent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00" name="Описание">
                <a:extLst>
                  <a:ext uri="{FF2B5EF4-FFF2-40B4-BE49-F238E27FC236}">
                    <a16:creationId xmlns:a16="http://schemas.microsoft.com/office/drawing/2014/main" id="{92335657-D7F1-4ED4-9E76-FFDFC2AB1A76}"/>
                  </a:ext>
                </a:extLst>
              </p:cNvPr>
              <p:cNvSpPr txBox="1"/>
              <p:nvPr/>
            </p:nvSpPr>
            <p:spPr>
              <a:xfrm>
                <a:off x="1376471" y="2095717"/>
                <a:ext cx="95410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b="1" dirty="0">
                    <a:solidFill>
                      <a:schemeClr val="accent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люсы</a:t>
                </a:r>
                <a:endPara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</p:grpSp>
      <p:grpSp>
        <p:nvGrpSpPr>
          <p:cNvPr id="701" name="Группа 700">
            <a:extLst>
              <a:ext uri="{FF2B5EF4-FFF2-40B4-BE49-F238E27FC236}">
                <a16:creationId xmlns:a16="http://schemas.microsoft.com/office/drawing/2014/main" id="{97FA7DF5-F834-466E-852F-59ED4216F75B}"/>
              </a:ext>
            </a:extLst>
          </p:cNvPr>
          <p:cNvGrpSpPr/>
          <p:nvPr/>
        </p:nvGrpSpPr>
        <p:grpSpPr>
          <a:xfrm rot="5400000">
            <a:off x="4096653" y="3272612"/>
            <a:ext cx="708842" cy="409681"/>
            <a:chOff x="2615298" y="2868391"/>
            <a:chExt cx="1041708" cy="602064"/>
          </a:xfrm>
        </p:grpSpPr>
        <p:pic>
          <p:nvPicPr>
            <p:cNvPr id="702" name="Рисунок 701">
              <a:extLst>
                <a:ext uri="{FF2B5EF4-FFF2-40B4-BE49-F238E27FC236}">
                  <a16:creationId xmlns:a16="http://schemas.microsoft.com/office/drawing/2014/main" id="{1C5D6239-BDD2-404A-85F5-8E446DB2C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03" name="Рисунок 702">
              <a:extLst>
                <a:ext uri="{FF2B5EF4-FFF2-40B4-BE49-F238E27FC236}">
                  <a16:creationId xmlns:a16="http://schemas.microsoft.com/office/drawing/2014/main" id="{7F305A39-BAB7-49C0-8571-BF09F438A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04" name="Группа 703">
            <a:extLst>
              <a:ext uri="{FF2B5EF4-FFF2-40B4-BE49-F238E27FC236}">
                <a16:creationId xmlns:a16="http://schemas.microsoft.com/office/drawing/2014/main" id="{24F744D8-1D97-405D-92CF-8C35B3153118}"/>
              </a:ext>
            </a:extLst>
          </p:cNvPr>
          <p:cNvGrpSpPr/>
          <p:nvPr/>
        </p:nvGrpSpPr>
        <p:grpSpPr>
          <a:xfrm rot="16200000" flipH="1">
            <a:off x="1600802" y="3272611"/>
            <a:ext cx="708842" cy="409681"/>
            <a:chOff x="2615298" y="2868391"/>
            <a:chExt cx="1041708" cy="602064"/>
          </a:xfrm>
        </p:grpSpPr>
        <p:pic>
          <p:nvPicPr>
            <p:cNvPr id="705" name="Рисунок 704">
              <a:extLst>
                <a:ext uri="{FF2B5EF4-FFF2-40B4-BE49-F238E27FC236}">
                  <a16:creationId xmlns:a16="http://schemas.microsoft.com/office/drawing/2014/main" id="{9AF09469-B84A-4D14-9ADD-9894BEFD4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706" name="Рисунок 705">
              <a:extLst>
                <a:ext uri="{FF2B5EF4-FFF2-40B4-BE49-F238E27FC236}">
                  <a16:creationId xmlns:a16="http://schemas.microsoft.com/office/drawing/2014/main" id="{8E4BB177-9FA7-47DC-BC29-E7A6AB332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707" name="Группа 706">
            <a:extLst>
              <a:ext uri="{FF2B5EF4-FFF2-40B4-BE49-F238E27FC236}">
                <a16:creationId xmlns:a16="http://schemas.microsoft.com/office/drawing/2014/main" id="{B81490C8-CAFA-4EF5-BDCB-C28EF70E5B8B}"/>
              </a:ext>
            </a:extLst>
          </p:cNvPr>
          <p:cNvGrpSpPr/>
          <p:nvPr/>
        </p:nvGrpSpPr>
        <p:grpSpPr>
          <a:xfrm>
            <a:off x="2115116" y="1634346"/>
            <a:ext cx="2180820" cy="1377955"/>
            <a:chOff x="6883587" y="1731154"/>
            <a:chExt cx="2180820" cy="1377955"/>
          </a:xfrm>
        </p:grpSpPr>
        <p:sp>
          <p:nvSpPr>
            <p:cNvPr id="708" name="Shape_фон">
              <a:extLst>
                <a:ext uri="{FF2B5EF4-FFF2-40B4-BE49-F238E27FC236}">
                  <a16:creationId xmlns:a16="http://schemas.microsoft.com/office/drawing/2014/main" id="{D41D005F-188B-46F7-A33D-16D5DC5E30AA}"/>
                </a:ext>
              </a:extLst>
            </p:cNvPr>
            <p:cNvSpPr/>
            <p:nvPr/>
          </p:nvSpPr>
          <p:spPr>
            <a:xfrm>
              <a:off x="6883587" y="1731154"/>
              <a:ext cx="2180820" cy="137795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09" name="Описание">
              <a:extLst>
                <a:ext uri="{FF2B5EF4-FFF2-40B4-BE49-F238E27FC236}">
                  <a16:creationId xmlns:a16="http://schemas.microsoft.com/office/drawing/2014/main" id="{3FC4DA49-9A30-488C-8CCF-33F05431DC05}"/>
                </a:ext>
              </a:extLst>
            </p:cNvPr>
            <p:cNvSpPr txBox="1"/>
            <p:nvPr/>
          </p:nvSpPr>
          <p:spPr>
            <a:xfrm>
              <a:off x="7390344" y="1916788"/>
              <a:ext cx="11673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lient Gate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0" name="Рисунок 709">
              <a:extLst>
                <a:ext uri="{FF2B5EF4-FFF2-40B4-BE49-F238E27FC236}">
                  <a16:creationId xmlns:a16="http://schemas.microsoft.com/office/drawing/2014/main" id="{1CD166C9-50D8-4BFE-ACE0-6B1255C34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59232" y="2300609"/>
              <a:ext cx="630726" cy="586689"/>
            </a:xfrm>
            <a:prstGeom prst="rect">
              <a:avLst/>
            </a:prstGeom>
          </p:spPr>
        </p:pic>
      </p:grpSp>
      <p:grpSp>
        <p:nvGrpSpPr>
          <p:cNvPr id="711" name="Группа 710">
            <a:extLst>
              <a:ext uri="{FF2B5EF4-FFF2-40B4-BE49-F238E27FC236}">
                <a16:creationId xmlns:a16="http://schemas.microsoft.com/office/drawing/2014/main" id="{0365BF31-262E-4FA8-A5C9-9DCD1DA689C5}"/>
              </a:ext>
            </a:extLst>
          </p:cNvPr>
          <p:cNvGrpSpPr/>
          <p:nvPr/>
        </p:nvGrpSpPr>
        <p:grpSpPr>
          <a:xfrm>
            <a:off x="750098" y="4069612"/>
            <a:ext cx="1507914" cy="1484073"/>
            <a:chOff x="6377730" y="4166420"/>
            <a:chExt cx="1507914" cy="1484073"/>
          </a:xfrm>
        </p:grpSpPr>
        <p:sp>
          <p:nvSpPr>
            <p:cNvPr id="712" name="Shape_фон">
              <a:extLst>
                <a:ext uri="{FF2B5EF4-FFF2-40B4-BE49-F238E27FC236}">
                  <a16:creationId xmlns:a16="http://schemas.microsoft.com/office/drawing/2014/main" id="{21C943C2-9622-465C-91CA-6A5D9A738813}"/>
                </a:ext>
              </a:extLst>
            </p:cNvPr>
            <p:cNvSpPr/>
            <p:nvPr/>
          </p:nvSpPr>
          <p:spPr>
            <a:xfrm>
              <a:off x="6377730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3" name="Описание">
              <a:extLst>
                <a:ext uri="{FF2B5EF4-FFF2-40B4-BE49-F238E27FC236}">
                  <a16:creationId xmlns:a16="http://schemas.microsoft.com/office/drawing/2014/main" id="{DE08D114-2EDA-48F7-BFB7-CFA18DBB8F0E}"/>
                </a:ext>
              </a:extLst>
            </p:cNvPr>
            <p:cNvSpPr txBox="1"/>
            <p:nvPr/>
          </p:nvSpPr>
          <p:spPr>
            <a:xfrm>
              <a:off x="6800566" y="4393287"/>
              <a:ext cx="6751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MD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4" name="Рисунок 713">
              <a:extLst>
                <a:ext uri="{FF2B5EF4-FFF2-40B4-BE49-F238E27FC236}">
                  <a16:creationId xmlns:a16="http://schemas.microsoft.com/office/drawing/2014/main" id="{54AA48E0-9B17-4509-8372-035DC36B9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25390" y="4789527"/>
              <a:ext cx="611730" cy="583924"/>
            </a:xfrm>
            <a:prstGeom prst="rect">
              <a:avLst/>
            </a:prstGeom>
          </p:spPr>
        </p:pic>
      </p:grpSp>
      <p:grpSp>
        <p:nvGrpSpPr>
          <p:cNvPr id="715" name="Группа 714">
            <a:extLst>
              <a:ext uri="{FF2B5EF4-FFF2-40B4-BE49-F238E27FC236}">
                <a16:creationId xmlns:a16="http://schemas.microsoft.com/office/drawing/2014/main" id="{0C95AE1A-92AD-44C5-9B7A-D627812EF43F}"/>
              </a:ext>
            </a:extLst>
          </p:cNvPr>
          <p:cNvGrpSpPr/>
          <p:nvPr/>
        </p:nvGrpSpPr>
        <p:grpSpPr>
          <a:xfrm>
            <a:off x="4153904" y="4069612"/>
            <a:ext cx="1507914" cy="1484073"/>
            <a:chOff x="8120168" y="4166420"/>
            <a:chExt cx="1507914" cy="1484073"/>
          </a:xfrm>
        </p:grpSpPr>
        <p:sp>
          <p:nvSpPr>
            <p:cNvPr id="716" name="Shape_фон">
              <a:extLst>
                <a:ext uri="{FF2B5EF4-FFF2-40B4-BE49-F238E27FC236}">
                  <a16:creationId xmlns:a16="http://schemas.microsoft.com/office/drawing/2014/main" id="{747CCEB0-61A8-49D4-9691-23DCD60CF01D}"/>
                </a:ext>
              </a:extLst>
            </p:cNvPr>
            <p:cNvSpPr/>
            <p:nvPr/>
          </p:nvSpPr>
          <p:spPr>
            <a:xfrm>
              <a:off x="8120168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7" name="Описание">
              <a:extLst>
                <a:ext uri="{FF2B5EF4-FFF2-40B4-BE49-F238E27FC236}">
                  <a16:creationId xmlns:a16="http://schemas.microsoft.com/office/drawing/2014/main" id="{1AD38D39-9E8C-4D25-B052-F7FEDC715982}"/>
                </a:ext>
              </a:extLst>
            </p:cNvPr>
            <p:cNvSpPr txBox="1"/>
            <p:nvPr/>
          </p:nvSpPr>
          <p:spPr>
            <a:xfrm>
              <a:off x="8358302" y="4393287"/>
              <a:ext cx="103164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 ЮЛ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718" name="Рисунок 717">
              <a:extLst>
                <a:ext uri="{FF2B5EF4-FFF2-40B4-BE49-F238E27FC236}">
                  <a16:creationId xmlns:a16="http://schemas.microsoft.com/office/drawing/2014/main" id="{C3E26FA6-15CC-48DC-91BF-727F93416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578108" y="4789527"/>
              <a:ext cx="592034" cy="592034"/>
            </a:xfrm>
            <a:prstGeom prst="rect">
              <a:avLst/>
            </a:prstGeom>
          </p:spPr>
        </p:pic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E2A322AF-D760-4D5F-B5C7-6D24EFA9EFE7}"/>
              </a:ext>
            </a:extLst>
          </p:cNvPr>
          <p:cNvGrpSpPr/>
          <p:nvPr/>
        </p:nvGrpSpPr>
        <p:grpSpPr>
          <a:xfrm rot="7231138">
            <a:off x="2858008" y="3327532"/>
            <a:ext cx="708842" cy="409681"/>
            <a:chOff x="2615298" y="2868391"/>
            <a:chExt cx="1041708" cy="602064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6A6ED161-17D7-4CE9-BF15-70570F000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3600000">
              <a:off x="3101182" y="2715909"/>
              <a:ext cx="403341" cy="708306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F2BAF8E1-0532-4831-ADF0-3FB49FEF4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4400000">
              <a:off x="2767780" y="2914632"/>
              <a:ext cx="403341" cy="708306"/>
            </a:xfrm>
            <a:prstGeom prst="rect">
              <a:avLst/>
            </a:prstGeom>
          </p:spPr>
        </p:pic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D0628171-5E97-4ABD-8ADB-FC8A34DCE9A0}"/>
              </a:ext>
            </a:extLst>
          </p:cNvPr>
          <p:cNvGrpSpPr/>
          <p:nvPr/>
        </p:nvGrpSpPr>
        <p:grpSpPr>
          <a:xfrm>
            <a:off x="2452001" y="4069612"/>
            <a:ext cx="1507914" cy="1484073"/>
            <a:chOff x="6377730" y="4166420"/>
            <a:chExt cx="1507914" cy="1484073"/>
          </a:xfrm>
        </p:grpSpPr>
        <p:sp>
          <p:nvSpPr>
            <p:cNvPr id="61" name="Shape_фон">
              <a:extLst>
                <a:ext uri="{FF2B5EF4-FFF2-40B4-BE49-F238E27FC236}">
                  <a16:creationId xmlns:a16="http://schemas.microsoft.com/office/drawing/2014/main" id="{21AD4466-0854-4894-8C70-82BF12008003}"/>
                </a:ext>
              </a:extLst>
            </p:cNvPr>
            <p:cNvSpPr/>
            <p:nvPr/>
          </p:nvSpPr>
          <p:spPr>
            <a:xfrm>
              <a:off x="6377730" y="4166420"/>
              <a:ext cx="1507914" cy="14840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2" name="Описание">
              <a:extLst>
                <a:ext uri="{FF2B5EF4-FFF2-40B4-BE49-F238E27FC236}">
                  <a16:creationId xmlns:a16="http://schemas.microsoft.com/office/drawing/2014/main" id="{99D9D254-1C1D-42EF-A030-237E1A308A11}"/>
                </a:ext>
              </a:extLst>
            </p:cNvPr>
            <p:cNvSpPr txBox="1"/>
            <p:nvPr/>
          </p:nvSpPr>
          <p:spPr>
            <a:xfrm>
              <a:off x="6622856" y="4393287"/>
              <a:ext cx="104089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RM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 ФЛ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id="{77EEB73D-7810-41CD-A743-DEB265AFE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6835238" y="4789527"/>
              <a:ext cx="592034" cy="583924"/>
            </a:xfrm>
            <a:prstGeom prst="rect">
              <a:avLst/>
            </a:prstGeom>
          </p:spPr>
        </p:pic>
      </p:grpSp>
      <p:sp>
        <p:nvSpPr>
          <p:cNvPr id="136" name="Rounded Rectangle">
            <a:extLst>
              <a:ext uri="{FF2B5EF4-FFF2-40B4-BE49-F238E27FC236}">
                <a16:creationId xmlns:a16="http://schemas.microsoft.com/office/drawing/2014/main" id="{0A627F78-9290-4A94-B5E2-9DD24FF51F0C}"/>
              </a:ext>
            </a:extLst>
          </p:cNvPr>
          <p:cNvSpPr/>
          <p:nvPr/>
        </p:nvSpPr>
        <p:spPr>
          <a:xfrm>
            <a:off x="12874070" y="2395395"/>
            <a:ext cx="4831039" cy="2799561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C3230C5E-BBC5-464C-9B56-8CB3EC1565E6}"/>
              </a:ext>
            </a:extLst>
          </p:cNvPr>
          <p:cNvGrpSpPr/>
          <p:nvPr/>
        </p:nvGrpSpPr>
        <p:grpSpPr>
          <a:xfrm>
            <a:off x="12664740" y="4853176"/>
            <a:ext cx="5051622" cy="847113"/>
            <a:chOff x="7315420" y="4380123"/>
            <a:chExt cx="5051622" cy="847113"/>
          </a:xfrm>
        </p:grpSpPr>
        <p:sp>
          <p:nvSpPr>
            <p:cNvPr id="149" name="Rounded Rectangle">
              <a:extLst>
                <a:ext uri="{FF2B5EF4-FFF2-40B4-BE49-F238E27FC236}">
                  <a16:creationId xmlns:a16="http://schemas.microsoft.com/office/drawing/2014/main" id="{397F9BFE-FA1E-48B2-8AAC-C4CAAB39343C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50" name="Motion design">
              <a:extLst>
                <a:ext uri="{FF2B5EF4-FFF2-40B4-BE49-F238E27FC236}">
                  <a16:creationId xmlns:a16="http://schemas.microsoft.com/office/drawing/2014/main" id="{5B495AB0-F67D-4959-9CB5-FFCE450BCF07}"/>
                </a:ext>
              </a:extLst>
            </p:cNvPr>
            <p:cNvSpPr txBox="1"/>
            <p:nvPr/>
          </p:nvSpPr>
          <p:spPr>
            <a:xfrm>
              <a:off x="8239784" y="4525582"/>
              <a:ext cx="308477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озможность локализовать некоторые точки принятия решения </a:t>
              </a:r>
            </a:p>
          </p:txBody>
        </p:sp>
        <p:sp>
          <p:nvSpPr>
            <p:cNvPr id="151" name="Circle">
              <a:extLst>
                <a:ext uri="{FF2B5EF4-FFF2-40B4-BE49-F238E27FC236}">
                  <a16:creationId xmlns:a16="http://schemas.microsoft.com/office/drawing/2014/main" id="{488C0B71-C0F1-4A90-A558-CB24494C739D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52" name="Рисунок 151">
              <a:extLst>
                <a:ext uri="{FF2B5EF4-FFF2-40B4-BE49-F238E27FC236}">
                  <a16:creationId xmlns:a16="http://schemas.microsoft.com/office/drawing/2014/main" id="{0C4F6578-9BF6-4AAC-BF4E-825F5B5694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76090" y="4627828"/>
              <a:ext cx="382892" cy="336946"/>
            </a:xfrm>
            <a:prstGeom prst="rect">
              <a:avLst/>
            </a:prstGeom>
          </p:spPr>
        </p:pic>
      </p:grp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id="{10C73216-983F-4B4B-9D96-355E79674FC5}"/>
              </a:ext>
            </a:extLst>
          </p:cNvPr>
          <p:cNvGrpSpPr/>
          <p:nvPr/>
        </p:nvGrpSpPr>
        <p:grpSpPr>
          <a:xfrm>
            <a:off x="12664740" y="3818473"/>
            <a:ext cx="5051622" cy="847113"/>
            <a:chOff x="7315420" y="4380123"/>
            <a:chExt cx="5051622" cy="847113"/>
          </a:xfrm>
        </p:grpSpPr>
        <p:sp>
          <p:nvSpPr>
            <p:cNvPr id="144" name="Rounded Rectangle">
              <a:extLst>
                <a:ext uri="{FF2B5EF4-FFF2-40B4-BE49-F238E27FC236}">
                  <a16:creationId xmlns:a16="http://schemas.microsoft.com/office/drawing/2014/main" id="{5D9CF8F8-0FEF-4D90-8137-3FAD5E1A54DD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5" name="Motion design">
              <a:extLst>
                <a:ext uri="{FF2B5EF4-FFF2-40B4-BE49-F238E27FC236}">
                  <a16:creationId xmlns:a16="http://schemas.microsoft.com/office/drawing/2014/main" id="{A2145381-3449-4495-A737-5807C16B5185}"/>
                </a:ext>
              </a:extLst>
            </p:cNvPr>
            <p:cNvSpPr txBox="1"/>
            <p:nvPr/>
          </p:nvSpPr>
          <p:spPr>
            <a:xfrm>
              <a:off x="8239784" y="4665620"/>
              <a:ext cx="3021273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ая авторизация в системах</a:t>
              </a:r>
            </a:p>
          </p:txBody>
        </p:sp>
        <p:sp>
          <p:nvSpPr>
            <p:cNvPr id="146" name="Circle">
              <a:extLst>
                <a:ext uri="{FF2B5EF4-FFF2-40B4-BE49-F238E27FC236}">
                  <a16:creationId xmlns:a16="http://schemas.microsoft.com/office/drawing/2014/main" id="{47088A49-C5FF-4075-BD5A-26D93257016C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47" name="Рисунок 146">
              <a:extLst>
                <a:ext uri="{FF2B5EF4-FFF2-40B4-BE49-F238E27FC236}">
                  <a16:creationId xmlns:a16="http://schemas.microsoft.com/office/drawing/2014/main" id="{47DD7973-C484-4CF8-838E-C5A809BF3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12646" y="4674301"/>
              <a:ext cx="309781" cy="263314"/>
            </a:xfrm>
            <a:prstGeom prst="rect">
              <a:avLst/>
            </a:prstGeom>
          </p:spPr>
        </p:pic>
      </p:grp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8A38BB3E-DF6C-40C2-B1A9-B7A91F9F83BE}"/>
              </a:ext>
            </a:extLst>
          </p:cNvPr>
          <p:cNvGrpSpPr/>
          <p:nvPr/>
        </p:nvGrpSpPr>
        <p:grpSpPr>
          <a:xfrm>
            <a:off x="12664740" y="2783771"/>
            <a:ext cx="5051622" cy="847113"/>
            <a:chOff x="7520951" y="2783771"/>
            <a:chExt cx="5051622" cy="847113"/>
          </a:xfrm>
        </p:grpSpPr>
        <p:sp>
          <p:nvSpPr>
            <p:cNvPr id="154" name="Rounded Rectangle">
              <a:extLst>
                <a:ext uri="{FF2B5EF4-FFF2-40B4-BE49-F238E27FC236}">
                  <a16:creationId xmlns:a16="http://schemas.microsoft.com/office/drawing/2014/main" id="{F9CA7591-231E-45BB-9331-8AEC062F5CA0}"/>
                </a:ext>
              </a:extLst>
            </p:cNvPr>
            <p:cNvSpPr/>
            <p:nvPr/>
          </p:nvSpPr>
          <p:spPr>
            <a:xfrm>
              <a:off x="7520951" y="278377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55" name="Motion design">
              <a:extLst>
                <a:ext uri="{FF2B5EF4-FFF2-40B4-BE49-F238E27FC236}">
                  <a16:creationId xmlns:a16="http://schemas.microsoft.com/office/drawing/2014/main" id="{C34209FE-6B71-4E9C-A2D7-78F7FDF5699A}"/>
                </a:ext>
              </a:extLst>
            </p:cNvPr>
            <p:cNvSpPr txBox="1"/>
            <p:nvPr/>
          </p:nvSpPr>
          <p:spPr>
            <a:xfrm>
              <a:off x="8445315" y="2929229"/>
              <a:ext cx="322961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Контроль наличия данных в клиентских карточках для клиентов</a:t>
              </a:r>
            </a:p>
          </p:txBody>
        </p:sp>
        <p:sp>
          <p:nvSpPr>
            <p:cNvPr id="156" name="Circle">
              <a:extLst>
                <a:ext uri="{FF2B5EF4-FFF2-40B4-BE49-F238E27FC236}">
                  <a16:creationId xmlns:a16="http://schemas.microsoft.com/office/drawing/2014/main" id="{373755D2-B00D-4156-B646-82227C64A535}"/>
                </a:ext>
              </a:extLst>
            </p:cNvPr>
            <p:cNvSpPr/>
            <p:nvPr/>
          </p:nvSpPr>
          <p:spPr>
            <a:xfrm>
              <a:off x="7647135" y="288966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57" name="Рисунок 156">
              <a:extLst>
                <a:ext uri="{FF2B5EF4-FFF2-40B4-BE49-F238E27FC236}">
                  <a16:creationId xmlns:a16="http://schemas.microsoft.com/office/drawing/2014/main" id="{B23230F7-A695-4053-966E-398F92B626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7773586" y="3082328"/>
              <a:ext cx="378376" cy="249998"/>
            </a:xfrm>
            <a:prstGeom prst="rect">
              <a:avLst/>
            </a:prstGeom>
          </p:spPr>
        </p:pic>
      </p:grpSp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id="{9614E936-54C6-4B60-B616-700CBD8C7BA6}"/>
              </a:ext>
            </a:extLst>
          </p:cNvPr>
          <p:cNvGrpSpPr/>
          <p:nvPr/>
        </p:nvGrpSpPr>
        <p:grpSpPr>
          <a:xfrm>
            <a:off x="12664740" y="1749068"/>
            <a:ext cx="5051622" cy="847113"/>
            <a:chOff x="6510195" y="1556711"/>
            <a:chExt cx="5051622" cy="847113"/>
          </a:xfrm>
        </p:grpSpPr>
        <p:sp>
          <p:nvSpPr>
            <p:cNvPr id="139" name="Rounded Rectangle">
              <a:extLst>
                <a:ext uri="{FF2B5EF4-FFF2-40B4-BE49-F238E27FC236}">
                  <a16:creationId xmlns:a16="http://schemas.microsoft.com/office/drawing/2014/main" id="{D218E56D-C06C-4783-B12A-5056B90185F1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0" name="Motion design">
              <a:extLst>
                <a:ext uri="{FF2B5EF4-FFF2-40B4-BE49-F238E27FC236}">
                  <a16:creationId xmlns:a16="http://schemas.microsoft.com/office/drawing/2014/main" id="{A8586734-8F6E-457B-BA37-2E79DE4BD221}"/>
                </a:ext>
              </a:extLst>
            </p:cNvPr>
            <p:cNvSpPr txBox="1"/>
            <p:nvPr/>
          </p:nvSpPr>
          <p:spPr>
            <a:xfrm>
              <a:off x="7434557" y="1702170"/>
              <a:ext cx="3389575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Единый интерфейс клиентского домена для потребителей. </a:t>
              </a:r>
            </a:p>
          </p:txBody>
        </p:sp>
        <p:sp>
          <p:nvSpPr>
            <p:cNvPr id="141" name="Circle">
              <a:extLst>
                <a:ext uri="{FF2B5EF4-FFF2-40B4-BE49-F238E27FC236}">
                  <a16:creationId xmlns:a16="http://schemas.microsoft.com/office/drawing/2014/main" id="{260FB733-B5EB-4BE4-90C0-A232214607F5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4C8ABAC1-EB00-4C6B-B8DB-F2D3C2EF4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/>
          </p:blipFill>
          <p:spPr>
            <a:xfrm>
              <a:off x="6786835" y="1817575"/>
              <a:ext cx="330367" cy="330367"/>
            </a:xfrm>
            <a:prstGeom prst="rect">
              <a:avLst/>
            </a:prstGeom>
          </p:spPr>
        </p:pic>
      </p:grpSp>
      <p:sp>
        <p:nvSpPr>
          <p:cNvPr id="137" name="Описание">
            <a:extLst>
              <a:ext uri="{FF2B5EF4-FFF2-40B4-BE49-F238E27FC236}">
                <a16:creationId xmlns:a16="http://schemas.microsoft.com/office/drawing/2014/main" id="{F128C0D5-461E-46A6-8476-471AC82B94B4}"/>
              </a:ext>
            </a:extLst>
          </p:cNvPr>
          <p:cNvSpPr txBox="1"/>
          <p:nvPr/>
        </p:nvSpPr>
        <p:spPr>
          <a:xfrm>
            <a:off x="13126051" y="1313186"/>
            <a:ext cx="2133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accent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Задачи </a:t>
            </a:r>
            <a:r>
              <a:rPr lang="en-US" b="1" dirty="0">
                <a:solidFill>
                  <a:schemeClr val="accent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lient Gate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109" name="Rounded Rectangle">
            <a:extLst>
              <a:ext uri="{FF2B5EF4-FFF2-40B4-BE49-F238E27FC236}">
                <a16:creationId xmlns:a16="http://schemas.microsoft.com/office/drawing/2014/main" id="{02397085-245A-4699-AFF3-B8D6C082EEB5}"/>
              </a:ext>
            </a:extLst>
          </p:cNvPr>
          <p:cNvSpPr/>
          <p:nvPr/>
        </p:nvSpPr>
        <p:spPr>
          <a:xfrm>
            <a:off x="7327925" y="2791426"/>
            <a:ext cx="4831039" cy="2103555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7B85B11B-F80E-414A-A9E7-A522CF85DED2}"/>
              </a:ext>
            </a:extLst>
          </p:cNvPr>
          <p:cNvGrpSpPr/>
          <p:nvPr/>
        </p:nvGrpSpPr>
        <p:grpSpPr>
          <a:xfrm>
            <a:off x="7118595" y="2145099"/>
            <a:ext cx="5051622" cy="847113"/>
            <a:chOff x="6510195" y="1556711"/>
            <a:chExt cx="5051622" cy="847113"/>
          </a:xfrm>
        </p:grpSpPr>
        <p:sp>
          <p:nvSpPr>
            <p:cNvPr id="112" name="Rounded Rectangle">
              <a:extLst>
                <a:ext uri="{FF2B5EF4-FFF2-40B4-BE49-F238E27FC236}">
                  <a16:creationId xmlns:a16="http://schemas.microsoft.com/office/drawing/2014/main" id="{28D8E22A-DA56-4076-9290-F092F02A4353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3" name="Motion design">
              <a:extLst>
                <a:ext uri="{FF2B5EF4-FFF2-40B4-BE49-F238E27FC236}">
                  <a16:creationId xmlns:a16="http://schemas.microsoft.com/office/drawing/2014/main" id="{E9A9795D-50AF-4463-8EC6-DDBB34DD9854}"/>
                </a:ext>
              </a:extLst>
            </p:cNvPr>
            <p:cNvSpPr txBox="1"/>
            <p:nvPr/>
          </p:nvSpPr>
          <p:spPr>
            <a:xfrm>
              <a:off x="7434558" y="1702170"/>
              <a:ext cx="2787806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се юридические лица хранятся в CRM ЮЛ</a:t>
              </a:r>
            </a:p>
          </p:txBody>
        </p:sp>
        <p:sp>
          <p:nvSpPr>
            <p:cNvPr id="114" name="Circle">
              <a:extLst>
                <a:ext uri="{FF2B5EF4-FFF2-40B4-BE49-F238E27FC236}">
                  <a16:creationId xmlns:a16="http://schemas.microsoft.com/office/drawing/2014/main" id="{3CC7D464-6637-40CB-8762-BB1C63098BE0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id="{C2390843-552E-4F8B-84E6-E227DA38E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/>
          </p:blipFill>
          <p:spPr>
            <a:xfrm>
              <a:off x="6806657" y="1817575"/>
              <a:ext cx="290722" cy="330367"/>
            </a:xfrm>
            <a:prstGeom prst="rect">
              <a:avLst/>
            </a:prstGeom>
          </p:spPr>
        </p:pic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70B8A3DA-2921-4402-BFA2-DE4B2AAADA42}"/>
              </a:ext>
            </a:extLst>
          </p:cNvPr>
          <p:cNvGrpSpPr/>
          <p:nvPr/>
        </p:nvGrpSpPr>
        <p:grpSpPr>
          <a:xfrm>
            <a:off x="7118595" y="4214504"/>
            <a:ext cx="5051622" cy="847113"/>
            <a:chOff x="7315420" y="4380123"/>
            <a:chExt cx="5051622" cy="847113"/>
          </a:xfrm>
        </p:grpSpPr>
        <p:sp>
          <p:nvSpPr>
            <p:cNvPr id="122" name="Rounded Rectangle">
              <a:extLst>
                <a:ext uri="{FF2B5EF4-FFF2-40B4-BE49-F238E27FC236}">
                  <a16:creationId xmlns:a16="http://schemas.microsoft.com/office/drawing/2014/main" id="{BEB17030-AB8C-4D02-B53D-42E93C0B48B5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3" name="Motion design">
              <a:extLst>
                <a:ext uri="{FF2B5EF4-FFF2-40B4-BE49-F238E27FC236}">
                  <a16:creationId xmlns:a16="http://schemas.microsoft.com/office/drawing/2014/main" id="{4FEE305A-BCEF-4B7C-8CA4-E128AEFA155E}"/>
                </a:ext>
              </a:extLst>
            </p:cNvPr>
            <p:cNvSpPr txBox="1"/>
            <p:nvPr/>
          </p:nvSpPr>
          <p:spPr>
            <a:xfrm>
              <a:off x="8239784" y="4525582"/>
              <a:ext cx="302127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вязи между ФЛ и ЮЛ хранятся в «Едином клиенте»</a:t>
              </a:r>
            </a:p>
          </p:txBody>
        </p:sp>
        <p:sp>
          <p:nvSpPr>
            <p:cNvPr id="124" name="Circle">
              <a:extLst>
                <a:ext uri="{FF2B5EF4-FFF2-40B4-BE49-F238E27FC236}">
                  <a16:creationId xmlns:a16="http://schemas.microsoft.com/office/drawing/2014/main" id="{D080AF9E-2BC1-4B56-9846-F5A929946CCF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BEA65C27-2234-49D7-B68F-DF8D7C6A1E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7635879" y="4674301"/>
              <a:ext cx="263314" cy="263314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14794CE-8ADD-47E2-B1DB-72507FDE9A89}"/>
              </a:ext>
            </a:extLst>
          </p:cNvPr>
          <p:cNvGrpSpPr/>
          <p:nvPr/>
        </p:nvGrpSpPr>
        <p:grpSpPr>
          <a:xfrm>
            <a:off x="7118595" y="3179802"/>
            <a:ext cx="5051622" cy="847113"/>
            <a:chOff x="7118595" y="3179802"/>
            <a:chExt cx="5051622" cy="847113"/>
          </a:xfrm>
        </p:grpSpPr>
        <p:sp>
          <p:nvSpPr>
            <p:cNvPr id="117" name="Rounded Rectangle">
              <a:extLst>
                <a:ext uri="{FF2B5EF4-FFF2-40B4-BE49-F238E27FC236}">
                  <a16:creationId xmlns:a16="http://schemas.microsoft.com/office/drawing/2014/main" id="{02CB4A29-8C35-4A7D-A6E9-0466BCFBFC77}"/>
                </a:ext>
              </a:extLst>
            </p:cNvPr>
            <p:cNvSpPr/>
            <p:nvPr/>
          </p:nvSpPr>
          <p:spPr>
            <a:xfrm>
              <a:off x="7118595" y="3179802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8" name="Motion design">
              <a:extLst>
                <a:ext uri="{FF2B5EF4-FFF2-40B4-BE49-F238E27FC236}">
                  <a16:creationId xmlns:a16="http://schemas.microsoft.com/office/drawing/2014/main" id="{57498314-7338-49E6-B901-E6D791F8DC14}"/>
                </a:ext>
              </a:extLst>
            </p:cNvPr>
            <p:cNvSpPr txBox="1"/>
            <p:nvPr/>
          </p:nvSpPr>
          <p:spPr>
            <a:xfrm>
              <a:off x="8042959" y="3325260"/>
              <a:ext cx="3626004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се физические лица, связанные </a:t>
              </a:r>
              <a:b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 юридическими лежат в MDM + CRM ФЛ</a:t>
              </a:r>
            </a:p>
          </p:txBody>
        </p:sp>
        <p:sp>
          <p:nvSpPr>
            <p:cNvPr id="119" name="Circle">
              <a:extLst>
                <a:ext uri="{FF2B5EF4-FFF2-40B4-BE49-F238E27FC236}">
                  <a16:creationId xmlns:a16="http://schemas.microsoft.com/office/drawing/2014/main" id="{47A8D640-5F45-42E9-9D8C-0F36C69D56A7}"/>
                </a:ext>
              </a:extLst>
            </p:cNvPr>
            <p:cNvSpPr/>
            <p:nvPr/>
          </p:nvSpPr>
          <p:spPr>
            <a:xfrm>
              <a:off x="7244779" y="3285691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60" name="Рисунок 159">
              <a:extLst>
                <a:ext uri="{FF2B5EF4-FFF2-40B4-BE49-F238E27FC236}">
                  <a16:creationId xmlns:a16="http://schemas.microsoft.com/office/drawing/2014/main" id="{3B970EDC-00F3-4BDB-92E7-516554574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7390994" y="3461934"/>
              <a:ext cx="332761" cy="282847"/>
            </a:xfrm>
            <a:prstGeom prst="rect">
              <a:avLst/>
            </a:prstGeom>
          </p:spPr>
        </p:pic>
      </p:grpSp>
      <p:pic>
        <p:nvPicPr>
          <p:cNvPr id="80" name="ОТП_Logo">
            <a:extLst>
              <a:ext uri="{FF2B5EF4-FFF2-40B4-BE49-F238E27FC236}">
                <a16:creationId xmlns:a16="http://schemas.microsoft.com/office/drawing/2014/main" id="{E8FF5CD7-861B-4B5F-87F5-CEB306E6243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18457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7 L 4.375E-6 2.59259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7 L 4.375E-6 2.59259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ounded Rectangle">
            <a:extLst>
              <a:ext uri="{FF2B5EF4-FFF2-40B4-BE49-F238E27FC236}">
                <a16:creationId xmlns:a16="http://schemas.microsoft.com/office/drawing/2014/main" id="{88792DE6-2CDC-49E5-A836-894DB4214048}"/>
              </a:ext>
            </a:extLst>
          </p:cNvPr>
          <p:cNvSpPr/>
          <p:nvPr/>
        </p:nvSpPr>
        <p:spPr>
          <a:xfrm>
            <a:off x="14711" y="2763957"/>
            <a:ext cx="5484942" cy="2077320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B09402DE-197A-464A-9BD8-77F064A0C9A3}"/>
              </a:ext>
            </a:extLst>
          </p:cNvPr>
          <p:cNvGrpSpPr/>
          <p:nvPr/>
        </p:nvGrpSpPr>
        <p:grpSpPr>
          <a:xfrm>
            <a:off x="630183" y="2252643"/>
            <a:ext cx="5051622" cy="847113"/>
            <a:chOff x="630183" y="2161919"/>
            <a:chExt cx="5051622" cy="847113"/>
          </a:xfrm>
        </p:grpSpPr>
        <p:sp>
          <p:nvSpPr>
            <p:cNvPr id="32" name="Rounded Rectangle">
              <a:extLst>
                <a:ext uri="{FF2B5EF4-FFF2-40B4-BE49-F238E27FC236}">
                  <a16:creationId xmlns:a16="http://schemas.microsoft.com/office/drawing/2014/main" id="{B744BFB1-CFCA-498F-AD7F-89670F25039F}"/>
                </a:ext>
              </a:extLst>
            </p:cNvPr>
            <p:cNvSpPr/>
            <p:nvPr/>
          </p:nvSpPr>
          <p:spPr>
            <a:xfrm>
              <a:off x="630183" y="216191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3" name="Motion design">
              <a:extLst>
                <a:ext uri="{FF2B5EF4-FFF2-40B4-BE49-F238E27FC236}">
                  <a16:creationId xmlns:a16="http://schemas.microsoft.com/office/drawing/2014/main" id="{E108F937-A35C-4715-8D2B-DFE81E5BD5DA}"/>
                </a:ext>
              </a:extLst>
            </p:cNvPr>
            <p:cNvSpPr txBox="1"/>
            <p:nvPr/>
          </p:nvSpPr>
          <p:spPr>
            <a:xfrm>
              <a:off x="1554545" y="2447414"/>
              <a:ext cx="3812583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озможность контроля качества данных</a:t>
              </a:r>
            </a:p>
          </p:txBody>
        </p:sp>
        <p:sp>
          <p:nvSpPr>
            <p:cNvPr id="34" name="Circle">
              <a:extLst>
                <a:ext uri="{FF2B5EF4-FFF2-40B4-BE49-F238E27FC236}">
                  <a16:creationId xmlns:a16="http://schemas.microsoft.com/office/drawing/2014/main" id="{A78C067F-7496-4008-8961-09102CAA2272}"/>
                </a:ext>
              </a:extLst>
            </p:cNvPr>
            <p:cNvSpPr/>
            <p:nvPr/>
          </p:nvSpPr>
          <p:spPr>
            <a:xfrm>
              <a:off x="756367" y="2267808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605965C2-08B5-495D-B953-06A8729FC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28928" y="2397705"/>
              <a:ext cx="290209" cy="367029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9A508963-EDE7-4ACC-9450-99F7DBC76EFB}"/>
              </a:ext>
            </a:extLst>
          </p:cNvPr>
          <p:cNvGrpSpPr/>
          <p:nvPr/>
        </p:nvGrpSpPr>
        <p:grpSpPr>
          <a:xfrm>
            <a:off x="630183" y="3310729"/>
            <a:ext cx="5051622" cy="847113"/>
            <a:chOff x="630183" y="3220005"/>
            <a:chExt cx="5051622" cy="847113"/>
          </a:xfrm>
        </p:grpSpPr>
        <p:sp>
          <p:nvSpPr>
            <p:cNvPr id="37" name="Rounded Rectangle">
              <a:extLst>
                <a:ext uri="{FF2B5EF4-FFF2-40B4-BE49-F238E27FC236}">
                  <a16:creationId xmlns:a16="http://schemas.microsoft.com/office/drawing/2014/main" id="{2B6D089B-7016-4A9C-9FD9-05B55330169C}"/>
                </a:ext>
              </a:extLst>
            </p:cNvPr>
            <p:cNvSpPr/>
            <p:nvPr/>
          </p:nvSpPr>
          <p:spPr>
            <a:xfrm>
              <a:off x="630183" y="3220005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9C664B64-1855-4132-A685-4B1819A70BB9}"/>
                </a:ext>
              </a:extLst>
            </p:cNvPr>
            <p:cNvSpPr txBox="1"/>
            <p:nvPr/>
          </p:nvSpPr>
          <p:spPr>
            <a:xfrm>
              <a:off x="1554547" y="3365462"/>
              <a:ext cx="3918601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астер система по клиентским данным. Черные списки, </a:t>
              </a:r>
              <a:r>
                <a:rPr lang="ru-RU" sz="1400" dirty="0" err="1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лиды</a:t>
              </a: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, обратный поток</a:t>
              </a:r>
            </a:p>
          </p:txBody>
        </p:sp>
        <p:sp>
          <p:nvSpPr>
            <p:cNvPr id="39" name="Circle">
              <a:extLst>
                <a:ext uri="{FF2B5EF4-FFF2-40B4-BE49-F238E27FC236}">
                  <a16:creationId xmlns:a16="http://schemas.microsoft.com/office/drawing/2014/main" id="{6C6EC9EB-56AD-4278-A5A6-7C00A5DBA892}"/>
                </a:ext>
              </a:extLst>
            </p:cNvPr>
            <p:cNvSpPr/>
            <p:nvPr/>
          </p:nvSpPr>
          <p:spPr>
            <a:xfrm>
              <a:off x="756367" y="3325894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C627ACE0-69E6-4A51-9A92-527F6CD4F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900404" y="3520505"/>
              <a:ext cx="365921" cy="263804"/>
            </a:xfrm>
            <a:prstGeom prst="rect">
              <a:avLst/>
            </a:prstGeom>
          </p:spPr>
        </p:pic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715463D9-58A6-4927-A5AB-A9044197C834}"/>
              </a:ext>
            </a:extLst>
          </p:cNvPr>
          <p:cNvGrpSpPr/>
          <p:nvPr/>
        </p:nvGrpSpPr>
        <p:grpSpPr>
          <a:xfrm>
            <a:off x="630183" y="4369197"/>
            <a:ext cx="5051622" cy="847113"/>
            <a:chOff x="630183" y="4278473"/>
            <a:chExt cx="5051622" cy="847113"/>
          </a:xfrm>
        </p:grpSpPr>
        <p:sp>
          <p:nvSpPr>
            <p:cNvPr id="42" name="Rounded Rectangle">
              <a:extLst>
                <a:ext uri="{FF2B5EF4-FFF2-40B4-BE49-F238E27FC236}">
                  <a16:creationId xmlns:a16="http://schemas.microsoft.com/office/drawing/2014/main" id="{4F747F0B-D7A1-4F5A-A288-5BB949E98E63}"/>
                </a:ext>
              </a:extLst>
            </p:cNvPr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Motion design">
              <a:extLst>
                <a:ext uri="{FF2B5EF4-FFF2-40B4-BE49-F238E27FC236}">
                  <a16:creationId xmlns:a16="http://schemas.microsoft.com/office/drawing/2014/main" id="{E6BFEEF7-80D5-4831-96DD-E8CC80BD7F77}"/>
                </a:ext>
              </a:extLst>
            </p:cNvPr>
            <p:cNvSpPr txBox="1"/>
            <p:nvPr/>
          </p:nvSpPr>
          <p:spPr>
            <a:xfrm>
              <a:off x="1554547" y="4423933"/>
              <a:ext cx="2890453" cy="5350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аксимизация качества данных на входе – «Подсказки», «Фактор»</a:t>
              </a:r>
            </a:p>
          </p:txBody>
        </p:sp>
        <p:sp>
          <p:nvSpPr>
            <p:cNvPr id="44" name="Circle">
              <a:extLst>
                <a:ext uri="{FF2B5EF4-FFF2-40B4-BE49-F238E27FC236}">
                  <a16:creationId xmlns:a16="http://schemas.microsoft.com/office/drawing/2014/main" id="{BF49BA54-1D51-45DB-80AF-7D8E6D535672}"/>
                </a:ext>
              </a:extLst>
            </p:cNvPr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23E75551-03D8-463B-B6DA-5F1B19784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861157" y="4549523"/>
              <a:ext cx="425754" cy="283836"/>
            </a:xfrm>
            <a:prstGeom prst="rect">
              <a:avLst/>
            </a:prstGeom>
          </p:spPr>
        </p:pic>
      </p:grpSp>
      <p:sp>
        <p:nvSpPr>
          <p:cNvPr id="28" name="Заголовок">
            <a:extLst>
              <a:ext uri="{FF2B5EF4-FFF2-40B4-BE49-F238E27FC236}">
                <a16:creationId xmlns:a16="http://schemas.microsoft.com/office/drawing/2014/main" id="{1A84145B-5743-4C78-8A0C-FDE4147B8161}"/>
              </a:ext>
            </a:extLst>
          </p:cNvPr>
          <p:cNvSpPr txBox="1"/>
          <p:nvPr/>
        </p:nvSpPr>
        <p:spPr>
          <a:xfrm>
            <a:off x="507067" y="376044"/>
            <a:ext cx="529683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Что даёт нам «Единый клиент»?</a:t>
            </a:r>
          </a:p>
        </p:txBody>
      </p:sp>
      <p:pic>
        <p:nvPicPr>
          <p:cNvPr id="334" name="Рисунок 333">
            <a:extLst>
              <a:ext uri="{FF2B5EF4-FFF2-40B4-BE49-F238E27FC236}">
                <a16:creationId xmlns:a16="http://schemas.microsoft.com/office/drawing/2014/main" id="{06F30E0B-3C61-44FE-B19A-82C2E57EFF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90760" y="890487"/>
            <a:ext cx="4240083" cy="4781588"/>
          </a:xfrm>
          <a:prstGeom prst="rect">
            <a:avLst/>
          </a:prstGeom>
        </p:spPr>
      </p:pic>
      <p:pic>
        <p:nvPicPr>
          <p:cNvPr id="213" name="Рисунок 212">
            <a:extLst>
              <a:ext uri="{FF2B5EF4-FFF2-40B4-BE49-F238E27FC236}">
                <a16:creationId xmlns:a16="http://schemas.microsoft.com/office/drawing/2014/main" id="{045D88F7-5C4F-4F9C-99AE-FFF97CA1FDD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60173" y="1626311"/>
            <a:ext cx="1901255" cy="2454348"/>
          </a:xfrm>
          <a:prstGeom prst="rect">
            <a:avLst/>
          </a:prstGeom>
        </p:spPr>
      </p:pic>
      <p:pic>
        <p:nvPicPr>
          <p:cNvPr id="335" name="Рисунок 334">
            <a:extLst>
              <a:ext uri="{FF2B5EF4-FFF2-40B4-BE49-F238E27FC236}">
                <a16:creationId xmlns:a16="http://schemas.microsoft.com/office/drawing/2014/main" id="{63FE6F73-4441-422B-B259-236CA91A937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96299" y="2676200"/>
            <a:ext cx="3667927" cy="1542777"/>
          </a:xfrm>
          <a:prstGeom prst="rect">
            <a:avLst/>
          </a:prstGeom>
        </p:spPr>
      </p:pic>
      <p:grpSp>
        <p:nvGrpSpPr>
          <p:cNvPr id="337" name="CDIConf_Black">
            <a:extLst>
              <a:ext uri="{FF2B5EF4-FFF2-40B4-BE49-F238E27FC236}">
                <a16:creationId xmlns:a16="http://schemas.microsoft.com/office/drawing/2014/main" id="{2D4010DA-442B-4F09-BB7A-7DF9F1ECEACB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338" name="Полилиния: фигура 337">
              <a:extLst>
                <a:ext uri="{FF2B5EF4-FFF2-40B4-BE49-F238E27FC236}">
                  <a16:creationId xmlns:a16="http://schemas.microsoft.com/office/drawing/2014/main" id="{B63163A0-B529-4134-872D-C5D2D3A186CE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Полилиния: фигура 338">
              <a:extLst>
                <a:ext uri="{FF2B5EF4-FFF2-40B4-BE49-F238E27FC236}">
                  <a16:creationId xmlns:a16="http://schemas.microsoft.com/office/drawing/2014/main" id="{354D2BD9-BA97-425D-ACF9-8405AF280964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Полилиния: фигура 339">
              <a:extLst>
                <a:ext uri="{FF2B5EF4-FFF2-40B4-BE49-F238E27FC236}">
                  <a16:creationId xmlns:a16="http://schemas.microsoft.com/office/drawing/2014/main" id="{2509DD5D-9A8D-4752-BD18-BE6C916D50F4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Полилиния: фигура 340">
              <a:extLst>
                <a:ext uri="{FF2B5EF4-FFF2-40B4-BE49-F238E27FC236}">
                  <a16:creationId xmlns:a16="http://schemas.microsoft.com/office/drawing/2014/main" id="{AE39FD90-8690-4181-8CA8-B81A61F8B8BC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9" name="ОТП_Logo">
            <a:extLst>
              <a:ext uri="{FF2B5EF4-FFF2-40B4-BE49-F238E27FC236}">
                <a16:creationId xmlns:a16="http://schemas.microsoft.com/office/drawing/2014/main" id="{0CE458F6-B862-4CE5-8372-7E38CC41C7E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522710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2.22222E-6 L 1.25E-6 0.02269 " pathEditMode="relative" rAng="0" ptsTypes="AA">
                                      <p:cBhvr>
                                        <p:cTn id="6" dur="125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16667E-6 -4.44444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16667E-6 -2.59259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CDIConf_Black">
            <a:extLst>
              <a:ext uri="{FF2B5EF4-FFF2-40B4-BE49-F238E27FC236}">
                <a16:creationId xmlns:a16="http://schemas.microsoft.com/office/drawing/2014/main" id="{8B268515-D3F4-4BBF-BE3D-74C164B93C9B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8A4356B9-1A0B-4226-A6F0-AF42F6A47FA7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840D284-D20E-4146-A888-84934C7FD614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561E20AE-2F42-41A3-8249-9F9DE7665525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8B2B0B29-EBDE-4AF5-AE93-134EBDF402DB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9" name="Заголовок">
            <a:extLst>
              <a:ext uri="{FF2B5EF4-FFF2-40B4-BE49-F238E27FC236}">
                <a16:creationId xmlns:a16="http://schemas.microsoft.com/office/drawing/2014/main" id="{AFCE4BDB-0365-43F5-AE7C-D1152FB1A7ED}"/>
              </a:ext>
            </a:extLst>
          </p:cNvPr>
          <p:cNvSpPr txBox="1"/>
          <p:nvPr/>
        </p:nvSpPr>
        <p:spPr>
          <a:xfrm>
            <a:off x="507066" y="376044"/>
            <a:ext cx="8497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Инсайты по итогам внедрения:</a:t>
            </a:r>
          </a:p>
        </p:txBody>
      </p:sp>
      <p:sp>
        <p:nvSpPr>
          <p:cNvPr id="120" name="Rounded Rectangle">
            <a:extLst>
              <a:ext uri="{FF2B5EF4-FFF2-40B4-BE49-F238E27FC236}">
                <a16:creationId xmlns:a16="http://schemas.microsoft.com/office/drawing/2014/main" id="{8F1AA6FF-3404-449D-B1DC-8030690D2711}"/>
              </a:ext>
            </a:extLst>
          </p:cNvPr>
          <p:cNvSpPr/>
          <p:nvPr/>
        </p:nvSpPr>
        <p:spPr>
          <a:xfrm>
            <a:off x="7327925" y="2791426"/>
            <a:ext cx="4831039" cy="2103555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9CA3AFA3-0EF5-4613-846F-071E6AD66B9D}"/>
              </a:ext>
            </a:extLst>
          </p:cNvPr>
          <p:cNvGrpSpPr/>
          <p:nvPr/>
        </p:nvGrpSpPr>
        <p:grpSpPr>
          <a:xfrm>
            <a:off x="7118595" y="2145099"/>
            <a:ext cx="5051622" cy="847113"/>
            <a:chOff x="6510195" y="1556711"/>
            <a:chExt cx="5051622" cy="847113"/>
          </a:xfrm>
        </p:grpSpPr>
        <p:sp>
          <p:nvSpPr>
            <p:cNvPr id="122" name="Rounded Rectangle">
              <a:extLst>
                <a:ext uri="{FF2B5EF4-FFF2-40B4-BE49-F238E27FC236}">
                  <a16:creationId xmlns:a16="http://schemas.microsoft.com/office/drawing/2014/main" id="{5DAC04ED-DB8C-45FD-87E4-139388ACCF99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3" name="Motion design">
              <a:extLst>
                <a:ext uri="{FF2B5EF4-FFF2-40B4-BE49-F238E27FC236}">
                  <a16:creationId xmlns:a16="http://schemas.microsoft.com/office/drawing/2014/main" id="{23264A3A-66E5-45FF-B316-C8311F2A1A67}"/>
                </a:ext>
              </a:extLst>
            </p:cNvPr>
            <p:cNvSpPr txBox="1"/>
            <p:nvPr/>
          </p:nvSpPr>
          <p:spPr>
            <a:xfrm>
              <a:off x="7434558" y="1842208"/>
              <a:ext cx="2787806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Осознанность и схемы</a:t>
              </a:r>
            </a:p>
          </p:txBody>
        </p:sp>
        <p:sp>
          <p:nvSpPr>
            <p:cNvPr id="124" name="Circle">
              <a:extLst>
                <a:ext uri="{FF2B5EF4-FFF2-40B4-BE49-F238E27FC236}">
                  <a16:creationId xmlns:a16="http://schemas.microsoft.com/office/drawing/2014/main" id="{521E2B92-6E56-4EF6-848A-806FF7474D39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EC7D1920-AEF0-4F53-802C-B088E0E2E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806657" y="1817575"/>
              <a:ext cx="290722" cy="330367"/>
            </a:xfrm>
            <a:prstGeom prst="rect">
              <a:avLst/>
            </a:prstGeom>
          </p:spPr>
        </p:pic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FBA6F2C0-928D-4947-B7DB-8043AEDF74BF}"/>
              </a:ext>
            </a:extLst>
          </p:cNvPr>
          <p:cNvGrpSpPr/>
          <p:nvPr/>
        </p:nvGrpSpPr>
        <p:grpSpPr>
          <a:xfrm>
            <a:off x="7118595" y="4214504"/>
            <a:ext cx="5051622" cy="847113"/>
            <a:chOff x="7315420" y="4380123"/>
            <a:chExt cx="5051622" cy="847113"/>
          </a:xfrm>
        </p:grpSpPr>
        <p:sp>
          <p:nvSpPr>
            <p:cNvPr id="127" name="Rounded Rectangle">
              <a:extLst>
                <a:ext uri="{FF2B5EF4-FFF2-40B4-BE49-F238E27FC236}">
                  <a16:creationId xmlns:a16="http://schemas.microsoft.com/office/drawing/2014/main" id="{A09B9A36-1778-4657-BFA9-F27EF16A9CC8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8" name="Motion design">
              <a:extLst>
                <a:ext uri="{FF2B5EF4-FFF2-40B4-BE49-F238E27FC236}">
                  <a16:creationId xmlns:a16="http://schemas.microsoft.com/office/drawing/2014/main" id="{E147CCEF-336A-4D66-9289-54352A7008D1}"/>
                </a:ext>
              </a:extLst>
            </p:cNvPr>
            <p:cNvSpPr txBox="1"/>
            <p:nvPr/>
          </p:nvSpPr>
          <p:spPr>
            <a:xfrm>
              <a:off x="8239784" y="4665620"/>
              <a:ext cx="330449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недрение – это ещё и бизнес процесс</a:t>
              </a:r>
            </a:p>
          </p:txBody>
        </p:sp>
        <p:sp>
          <p:nvSpPr>
            <p:cNvPr id="129" name="Circle">
              <a:extLst>
                <a:ext uri="{FF2B5EF4-FFF2-40B4-BE49-F238E27FC236}">
                  <a16:creationId xmlns:a16="http://schemas.microsoft.com/office/drawing/2014/main" id="{05CC3B78-E563-454B-85DE-ACFB593F61BF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id="{F2BAC765-D6DA-4837-B736-293478B0C4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635879" y="4674301"/>
              <a:ext cx="263314" cy="263314"/>
            </a:xfrm>
            <a:prstGeom prst="rect">
              <a:avLst/>
            </a:prstGeom>
          </p:spPr>
        </p:pic>
      </p:grp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12D1FD25-9BE1-438B-AB96-B09423FBCACF}"/>
              </a:ext>
            </a:extLst>
          </p:cNvPr>
          <p:cNvGrpSpPr/>
          <p:nvPr/>
        </p:nvGrpSpPr>
        <p:grpSpPr>
          <a:xfrm>
            <a:off x="7118595" y="3179802"/>
            <a:ext cx="5051622" cy="847113"/>
            <a:chOff x="7118595" y="3179802"/>
            <a:chExt cx="5051622" cy="847113"/>
          </a:xfrm>
        </p:grpSpPr>
        <p:sp>
          <p:nvSpPr>
            <p:cNvPr id="132" name="Rounded Rectangle">
              <a:extLst>
                <a:ext uri="{FF2B5EF4-FFF2-40B4-BE49-F238E27FC236}">
                  <a16:creationId xmlns:a16="http://schemas.microsoft.com/office/drawing/2014/main" id="{A5CEAD35-9CE6-4201-9E11-2D4FE5878D0C}"/>
                </a:ext>
              </a:extLst>
            </p:cNvPr>
            <p:cNvSpPr/>
            <p:nvPr/>
          </p:nvSpPr>
          <p:spPr>
            <a:xfrm>
              <a:off x="7118595" y="3179802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33" name="Motion design">
              <a:extLst>
                <a:ext uri="{FF2B5EF4-FFF2-40B4-BE49-F238E27FC236}">
                  <a16:creationId xmlns:a16="http://schemas.microsoft.com/office/drawing/2014/main" id="{257F2839-769A-4E86-91B6-BF78D7A03F1A}"/>
                </a:ext>
              </a:extLst>
            </p:cNvPr>
            <p:cNvSpPr txBox="1"/>
            <p:nvPr/>
          </p:nvSpPr>
          <p:spPr>
            <a:xfrm>
              <a:off x="8042959" y="3465298"/>
              <a:ext cx="3626004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ддержка от бизнес-заказчика</a:t>
              </a:r>
            </a:p>
          </p:txBody>
        </p:sp>
        <p:sp>
          <p:nvSpPr>
            <p:cNvPr id="134" name="Circle">
              <a:extLst>
                <a:ext uri="{FF2B5EF4-FFF2-40B4-BE49-F238E27FC236}">
                  <a16:creationId xmlns:a16="http://schemas.microsoft.com/office/drawing/2014/main" id="{BE83C6C5-1839-4004-BAFE-B0C9911B7161}"/>
                </a:ext>
              </a:extLst>
            </p:cNvPr>
            <p:cNvSpPr/>
            <p:nvPr/>
          </p:nvSpPr>
          <p:spPr>
            <a:xfrm>
              <a:off x="7244779" y="3285691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35" name="Рисунок 134">
              <a:extLst>
                <a:ext uri="{FF2B5EF4-FFF2-40B4-BE49-F238E27FC236}">
                  <a16:creationId xmlns:a16="http://schemas.microsoft.com/office/drawing/2014/main" id="{F0D20921-0A3B-46FA-85AB-4B12A44584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390994" y="3461934"/>
              <a:ext cx="332761" cy="282847"/>
            </a:xfrm>
            <a:prstGeom prst="rect">
              <a:avLst/>
            </a:prstGeom>
          </p:spPr>
        </p:pic>
      </p:grpSp>
      <p:grpSp>
        <p:nvGrpSpPr>
          <p:cNvPr id="232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1272245" y="1763463"/>
            <a:ext cx="4079616" cy="4027870"/>
            <a:chOff x="1272245" y="1763463"/>
            <a:chExt cx="4079616" cy="4027870"/>
          </a:xfrm>
        </p:grpSpPr>
        <p:sp>
          <p:nvSpPr>
            <p:cNvPr id="233" name="Полилиния: фигура 232">
              <a:extLst>
                <a:ext uri="{FF2B5EF4-FFF2-40B4-BE49-F238E27FC236}">
                  <a16:creationId xmlns:a16="http://schemas.microsoft.com/office/drawing/2014/main" id="{35243F7D-8398-4380-A50C-9C4B8FA8AEF7}"/>
                </a:ext>
              </a:extLst>
            </p:cNvPr>
            <p:cNvSpPr/>
            <p:nvPr/>
          </p:nvSpPr>
          <p:spPr>
            <a:xfrm>
              <a:off x="1272245" y="1763463"/>
              <a:ext cx="4079616" cy="4027870"/>
            </a:xfrm>
            <a:custGeom>
              <a:avLst/>
              <a:gdLst>
                <a:gd name="connsiteX0" fmla="*/ 3741556 w 4079616"/>
                <a:gd name="connsiteY0" fmla="*/ 1232374 h 4027870"/>
                <a:gd name="connsiteX1" fmla="*/ 3643258 w 4079616"/>
                <a:gd name="connsiteY1" fmla="*/ 995392 h 4027870"/>
                <a:gd name="connsiteX2" fmla="*/ 2674947 w 4079616"/>
                <a:gd name="connsiteY2" fmla="*/ 147953 h 4027870"/>
                <a:gd name="connsiteX3" fmla="*/ 1634054 w 4079616"/>
                <a:gd name="connsiteY3" fmla="*/ 63180 h 4027870"/>
                <a:gd name="connsiteX4" fmla="*/ 1214478 w 4079616"/>
                <a:gd name="connsiteY4" fmla="*/ 402746 h 4027870"/>
                <a:gd name="connsiteX5" fmla="*/ 1013405 w 4079616"/>
                <a:gd name="connsiteY5" fmla="*/ 1083308 h 4027870"/>
                <a:gd name="connsiteX6" fmla="*/ 599449 w 4079616"/>
                <a:gd name="connsiteY6" fmla="*/ 1473357 h 4027870"/>
                <a:gd name="connsiteX7" fmla="*/ 59572 w 4079616"/>
                <a:gd name="connsiteY7" fmla="*/ 2127152 h 4027870"/>
                <a:gd name="connsiteX8" fmla="*/ 201209 w 4079616"/>
                <a:gd name="connsiteY8" fmla="*/ 3299585 h 4027870"/>
                <a:gd name="connsiteX9" fmla="*/ 926347 w 4079616"/>
                <a:gd name="connsiteY9" fmla="*/ 3633055 h 4027870"/>
                <a:gd name="connsiteX10" fmla="*/ 1778358 w 4079616"/>
                <a:gd name="connsiteY10" fmla="*/ 3692872 h 4027870"/>
                <a:gd name="connsiteX11" fmla="*/ 3254162 w 4079616"/>
                <a:gd name="connsiteY11" fmla="*/ 3971859 h 4027870"/>
                <a:gd name="connsiteX12" fmla="*/ 4064073 w 4079616"/>
                <a:gd name="connsiteY12" fmla="*/ 3036028 h 4027870"/>
                <a:gd name="connsiteX13" fmla="*/ 3875097 w 4079616"/>
                <a:gd name="connsiteY13" fmla="*/ 1902172 h 4027870"/>
                <a:gd name="connsiteX14" fmla="*/ 3741747 w 4079616"/>
                <a:gd name="connsiteY14" fmla="*/ 1232374 h 402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79616" h="4027870">
                  <a:moveTo>
                    <a:pt x="3741556" y="1232374"/>
                  </a:moveTo>
                  <a:cubicBezTo>
                    <a:pt x="3716029" y="1151126"/>
                    <a:pt x="3684311" y="1071687"/>
                    <a:pt x="3643258" y="995392"/>
                  </a:cubicBezTo>
                  <a:cubicBezTo>
                    <a:pt x="3435994" y="610201"/>
                    <a:pt x="3072520" y="319688"/>
                    <a:pt x="2674947" y="147953"/>
                  </a:cubicBezTo>
                  <a:cubicBezTo>
                    <a:pt x="2359383" y="11650"/>
                    <a:pt x="1968954" y="-59597"/>
                    <a:pt x="1634054" y="63180"/>
                  </a:cubicBezTo>
                  <a:cubicBezTo>
                    <a:pt x="1464700" y="125283"/>
                    <a:pt x="1305347" y="244441"/>
                    <a:pt x="1214478" y="402746"/>
                  </a:cubicBezTo>
                  <a:cubicBezTo>
                    <a:pt x="1095892" y="609534"/>
                    <a:pt x="1107322" y="866042"/>
                    <a:pt x="1013405" y="1083308"/>
                  </a:cubicBezTo>
                  <a:cubicBezTo>
                    <a:pt x="937301" y="1259425"/>
                    <a:pt x="747849" y="1365248"/>
                    <a:pt x="599449" y="1473357"/>
                  </a:cubicBezTo>
                  <a:cubicBezTo>
                    <a:pt x="367896" y="1642044"/>
                    <a:pt x="139868" y="1841688"/>
                    <a:pt x="59572" y="2127152"/>
                  </a:cubicBezTo>
                  <a:cubicBezTo>
                    <a:pt x="-47584" y="2508057"/>
                    <a:pt x="-15866" y="2961066"/>
                    <a:pt x="201209" y="3299585"/>
                  </a:cubicBezTo>
                  <a:cubicBezTo>
                    <a:pt x="363134" y="3551997"/>
                    <a:pt x="640311" y="3627911"/>
                    <a:pt x="926347" y="3633055"/>
                  </a:cubicBezTo>
                  <a:cubicBezTo>
                    <a:pt x="1196286" y="3638008"/>
                    <a:pt x="1526136" y="3569809"/>
                    <a:pt x="1778358" y="3692872"/>
                  </a:cubicBezTo>
                  <a:cubicBezTo>
                    <a:pt x="2207555" y="3902517"/>
                    <a:pt x="2773911" y="4137690"/>
                    <a:pt x="3254162" y="3971859"/>
                  </a:cubicBezTo>
                  <a:cubicBezTo>
                    <a:pt x="3749081" y="3800885"/>
                    <a:pt x="3992064" y="3467892"/>
                    <a:pt x="4064073" y="3036028"/>
                  </a:cubicBezTo>
                  <a:cubicBezTo>
                    <a:pt x="4136082" y="2604069"/>
                    <a:pt x="3938057" y="2244119"/>
                    <a:pt x="3875097" y="1902172"/>
                  </a:cubicBezTo>
                  <a:cubicBezTo>
                    <a:pt x="3835282" y="1686240"/>
                    <a:pt x="3809374" y="1447639"/>
                    <a:pt x="3741747" y="1232374"/>
                  </a:cubicBez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4" name="Полилиния: фигура 233">
              <a:extLst>
                <a:ext uri="{FF2B5EF4-FFF2-40B4-BE49-F238E27FC236}">
                  <a16:creationId xmlns:a16="http://schemas.microsoft.com/office/drawing/2014/main" id="{68BD42A3-5F58-4593-A024-E97EACDA6D63}"/>
                </a:ext>
              </a:extLst>
            </p:cNvPr>
            <p:cNvSpPr/>
            <p:nvPr/>
          </p:nvSpPr>
          <p:spPr>
            <a:xfrm>
              <a:off x="1272245" y="1763463"/>
              <a:ext cx="4079616" cy="4027870"/>
            </a:xfrm>
            <a:custGeom>
              <a:avLst/>
              <a:gdLst>
                <a:gd name="connsiteX0" fmla="*/ 3741556 w 4079616"/>
                <a:gd name="connsiteY0" fmla="*/ 1232374 h 4027870"/>
                <a:gd name="connsiteX1" fmla="*/ 3643258 w 4079616"/>
                <a:gd name="connsiteY1" fmla="*/ 995392 h 4027870"/>
                <a:gd name="connsiteX2" fmla="*/ 2674947 w 4079616"/>
                <a:gd name="connsiteY2" fmla="*/ 147953 h 4027870"/>
                <a:gd name="connsiteX3" fmla="*/ 1634054 w 4079616"/>
                <a:gd name="connsiteY3" fmla="*/ 63180 h 4027870"/>
                <a:gd name="connsiteX4" fmla="*/ 1214478 w 4079616"/>
                <a:gd name="connsiteY4" fmla="*/ 402746 h 4027870"/>
                <a:gd name="connsiteX5" fmla="*/ 1013405 w 4079616"/>
                <a:gd name="connsiteY5" fmla="*/ 1083308 h 4027870"/>
                <a:gd name="connsiteX6" fmla="*/ 599449 w 4079616"/>
                <a:gd name="connsiteY6" fmla="*/ 1473357 h 4027870"/>
                <a:gd name="connsiteX7" fmla="*/ 59572 w 4079616"/>
                <a:gd name="connsiteY7" fmla="*/ 2127152 h 4027870"/>
                <a:gd name="connsiteX8" fmla="*/ 201209 w 4079616"/>
                <a:gd name="connsiteY8" fmla="*/ 3299585 h 4027870"/>
                <a:gd name="connsiteX9" fmla="*/ 926347 w 4079616"/>
                <a:gd name="connsiteY9" fmla="*/ 3633055 h 4027870"/>
                <a:gd name="connsiteX10" fmla="*/ 1778358 w 4079616"/>
                <a:gd name="connsiteY10" fmla="*/ 3692872 h 4027870"/>
                <a:gd name="connsiteX11" fmla="*/ 3254162 w 4079616"/>
                <a:gd name="connsiteY11" fmla="*/ 3971859 h 4027870"/>
                <a:gd name="connsiteX12" fmla="*/ 4064073 w 4079616"/>
                <a:gd name="connsiteY12" fmla="*/ 3036028 h 4027870"/>
                <a:gd name="connsiteX13" fmla="*/ 3875097 w 4079616"/>
                <a:gd name="connsiteY13" fmla="*/ 1902172 h 4027870"/>
                <a:gd name="connsiteX14" fmla="*/ 3741747 w 4079616"/>
                <a:gd name="connsiteY14" fmla="*/ 1232374 h 4027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79616" h="4027870">
                  <a:moveTo>
                    <a:pt x="3741556" y="1232374"/>
                  </a:moveTo>
                  <a:cubicBezTo>
                    <a:pt x="3716029" y="1151126"/>
                    <a:pt x="3684311" y="1071687"/>
                    <a:pt x="3643258" y="995392"/>
                  </a:cubicBezTo>
                  <a:cubicBezTo>
                    <a:pt x="3435994" y="610201"/>
                    <a:pt x="3072520" y="319688"/>
                    <a:pt x="2674947" y="147953"/>
                  </a:cubicBezTo>
                  <a:cubicBezTo>
                    <a:pt x="2359383" y="11650"/>
                    <a:pt x="1968954" y="-59597"/>
                    <a:pt x="1634054" y="63180"/>
                  </a:cubicBezTo>
                  <a:cubicBezTo>
                    <a:pt x="1464700" y="125283"/>
                    <a:pt x="1305347" y="244441"/>
                    <a:pt x="1214478" y="402746"/>
                  </a:cubicBezTo>
                  <a:cubicBezTo>
                    <a:pt x="1095892" y="609534"/>
                    <a:pt x="1107322" y="866042"/>
                    <a:pt x="1013405" y="1083308"/>
                  </a:cubicBezTo>
                  <a:cubicBezTo>
                    <a:pt x="937301" y="1259425"/>
                    <a:pt x="747849" y="1365248"/>
                    <a:pt x="599449" y="1473357"/>
                  </a:cubicBezTo>
                  <a:cubicBezTo>
                    <a:pt x="367896" y="1642044"/>
                    <a:pt x="139868" y="1841688"/>
                    <a:pt x="59572" y="2127152"/>
                  </a:cubicBezTo>
                  <a:cubicBezTo>
                    <a:pt x="-47584" y="2508057"/>
                    <a:pt x="-15866" y="2961066"/>
                    <a:pt x="201209" y="3299585"/>
                  </a:cubicBezTo>
                  <a:cubicBezTo>
                    <a:pt x="363134" y="3551997"/>
                    <a:pt x="640311" y="3627911"/>
                    <a:pt x="926347" y="3633055"/>
                  </a:cubicBezTo>
                  <a:cubicBezTo>
                    <a:pt x="1196286" y="3638008"/>
                    <a:pt x="1526136" y="3569809"/>
                    <a:pt x="1778358" y="3692872"/>
                  </a:cubicBezTo>
                  <a:cubicBezTo>
                    <a:pt x="2207555" y="3902517"/>
                    <a:pt x="2773911" y="4137690"/>
                    <a:pt x="3254162" y="3971859"/>
                  </a:cubicBezTo>
                  <a:cubicBezTo>
                    <a:pt x="3749081" y="3800885"/>
                    <a:pt x="3992064" y="3467892"/>
                    <a:pt x="4064073" y="3036028"/>
                  </a:cubicBezTo>
                  <a:cubicBezTo>
                    <a:pt x="4136082" y="2604069"/>
                    <a:pt x="3938057" y="2244119"/>
                    <a:pt x="3875097" y="1902172"/>
                  </a:cubicBezTo>
                  <a:cubicBezTo>
                    <a:pt x="3835282" y="1686240"/>
                    <a:pt x="3809374" y="1447639"/>
                    <a:pt x="3741747" y="1232374"/>
                  </a:cubicBez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35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1269396" y="4017699"/>
            <a:ext cx="3493411" cy="1773439"/>
            <a:chOff x="1269396" y="4017699"/>
            <a:chExt cx="3493411" cy="1773439"/>
          </a:xfrm>
          <a:solidFill>
            <a:srgbClr val="BABABA"/>
          </a:solidFill>
        </p:grpSpPr>
        <p:grpSp>
          <p:nvGrpSpPr>
            <p:cNvPr id="236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1269396" y="4017699"/>
              <a:ext cx="898089" cy="837798"/>
              <a:chOff x="1269396" y="4017699"/>
              <a:chExt cx="898089" cy="837798"/>
            </a:xfrm>
            <a:solidFill>
              <a:srgbClr val="BABABA"/>
            </a:solidFill>
          </p:grpSpPr>
          <p:sp>
            <p:nvSpPr>
              <p:cNvPr id="237" name="Полилиния: фигура 236">
                <a:extLst>
                  <a:ext uri="{FF2B5EF4-FFF2-40B4-BE49-F238E27FC236}">
                    <a16:creationId xmlns:a16="http://schemas.microsoft.com/office/drawing/2014/main" id="{624E6D97-C23F-403B-B7A8-E7CA657461DC}"/>
                  </a:ext>
                </a:extLst>
              </p:cNvPr>
              <p:cNvSpPr/>
              <p:nvPr/>
            </p:nvSpPr>
            <p:spPr>
              <a:xfrm>
                <a:off x="1376048" y="4017699"/>
                <a:ext cx="96326" cy="298112"/>
              </a:xfrm>
              <a:custGeom>
                <a:avLst/>
                <a:gdLst>
                  <a:gd name="connsiteX0" fmla="*/ 26539 w 96326"/>
                  <a:gd name="connsiteY0" fmla="*/ 275062 h 298112"/>
                  <a:gd name="connsiteX1" fmla="*/ 23206 w 96326"/>
                  <a:gd name="connsiteY1" fmla="*/ 199719 h 298112"/>
                  <a:gd name="connsiteX2" fmla="*/ 23587 w 96326"/>
                  <a:gd name="connsiteY2" fmla="*/ 164667 h 298112"/>
                  <a:gd name="connsiteX3" fmla="*/ 83785 w 96326"/>
                  <a:gd name="connsiteY3" fmla="*/ 101516 h 298112"/>
                  <a:gd name="connsiteX4" fmla="*/ 90547 w 96326"/>
                  <a:gd name="connsiteY4" fmla="*/ 25983 h 298112"/>
                  <a:gd name="connsiteX5" fmla="*/ 29111 w 96326"/>
                  <a:gd name="connsiteY5" fmla="*/ 6076 h 298112"/>
                  <a:gd name="connsiteX6" fmla="*/ 4060 w 96326"/>
                  <a:gd name="connsiteY6" fmla="*/ 122662 h 298112"/>
                  <a:gd name="connsiteX7" fmla="*/ 21396 w 96326"/>
                  <a:gd name="connsiteY7" fmla="*/ 166572 h 298112"/>
                  <a:gd name="connsiteX8" fmla="*/ 21967 w 96326"/>
                  <a:gd name="connsiteY8" fmla="*/ 166096 h 298112"/>
                  <a:gd name="connsiteX9" fmla="*/ 20920 w 96326"/>
                  <a:gd name="connsiteY9" fmla="*/ 199814 h 298112"/>
                  <a:gd name="connsiteX10" fmla="*/ 22634 w 96326"/>
                  <a:gd name="connsiteY10" fmla="*/ 275443 h 298112"/>
                  <a:gd name="connsiteX11" fmla="*/ 23682 w 96326"/>
                  <a:gd name="connsiteY11" fmla="*/ 289635 h 298112"/>
                  <a:gd name="connsiteX12" fmla="*/ 29111 w 96326"/>
                  <a:gd name="connsiteY12" fmla="*/ 298112 h 298112"/>
                  <a:gd name="connsiteX13" fmla="*/ 26635 w 96326"/>
                  <a:gd name="connsiteY13" fmla="*/ 275252 h 29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326" h="298112">
                    <a:moveTo>
                      <a:pt x="26539" y="275062"/>
                    </a:moveTo>
                    <a:cubicBezTo>
                      <a:pt x="24063" y="247534"/>
                      <a:pt x="23491" y="222198"/>
                      <a:pt x="23206" y="199719"/>
                    </a:cubicBezTo>
                    <a:cubicBezTo>
                      <a:pt x="23206" y="186955"/>
                      <a:pt x="23301" y="175430"/>
                      <a:pt x="23587" y="164667"/>
                    </a:cubicBezTo>
                    <a:cubicBezTo>
                      <a:pt x="33493" y="156666"/>
                      <a:pt x="72736" y="123805"/>
                      <a:pt x="83785" y="101516"/>
                    </a:cubicBezTo>
                    <a:cubicBezTo>
                      <a:pt x="94548" y="79799"/>
                      <a:pt x="102073" y="49129"/>
                      <a:pt x="90547" y="25983"/>
                    </a:cubicBezTo>
                    <a:cubicBezTo>
                      <a:pt x="79213" y="3313"/>
                      <a:pt x="51304" y="-7736"/>
                      <a:pt x="29111" y="6076"/>
                    </a:cubicBezTo>
                    <a:cubicBezTo>
                      <a:pt x="-1655" y="25221"/>
                      <a:pt x="-4226" y="90943"/>
                      <a:pt x="4060" y="122662"/>
                    </a:cubicBezTo>
                    <a:cubicBezTo>
                      <a:pt x="4822" y="125424"/>
                      <a:pt x="20824" y="166953"/>
                      <a:pt x="21396" y="166572"/>
                    </a:cubicBezTo>
                    <a:cubicBezTo>
                      <a:pt x="21396" y="166572"/>
                      <a:pt x="21872" y="166191"/>
                      <a:pt x="21967" y="166096"/>
                    </a:cubicBezTo>
                    <a:cubicBezTo>
                      <a:pt x="21491" y="176478"/>
                      <a:pt x="21110" y="187622"/>
                      <a:pt x="20920" y="199814"/>
                    </a:cubicBezTo>
                    <a:cubicBezTo>
                      <a:pt x="20729" y="222293"/>
                      <a:pt x="20729" y="247725"/>
                      <a:pt x="22634" y="275443"/>
                    </a:cubicBezTo>
                    <a:cubicBezTo>
                      <a:pt x="22920" y="280110"/>
                      <a:pt x="23301" y="284872"/>
                      <a:pt x="23682" y="289635"/>
                    </a:cubicBezTo>
                    <a:cubicBezTo>
                      <a:pt x="27111" y="294874"/>
                      <a:pt x="29111" y="298112"/>
                      <a:pt x="29111" y="298112"/>
                    </a:cubicBezTo>
                    <a:cubicBezTo>
                      <a:pt x="28254" y="290492"/>
                      <a:pt x="27301" y="282586"/>
                      <a:pt x="26635" y="275252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8" name="Полилиния: фигура 237">
                <a:extLst>
                  <a:ext uri="{FF2B5EF4-FFF2-40B4-BE49-F238E27FC236}">
                    <a16:creationId xmlns:a16="http://schemas.microsoft.com/office/drawing/2014/main" id="{0247CBDC-BA40-43D5-B371-8C19F39227F2}"/>
                  </a:ext>
                </a:extLst>
              </p:cNvPr>
              <p:cNvSpPr/>
              <p:nvPr/>
            </p:nvSpPr>
            <p:spPr>
              <a:xfrm>
                <a:off x="1269396" y="4222519"/>
                <a:ext cx="130905" cy="93105"/>
              </a:xfrm>
              <a:custGeom>
                <a:avLst/>
                <a:gdLst>
                  <a:gd name="connsiteX0" fmla="*/ 34227 w 130905"/>
                  <a:gd name="connsiteY0" fmla="*/ 423 h 93105"/>
                  <a:gd name="connsiteX1" fmla="*/ 26131 w 130905"/>
                  <a:gd name="connsiteY1" fmla="*/ 70718 h 93105"/>
                  <a:gd name="connsiteX2" fmla="*/ 130906 w 130905"/>
                  <a:gd name="connsiteY2" fmla="*/ 93101 h 93105"/>
                  <a:gd name="connsiteX3" fmla="*/ 130239 w 130905"/>
                  <a:gd name="connsiteY3" fmla="*/ 84529 h 93105"/>
                  <a:gd name="connsiteX4" fmla="*/ 34227 w 130905"/>
                  <a:gd name="connsiteY4" fmla="*/ 328 h 93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905" h="93105">
                    <a:moveTo>
                      <a:pt x="34227" y="423"/>
                    </a:moveTo>
                    <a:cubicBezTo>
                      <a:pt x="-7111" y="7186"/>
                      <a:pt x="-12445" y="45953"/>
                      <a:pt x="26131" y="70718"/>
                    </a:cubicBezTo>
                    <a:cubicBezTo>
                      <a:pt x="58802" y="91672"/>
                      <a:pt x="114618" y="93196"/>
                      <a:pt x="130906" y="93101"/>
                    </a:cubicBezTo>
                    <a:cubicBezTo>
                      <a:pt x="130620" y="90244"/>
                      <a:pt x="130430" y="87386"/>
                      <a:pt x="130239" y="84529"/>
                    </a:cubicBezTo>
                    <a:cubicBezTo>
                      <a:pt x="114618" y="60621"/>
                      <a:pt x="68136" y="-5197"/>
                      <a:pt x="34227" y="328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9" name="Полилиния: фигура 238">
                <a:extLst>
                  <a:ext uri="{FF2B5EF4-FFF2-40B4-BE49-F238E27FC236}">
                    <a16:creationId xmlns:a16="http://schemas.microsoft.com/office/drawing/2014/main" id="{4D59E5CB-3760-4B7A-9E78-B02DBE2DAEAB}"/>
                  </a:ext>
                </a:extLst>
              </p:cNvPr>
              <p:cNvSpPr/>
              <p:nvPr/>
            </p:nvSpPr>
            <p:spPr>
              <a:xfrm>
                <a:off x="1747770" y="4040729"/>
                <a:ext cx="419714" cy="814768"/>
              </a:xfrm>
              <a:custGeom>
                <a:avLst/>
                <a:gdLst>
                  <a:gd name="connsiteX0" fmla="*/ 378336 w 419714"/>
                  <a:gd name="connsiteY0" fmla="*/ 286 h 814768"/>
                  <a:gd name="connsiteX1" fmla="*/ 292897 w 419714"/>
                  <a:gd name="connsiteY1" fmla="*/ 82582 h 814768"/>
                  <a:gd name="connsiteX2" fmla="*/ 283277 w 419714"/>
                  <a:gd name="connsiteY2" fmla="*/ 128397 h 814768"/>
                  <a:gd name="connsiteX3" fmla="*/ 284039 w 419714"/>
                  <a:gd name="connsiteY3" fmla="*/ 128397 h 814768"/>
                  <a:gd name="connsiteX4" fmla="*/ 264512 w 419714"/>
                  <a:gd name="connsiteY4" fmla="*/ 155543 h 814768"/>
                  <a:gd name="connsiteX5" fmla="*/ 224222 w 419714"/>
                  <a:gd name="connsiteY5" fmla="*/ 218885 h 814768"/>
                  <a:gd name="connsiteX6" fmla="*/ 219554 w 419714"/>
                  <a:gd name="connsiteY6" fmla="*/ 227171 h 814768"/>
                  <a:gd name="connsiteX7" fmla="*/ 218316 w 419714"/>
                  <a:gd name="connsiteY7" fmla="*/ 237744 h 814768"/>
                  <a:gd name="connsiteX8" fmla="*/ 214982 w 419714"/>
                  <a:gd name="connsiteY8" fmla="*/ 235172 h 814768"/>
                  <a:gd name="connsiteX9" fmla="*/ 183740 w 419714"/>
                  <a:gd name="connsiteY9" fmla="*/ 298037 h 814768"/>
                  <a:gd name="connsiteX10" fmla="*/ 151546 w 419714"/>
                  <a:gd name="connsiteY10" fmla="*/ 392335 h 814768"/>
                  <a:gd name="connsiteX11" fmla="*/ 151355 w 419714"/>
                  <a:gd name="connsiteY11" fmla="*/ 393478 h 814768"/>
                  <a:gd name="connsiteX12" fmla="*/ 146879 w 419714"/>
                  <a:gd name="connsiteY12" fmla="*/ 350711 h 814768"/>
                  <a:gd name="connsiteX13" fmla="*/ 71060 w 419714"/>
                  <a:gd name="connsiteY13" fmla="*/ 256985 h 814768"/>
                  <a:gd name="connsiteX14" fmla="*/ 25149 w 419714"/>
                  <a:gd name="connsiteY14" fmla="*/ 301180 h 814768"/>
                  <a:gd name="connsiteX15" fmla="*/ 65821 w 419714"/>
                  <a:gd name="connsiteY15" fmla="*/ 366046 h 814768"/>
                  <a:gd name="connsiteX16" fmla="*/ 150689 w 419714"/>
                  <a:gd name="connsiteY16" fmla="*/ 397193 h 814768"/>
                  <a:gd name="connsiteX17" fmla="*/ 135734 w 419714"/>
                  <a:gd name="connsiteY17" fmla="*/ 497872 h 814768"/>
                  <a:gd name="connsiteX18" fmla="*/ 132115 w 419714"/>
                  <a:gd name="connsiteY18" fmla="*/ 557594 h 814768"/>
                  <a:gd name="connsiteX19" fmla="*/ 129924 w 419714"/>
                  <a:gd name="connsiteY19" fmla="*/ 539020 h 814768"/>
                  <a:gd name="connsiteX20" fmla="*/ 54105 w 419714"/>
                  <a:gd name="connsiteY20" fmla="*/ 445294 h 814768"/>
                  <a:gd name="connsiteX21" fmla="*/ 8195 w 419714"/>
                  <a:gd name="connsiteY21" fmla="*/ 489490 h 814768"/>
                  <a:gd name="connsiteX22" fmla="*/ 48866 w 419714"/>
                  <a:gd name="connsiteY22" fmla="*/ 554355 h 814768"/>
                  <a:gd name="connsiteX23" fmla="*/ 131258 w 419714"/>
                  <a:gd name="connsiteY23" fmla="*/ 584930 h 814768"/>
                  <a:gd name="connsiteX24" fmla="*/ 130496 w 419714"/>
                  <a:gd name="connsiteY24" fmla="*/ 607981 h 814768"/>
                  <a:gd name="connsiteX25" fmla="*/ 126590 w 419714"/>
                  <a:gd name="connsiteY25" fmla="*/ 717709 h 814768"/>
                  <a:gd name="connsiteX26" fmla="*/ 123638 w 419714"/>
                  <a:gd name="connsiteY26" fmla="*/ 755332 h 814768"/>
                  <a:gd name="connsiteX27" fmla="*/ 121733 w 419714"/>
                  <a:gd name="connsiteY27" fmla="*/ 739235 h 814768"/>
                  <a:gd name="connsiteX28" fmla="*/ 45914 w 419714"/>
                  <a:gd name="connsiteY28" fmla="*/ 645509 h 814768"/>
                  <a:gd name="connsiteX29" fmla="*/ 3 w 419714"/>
                  <a:gd name="connsiteY29" fmla="*/ 689705 h 814768"/>
                  <a:gd name="connsiteX30" fmla="*/ 40675 w 419714"/>
                  <a:gd name="connsiteY30" fmla="*/ 754571 h 814768"/>
                  <a:gd name="connsiteX31" fmla="*/ 120685 w 419714"/>
                  <a:gd name="connsiteY31" fmla="*/ 784574 h 814768"/>
                  <a:gd name="connsiteX32" fmla="*/ 117351 w 419714"/>
                  <a:gd name="connsiteY32" fmla="*/ 810673 h 814768"/>
                  <a:gd name="connsiteX33" fmla="*/ 134210 w 419714"/>
                  <a:gd name="connsiteY33" fmla="*/ 814769 h 814768"/>
                  <a:gd name="connsiteX34" fmla="*/ 139259 w 419714"/>
                  <a:gd name="connsiteY34" fmla="*/ 764286 h 814768"/>
                  <a:gd name="connsiteX35" fmla="*/ 225365 w 419714"/>
                  <a:gd name="connsiteY35" fmla="*/ 777430 h 814768"/>
                  <a:gd name="connsiteX36" fmla="*/ 290992 w 419714"/>
                  <a:gd name="connsiteY36" fmla="*/ 740188 h 814768"/>
                  <a:gd name="connsiteX37" fmla="*/ 270894 w 419714"/>
                  <a:gd name="connsiteY37" fmla="*/ 678847 h 814768"/>
                  <a:gd name="connsiteX38" fmla="*/ 161071 w 419714"/>
                  <a:gd name="connsiteY38" fmla="*/ 724376 h 814768"/>
                  <a:gd name="connsiteX39" fmla="*/ 139830 w 419714"/>
                  <a:gd name="connsiteY39" fmla="*/ 756095 h 814768"/>
                  <a:gd name="connsiteX40" fmla="*/ 141926 w 419714"/>
                  <a:gd name="connsiteY40" fmla="*/ 718661 h 814768"/>
                  <a:gd name="connsiteX41" fmla="*/ 143450 w 419714"/>
                  <a:gd name="connsiteY41" fmla="*/ 608457 h 814768"/>
                  <a:gd name="connsiteX42" fmla="*/ 143831 w 419714"/>
                  <a:gd name="connsiteY42" fmla="*/ 574643 h 814768"/>
                  <a:gd name="connsiteX43" fmla="*/ 232889 w 419714"/>
                  <a:gd name="connsiteY43" fmla="*/ 588550 h 814768"/>
                  <a:gd name="connsiteX44" fmla="*/ 298517 w 419714"/>
                  <a:gd name="connsiteY44" fmla="*/ 551307 h 814768"/>
                  <a:gd name="connsiteX45" fmla="*/ 278419 w 419714"/>
                  <a:gd name="connsiteY45" fmla="*/ 489966 h 814768"/>
                  <a:gd name="connsiteX46" fmla="*/ 168596 w 419714"/>
                  <a:gd name="connsiteY46" fmla="*/ 535496 h 814768"/>
                  <a:gd name="connsiteX47" fmla="*/ 143926 w 419714"/>
                  <a:gd name="connsiteY47" fmla="*/ 572643 h 814768"/>
                  <a:gd name="connsiteX48" fmla="*/ 146402 w 419714"/>
                  <a:gd name="connsiteY48" fmla="*/ 498824 h 814768"/>
                  <a:gd name="connsiteX49" fmla="*/ 158594 w 419714"/>
                  <a:gd name="connsiteY49" fmla="*/ 401098 h 814768"/>
                  <a:gd name="connsiteX50" fmla="*/ 248129 w 419714"/>
                  <a:gd name="connsiteY50" fmla="*/ 415195 h 814768"/>
                  <a:gd name="connsiteX51" fmla="*/ 313757 w 419714"/>
                  <a:gd name="connsiteY51" fmla="*/ 377952 h 814768"/>
                  <a:gd name="connsiteX52" fmla="*/ 293659 w 419714"/>
                  <a:gd name="connsiteY52" fmla="*/ 316611 h 814768"/>
                  <a:gd name="connsiteX53" fmla="*/ 183836 w 419714"/>
                  <a:gd name="connsiteY53" fmla="*/ 362140 h 814768"/>
                  <a:gd name="connsiteX54" fmla="*/ 158880 w 419714"/>
                  <a:gd name="connsiteY54" fmla="*/ 399860 h 814768"/>
                  <a:gd name="connsiteX55" fmla="*/ 159833 w 419714"/>
                  <a:gd name="connsiteY55" fmla="*/ 394145 h 814768"/>
                  <a:gd name="connsiteX56" fmla="*/ 189551 w 419714"/>
                  <a:gd name="connsiteY56" fmla="*/ 300323 h 814768"/>
                  <a:gd name="connsiteX57" fmla="*/ 211363 w 419714"/>
                  <a:gd name="connsiteY57" fmla="*/ 252698 h 814768"/>
                  <a:gd name="connsiteX58" fmla="*/ 296993 w 419714"/>
                  <a:gd name="connsiteY58" fmla="*/ 275749 h 814768"/>
                  <a:gd name="connsiteX59" fmla="*/ 366430 w 419714"/>
                  <a:gd name="connsiteY59" fmla="*/ 245936 h 814768"/>
                  <a:gd name="connsiteX60" fmla="*/ 353095 w 419714"/>
                  <a:gd name="connsiteY60" fmla="*/ 182785 h 814768"/>
                  <a:gd name="connsiteX61" fmla="*/ 238700 w 419714"/>
                  <a:gd name="connsiteY61" fmla="*/ 215837 h 814768"/>
                  <a:gd name="connsiteX62" fmla="*/ 217459 w 419714"/>
                  <a:gd name="connsiteY62" fmla="*/ 240887 h 814768"/>
                  <a:gd name="connsiteX63" fmla="*/ 228032 w 419714"/>
                  <a:gd name="connsiteY63" fmla="*/ 220694 h 814768"/>
                  <a:gd name="connsiteX64" fmla="*/ 266798 w 419714"/>
                  <a:gd name="connsiteY64" fmla="*/ 156686 h 814768"/>
                  <a:gd name="connsiteX65" fmla="*/ 286515 w 419714"/>
                  <a:gd name="connsiteY65" fmla="*/ 127921 h 814768"/>
                  <a:gd name="connsiteX66" fmla="*/ 372050 w 419714"/>
                  <a:gd name="connsiteY66" fmla="*/ 109061 h 814768"/>
                  <a:gd name="connsiteX67" fmla="*/ 419389 w 419714"/>
                  <a:gd name="connsiteY67" fmla="*/ 50387 h 814768"/>
                  <a:gd name="connsiteX68" fmla="*/ 378622 w 419714"/>
                  <a:gd name="connsiteY68" fmla="*/ 0 h 814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19714" h="814768">
                    <a:moveTo>
                      <a:pt x="378336" y="286"/>
                    </a:moveTo>
                    <a:cubicBezTo>
                      <a:pt x="341855" y="-857"/>
                      <a:pt x="303374" y="51911"/>
                      <a:pt x="292897" y="82582"/>
                    </a:cubicBezTo>
                    <a:cubicBezTo>
                      <a:pt x="292040" y="85249"/>
                      <a:pt x="282610" y="128397"/>
                      <a:pt x="283277" y="128397"/>
                    </a:cubicBezTo>
                    <a:cubicBezTo>
                      <a:pt x="283277" y="128397"/>
                      <a:pt x="283943" y="128397"/>
                      <a:pt x="284039" y="128397"/>
                    </a:cubicBezTo>
                    <a:cubicBezTo>
                      <a:pt x="277943" y="136684"/>
                      <a:pt x="271466" y="145637"/>
                      <a:pt x="264512" y="155543"/>
                    </a:cubicBezTo>
                    <a:cubicBezTo>
                      <a:pt x="251939" y="174022"/>
                      <a:pt x="237938" y="194977"/>
                      <a:pt x="224222" y="218885"/>
                    </a:cubicBezTo>
                    <a:cubicBezTo>
                      <a:pt x="222698" y="221552"/>
                      <a:pt x="221078" y="224409"/>
                      <a:pt x="219554" y="227171"/>
                    </a:cubicBezTo>
                    <a:cubicBezTo>
                      <a:pt x="218888" y="233839"/>
                      <a:pt x="218316" y="237744"/>
                      <a:pt x="218316" y="237744"/>
                    </a:cubicBezTo>
                    <a:cubicBezTo>
                      <a:pt x="218316" y="237744"/>
                      <a:pt x="217078" y="236792"/>
                      <a:pt x="214982" y="235172"/>
                    </a:cubicBezTo>
                    <a:cubicBezTo>
                      <a:pt x="204219" y="254603"/>
                      <a:pt x="193456" y="275463"/>
                      <a:pt x="183740" y="298037"/>
                    </a:cubicBezTo>
                    <a:cubicBezTo>
                      <a:pt x="171167" y="327184"/>
                      <a:pt x="159452" y="358521"/>
                      <a:pt x="151546" y="392335"/>
                    </a:cubicBezTo>
                    <a:cubicBezTo>
                      <a:pt x="151546" y="392716"/>
                      <a:pt x="151451" y="393097"/>
                      <a:pt x="151355" y="393478"/>
                    </a:cubicBezTo>
                    <a:cubicBezTo>
                      <a:pt x="150593" y="382810"/>
                      <a:pt x="147355" y="352996"/>
                      <a:pt x="146879" y="350711"/>
                    </a:cubicBezTo>
                    <a:cubicBezTo>
                      <a:pt x="139735" y="318802"/>
                      <a:pt x="107350" y="260985"/>
                      <a:pt x="71060" y="256985"/>
                    </a:cubicBezTo>
                    <a:cubicBezTo>
                      <a:pt x="44866" y="254127"/>
                      <a:pt x="24863" y="276035"/>
                      <a:pt x="25149" y="301180"/>
                    </a:cubicBezTo>
                    <a:cubicBezTo>
                      <a:pt x="25340" y="326993"/>
                      <a:pt x="46294" y="351187"/>
                      <a:pt x="65821" y="366046"/>
                    </a:cubicBezTo>
                    <a:cubicBezTo>
                      <a:pt x="87824" y="382714"/>
                      <a:pt x="146021" y="396145"/>
                      <a:pt x="150689" y="397193"/>
                    </a:cubicBezTo>
                    <a:cubicBezTo>
                      <a:pt x="143450" y="429578"/>
                      <a:pt x="138687" y="463391"/>
                      <a:pt x="135734" y="497872"/>
                    </a:cubicBezTo>
                    <a:cubicBezTo>
                      <a:pt x="134020" y="517588"/>
                      <a:pt x="132972" y="537591"/>
                      <a:pt x="132115" y="557594"/>
                    </a:cubicBezTo>
                    <a:cubicBezTo>
                      <a:pt x="131162" y="548354"/>
                      <a:pt x="130210" y="540163"/>
                      <a:pt x="129924" y="539020"/>
                    </a:cubicBezTo>
                    <a:cubicBezTo>
                      <a:pt x="122780" y="507111"/>
                      <a:pt x="90395" y="449294"/>
                      <a:pt x="54105" y="445294"/>
                    </a:cubicBezTo>
                    <a:cubicBezTo>
                      <a:pt x="27911" y="442436"/>
                      <a:pt x="7909" y="464344"/>
                      <a:pt x="8195" y="489490"/>
                    </a:cubicBezTo>
                    <a:cubicBezTo>
                      <a:pt x="8385" y="515303"/>
                      <a:pt x="29340" y="539496"/>
                      <a:pt x="48866" y="554355"/>
                    </a:cubicBezTo>
                    <a:cubicBezTo>
                      <a:pt x="68678" y="569405"/>
                      <a:pt x="118113" y="581787"/>
                      <a:pt x="131258" y="584930"/>
                    </a:cubicBezTo>
                    <a:cubicBezTo>
                      <a:pt x="130972" y="592646"/>
                      <a:pt x="130686" y="600265"/>
                      <a:pt x="130496" y="607981"/>
                    </a:cubicBezTo>
                    <a:cubicBezTo>
                      <a:pt x="129448" y="644843"/>
                      <a:pt x="128591" y="681609"/>
                      <a:pt x="126590" y="717709"/>
                    </a:cubicBezTo>
                    <a:cubicBezTo>
                      <a:pt x="125924" y="730377"/>
                      <a:pt x="124781" y="742855"/>
                      <a:pt x="123638" y="755332"/>
                    </a:cubicBezTo>
                    <a:cubicBezTo>
                      <a:pt x="122780" y="747141"/>
                      <a:pt x="121923" y="740283"/>
                      <a:pt x="121733" y="739235"/>
                    </a:cubicBezTo>
                    <a:cubicBezTo>
                      <a:pt x="114589" y="707327"/>
                      <a:pt x="82204" y="649510"/>
                      <a:pt x="45914" y="645509"/>
                    </a:cubicBezTo>
                    <a:cubicBezTo>
                      <a:pt x="19720" y="642652"/>
                      <a:pt x="-283" y="664464"/>
                      <a:pt x="3" y="689705"/>
                    </a:cubicBezTo>
                    <a:cubicBezTo>
                      <a:pt x="194" y="715518"/>
                      <a:pt x="21149" y="739712"/>
                      <a:pt x="40675" y="754571"/>
                    </a:cubicBezTo>
                    <a:cubicBezTo>
                      <a:pt x="59630" y="768953"/>
                      <a:pt x="105064" y="780764"/>
                      <a:pt x="120685" y="784574"/>
                    </a:cubicBezTo>
                    <a:cubicBezTo>
                      <a:pt x="119637" y="793337"/>
                      <a:pt x="118589" y="802100"/>
                      <a:pt x="117351" y="810673"/>
                    </a:cubicBezTo>
                    <a:cubicBezTo>
                      <a:pt x="122876" y="812292"/>
                      <a:pt x="128495" y="813626"/>
                      <a:pt x="134210" y="814769"/>
                    </a:cubicBezTo>
                    <a:cubicBezTo>
                      <a:pt x="136306" y="798100"/>
                      <a:pt x="138020" y="781336"/>
                      <a:pt x="139259" y="764286"/>
                    </a:cubicBezTo>
                    <a:cubicBezTo>
                      <a:pt x="152879" y="768096"/>
                      <a:pt x="201171" y="780955"/>
                      <a:pt x="225365" y="777430"/>
                    </a:cubicBezTo>
                    <a:cubicBezTo>
                      <a:pt x="249367" y="773906"/>
                      <a:pt x="278895" y="762762"/>
                      <a:pt x="290992" y="740188"/>
                    </a:cubicBezTo>
                    <a:cubicBezTo>
                      <a:pt x="302803" y="718090"/>
                      <a:pt x="295183" y="689134"/>
                      <a:pt x="270894" y="678847"/>
                    </a:cubicBezTo>
                    <a:cubicBezTo>
                      <a:pt x="237080" y="664559"/>
                      <a:pt x="181931" y="699706"/>
                      <a:pt x="161071" y="724376"/>
                    </a:cubicBezTo>
                    <a:cubicBezTo>
                      <a:pt x="159737" y="725900"/>
                      <a:pt x="146783" y="745331"/>
                      <a:pt x="139830" y="756095"/>
                    </a:cubicBezTo>
                    <a:cubicBezTo>
                      <a:pt x="140687" y="743617"/>
                      <a:pt x="141545" y="731234"/>
                      <a:pt x="141926" y="718661"/>
                    </a:cubicBezTo>
                    <a:cubicBezTo>
                      <a:pt x="143069" y="682180"/>
                      <a:pt x="143164" y="645319"/>
                      <a:pt x="143450" y="608457"/>
                    </a:cubicBezTo>
                    <a:cubicBezTo>
                      <a:pt x="143450" y="597122"/>
                      <a:pt x="143735" y="585978"/>
                      <a:pt x="143831" y="574643"/>
                    </a:cubicBezTo>
                    <a:cubicBezTo>
                      <a:pt x="148688" y="576072"/>
                      <a:pt x="205838" y="592550"/>
                      <a:pt x="232889" y="588550"/>
                    </a:cubicBezTo>
                    <a:cubicBezTo>
                      <a:pt x="256892" y="585026"/>
                      <a:pt x="286420" y="573881"/>
                      <a:pt x="298517" y="551307"/>
                    </a:cubicBezTo>
                    <a:cubicBezTo>
                      <a:pt x="310328" y="529209"/>
                      <a:pt x="302708" y="500253"/>
                      <a:pt x="278419" y="489966"/>
                    </a:cubicBezTo>
                    <a:cubicBezTo>
                      <a:pt x="244605" y="475679"/>
                      <a:pt x="189455" y="510826"/>
                      <a:pt x="168596" y="535496"/>
                    </a:cubicBezTo>
                    <a:cubicBezTo>
                      <a:pt x="166976" y="537401"/>
                      <a:pt x="148403" y="565309"/>
                      <a:pt x="143926" y="572643"/>
                    </a:cubicBezTo>
                    <a:cubicBezTo>
                      <a:pt x="144307" y="547878"/>
                      <a:pt x="144878" y="523208"/>
                      <a:pt x="146402" y="498824"/>
                    </a:cubicBezTo>
                    <a:cubicBezTo>
                      <a:pt x="148498" y="465296"/>
                      <a:pt x="152403" y="432530"/>
                      <a:pt x="158594" y="401098"/>
                    </a:cubicBezTo>
                    <a:cubicBezTo>
                      <a:pt x="160880" y="401764"/>
                      <a:pt x="220412" y="419195"/>
                      <a:pt x="248129" y="415195"/>
                    </a:cubicBezTo>
                    <a:cubicBezTo>
                      <a:pt x="272132" y="411671"/>
                      <a:pt x="301660" y="400526"/>
                      <a:pt x="313757" y="377952"/>
                    </a:cubicBezTo>
                    <a:cubicBezTo>
                      <a:pt x="325568" y="355854"/>
                      <a:pt x="317948" y="326898"/>
                      <a:pt x="293659" y="316611"/>
                    </a:cubicBezTo>
                    <a:cubicBezTo>
                      <a:pt x="259845" y="302323"/>
                      <a:pt x="204695" y="337471"/>
                      <a:pt x="183836" y="362140"/>
                    </a:cubicBezTo>
                    <a:cubicBezTo>
                      <a:pt x="182216" y="364046"/>
                      <a:pt x="162119" y="394145"/>
                      <a:pt x="158880" y="399860"/>
                    </a:cubicBezTo>
                    <a:cubicBezTo>
                      <a:pt x="159261" y="397955"/>
                      <a:pt x="159452" y="396049"/>
                      <a:pt x="159833" y="394145"/>
                    </a:cubicBezTo>
                    <a:cubicBezTo>
                      <a:pt x="166881" y="360712"/>
                      <a:pt x="177835" y="329279"/>
                      <a:pt x="189551" y="300323"/>
                    </a:cubicBezTo>
                    <a:cubicBezTo>
                      <a:pt x="196313" y="283464"/>
                      <a:pt x="203743" y="267843"/>
                      <a:pt x="211363" y="252698"/>
                    </a:cubicBezTo>
                    <a:cubicBezTo>
                      <a:pt x="222126" y="257080"/>
                      <a:pt x="271656" y="276606"/>
                      <a:pt x="296993" y="275749"/>
                    </a:cubicBezTo>
                    <a:cubicBezTo>
                      <a:pt x="321281" y="274892"/>
                      <a:pt x="351952" y="267081"/>
                      <a:pt x="366430" y="245936"/>
                    </a:cubicBezTo>
                    <a:cubicBezTo>
                      <a:pt x="380622" y="225266"/>
                      <a:pt x="376241" y="195739"/>
                      <a:pt x="353095" y="182785"/>
                    </a:cubicBezTo>
                    <a:cubicBezTo>
                      <a:pt x="320996" y="164878"/>
                      <a:pt x="262226" y="193738"/>
                      <a:pt x="238700" y="215837"/>
                    </a:cubicBezTo>
                    <a:cubicBezTo>
                      <a:pt x="237461" y="217075"/>
                      <a:pt x="225746" y="230791"/>
                      <a:pt x="217459" y="240887"/>
                    </a:cubicBezTo>
                    <a:cubicBezTo>
                      <a:pt x="220983" y="234124"/>
                      <a:pt x="224507" y="227076"/>
                      <a:pt x="228032" y="220694"/>
                    </a:cubicBezTo>
                    <a:cubicBezTo>
                      <a:pt x="241176" y="196596"/>
                      <a:pt x="254702" y="175451"/>
                      <a:pt x="266798" y="156686"/>
                    </a:cubicBezTo>
                    <a:cubicBezTo>
                      <a:pt x="273752" y="146113"/>
                      <a:pt x="280324" y="136684"/>
                      <a:pt x="286515" y="127921"/>
                    </a:cubicBezTo>
                    <a:cubicBezTo>
                      <a:pt x="299279" y="126778"/>
                      <a:pt x="350523" y="121348"/>
                      <a:pt x="372050" y="109061"/>
                    </a:cubicBezTo>
                    <a:cubicBezTo>
                      <a:pt x="393005" y="97060"/>
                      <a:pt x="416436" y="75914"/>
                      <a:pt x="419389" y="50387"/>
                    </a:cubicBezTo>
                    <a:cubicBezTo>
                      <a:pt x="422342" y="25337"/>
                      <a:pt x="404911" y="857"/>
                      <a:pt x="378622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0" name="Полилиния: фигура 239">
                <a:extLst>
                  <a:ext uri="{FF2B5EF4-FFF2-40B4-BE49-F238E27FC236}">
                    <a16:creationId xmlns:a16="http://schemas.microsoft.com/office/drawing/2014/main" id="{EC07F099-28D0-4EAB-B995-F78E7E873042}"/>
                  </a:ext>
                </a:extLst>
              </p:cNvPr>
              <p:cNvSpPr/>
              <p:nvPr/>
            </p:nvSpPr>
            <p:spPr>
              <a:xfrm>
                <a:off x="1271696" y="4191386"/>
                <a:ext cx="469844" cy="654612"/>
              </a:xfrm>
              <a:custGeom>
                <a:avLst/>
                <a:gdLst>
                  <a:gd name="connsiteX0" fmla="*/ 353491 w 469844"/>
                  <a:gd name="connsiteY0" fmla="*/ 636013 h 654612"/>
                  <a:gd name="connsiteX1" fmla="*/ 360825 w 469844"/>
                  <a:gd name="connsiteY1" fmla="*/ 650681 h 654612"/>
                  <a:gd name="connsiteX2" fmla="*/ 377113 w 469844"/>
                  <a:gd name="connsiteY2" fmla="*/ 645347 h 654612"/>
                  <a:gd name="connsiteX3" fmla="*/ 357777 w 469844"/>
                  <a:gd name="connsiteY3" fmla="*/ 608676 h 654612"/>
                  <a:gd name="connsiteX4" fmla="*/ 436073 w 469844"/>
                  <a:gd name="connsiteY4" fmla="*/ 572195 h 654612"/>
                  <a:gd name="connsiteX5" fmla="*/ 469601 w 469844"/>
                  <a:gd name="connsiteY5" fmla="*/ 504568 h 654612"/>
                  <a:gd name="connsiteX6" fmla="*/ 419118 w 469844"/>
                  <a:gd name="connsiteY6" fmla="*/ 463896 h 654612"/>
                  <a:gd name="connsiteX7" fmla="*/ 353586 w 469844"/>
                  <a:gd name="connsiteY7" fmla="*/ 562861 h 654612"/>
                  <a:gd name="connsiteX8" fmla="*/ 353586 w 469844"/>
                  <a:gd name="connsiteY8" fmla="*/ 601342 h 654612"/>
                  <a:gd name="connsiteX9" fmla="*/ 334632 w 469844"/>
                  <a:gd name="connsiteY9" fmla="*/ 568576 h 654612"/>
                  <a:gd name="connsiteX10" fmla="*/ 275100 w 469844"/>
                  <a:gd name="connsiteY10" fmla="*/ 474850 h 654612"/>
                  <a:gd name="connsiteX11" fmla="*/ 256812 w 469844"/>
                  <a:gd name="connsiteY11" fmla="*/ 446180 h 654612"/>
                  <a:gd name="connsiteX12" fmla="*/ 337965 w 469844"/>
                  <a:gd name="connsiteY12" fmla="*/ 408746 h 654612"/>
                  <a:gd name="connsiteX13" fmla="*/ 371493 w 469844"/>
                  <a:gd name="connsiteY13" fmla="*/ 341119 h 654612"/>
                  <a:gd name="connsiteX14" fmla="*/ 321011 w 469844"/>
                  <a:gd name="connsiteY14" fmla="*/ 300447 h 654612"/>
                  <a:gd name="connsiteX15" fmla="*/ 255479 w 469844"/>
                  <a:gd name="connsiteY15" fmla="*/ 399412 h 654612"/>
                  <a:gd name="connsiteX16" fmla="*/ 255669 w 469844"/>
                  <a:gd name="connsiteY16" fmla="*/ 444370 h 654612"/>
                  <a:gd name="connsiteX17" fmla="*/ 217093 w 469844"/>
                  <a:gd name="connsiteY17" fmla="*/ 380743 h 654612"/>
                  <a:gd name="connsiteX18" fmla="*/ 173278 w 469844"/>
                  <a:gd name="connsiteY18" fmla="*/ 291589 h 654612"/>
                  <a:gd name="connsiteX19" fmla="*/ 254907 w 469844"/>
                  <a:gd name="connsiteY19" fmla="*/ 254060 h 654612"/>
                  <a:gd name="connsiteX20" fmla="*/ 288435 w 469844"/>
                  <a:gd name="connsiteY20" fmla="*/ 186433 h 654612"/>
                  <a:gd name="connsiteX21" fmla="*/ 237953 w 469844"/>
                  <a:gd name="connsiteY21" fmla="*/ 145761 h 654612"/>
                  <a:gd name="connsiteX22" fmla="*/ 172421 w 469844"/>
                  <a:gd name="connsiteY22" fmla="*/ 244726 h 654612"/>
                  <a:gd name="connsiteX23" fmla="*/ 172706 w 469844"/>
                  <a:gd name="connsiteY23" fmla="*/ 290350 h 654612"/>
                  <a:gd name="connsiteX24" fmla="*/ 170325 w 469844"/>
                  <a:gd name="connsiteY24" fmla="*/ 285016 h 654612"/>
                  <a:gd name="connsiteX25" fmla="*/ 143084 w 469844"/>
                  <a:gd name="connsiteY25" fmla="*/ 189481 h 654612"/>
                  <a:gd name="connsiteX26" fmla="*/ 134797 w 469844"/>
                  <a:gd name="connsiteY26" fmla="*/ 137284 h 654612"/>
                  <a:gd name="connsiteX27" fmla="*/ 218141 w 469844"/>
                  <a:gd name="connsiteY27" fmla="*/ 109375 h 654612"/>
                  <a:gd name="connsiteX28" fmla="*/ 259003 w 469844"/>
                  <a:gd name="connsiteY28" fmla="*/ 45939 h 654612"/>
                  <a:gd name="connsiteX29" fmla="*/ 213188 w 469844"/>
                  <a:gd name="connsiteY29" fmla="*/ 124 h 654612"/>
                  <a:gd name="connsiteX30" fmla="*/ 137083 w 469844"/>
                  <a:gd name="connsiteY30" fmla="*/ 91088 h 654612"/>
                  <a:gd name="connsiteX31" fmla="*/ 133368 w 469844"/>
                  <a:gd name="connsiteY31" fmla="*/ 123949 h 654612"/>
                  <a:gd name="connsiteX32" fmla="*/ 128606 w 469844"/>
                  <a:gd name="connsiteY32" fmla="*/ 123949 h 654612"/>
                  <a:gd name="connsiteX33" fmla="*/ 137178 w 469844"/>
                  <a:gd name="connsiteY33" fmla="*/ 190338 h 654612"/>
                  <a:gd name="connsiteX34" fmla="*/ 162610 w 469844"/>
                  <a:gd name="connsiteY34" fmla="*/ 287588 h 654612"/>
                  <a:gd name="connsiteX35" fmla="*/ 163086 w 469844"/>
                  <a:gd name="connsiteY35" fmla="*/ 288731 h 654612"/>
                  <a:gd name="connsiteX36" fmla="*/ 135845 w 469844"/>
                  <a:gd name="connsiteY36" fmla="*/ 255203 h 654612"/>
                  <a:gd name="connsiteX37" fmla="*/ 21545 w 469844"/>
                  <a:gd name="connsiteY37" fmla="*/ 218056 h 654612"/>
                  <a:gd name="connsiteX38" fmla="*/ 8019 w 469844"/>
                  <a:gd name="connsiteY38" fmla="*/ 280730 h 654612"/>
                  <a:gd name="connsiteX39" fmla="*/ 77361 w 469844"/>
                  <a:gd name="connsiteY39" fmla="*/ 312925 h 654612"/>
                  <a:gd name="connsiteX40" fmla="*/ 164610 w 469844"/>
                  <a:gd name="connsiteY40" fmla="*/ 292351 h 654612"/>
                  <a:gd name="connsiteX41" fmla="*/ 207854 w 469844"/>
                  <a:gd name="connsiteY41" fmla="*/ 385505 h 654612"/>
                  <a:gd name="connsiteX42" fmla="*/ 237762 w 469844"/>
                  <a:gd name="connsiteY42" fmla="*/ 437797 h 654612"/>
                  <a:gd name="connsiteX43" fmla="*/ 225761 w 469844"/>
                  <a:gd name="connsiteY43" fmla="*/ 423320 h 654612"/>
                  <a:gd name="connsiteX44" fmla="*/ 111461 w 469844"/>
                  <a:gd name="connsiteY44" fmla="*/ 386267 h 654612"/>
                  <a:gd name="connsiteX45" fmla="*/ 97935 w 469844"/>
                  <a:gd name="connsiteY45" fmla="*/ 448942 h 654612"/>
                  <a:gd name="connsiteX46" fmla="*/ 167277 w 469844"/>
                  <a:gd name="connsiteY46" fmla="*/ 481136 h 654612"/>
                  <a:gd name="connsiteX47" fmla="*/ 252145 w 469844"/>
                  <a:gd name="connsiteY47" fmla="*/ 461515 h 654612"/>
                  <a:gd name="connsiteX48" fmla="*/ 264242 w 469844"/>
                  <a:gd name="connsiteY48" fmla="*/ 481327 h 654612"/>
                  <a:gd name="connsiteX49" fmla="*/ 321582 w 469844"/>
                  <a:gd name="connsiteY49" fmla="*/ 575910 h 654612"/>
                  <a:gd name="connsiteX50" fmla="*/ 339966 w 469844"/>
                  <a:gd name="connsiteY50" fmla="*/ 609248 h 654612"/>
                  <a:gd name="connsiteX51" fmla="*/ 329488 w 469844"/>
                  <a:gd name="connsiteY51" fmla="*/ 596674 h 654612"/>
                  <a:gd name="connsiteX52" fmla="*/ 215188 w 469844"/>
                  <a:gd name="connsiteY52" fmla="*/ 559622 h 654612"/>
                  <a:gd name="connsiteX53" fmla="*/ 201663 w 469844"/>
                  <a:gd name="connsiteY53" fmla="*/ 622297 h 654612"/>
                  <a:gd name="connsiteX54" fmla="*/ 271005 w 469844"/>
                  <a:gd name="connsiteY54" fmla="*/ 654491 h 654612"/>
                  <a:gd name="connsiteX55" fmla="*/ 353586 w 469844"/>
                  <a:gd name="connsiteY55" fmla="*/ 635632 h 654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69844" h="654612">
                    <a:moveTo>
                      <a:pt x="353491" y="636013"/>
                    </a:moveTo>
                    <a:cubicBezTo>
                      <a:pt x="355968" y="640966"/>
                      <a:pt x="358349" y="645823"/>
                      <a:pt x="360825" y="650681"/>
                    </a:cubicBezTo>
                    <a:cubicBezTo>
                      <a:pt x="366350" y="648776"/>
                      <a:pt x="371779" y="647062"/>
                      <a:pt x="377113" y="645347"/>
                    </a:cubicBezTo>
                    <a:cubicBezTo>
                      <a:pt x="370922" y="633060"/>
                      <a:pt x="364540" y="620868"/>
                      <a:pt x="357777" y="608676"/>
                    </a:cubicBezTo>
                    <a:cubicBezTo>
                      <a:pt x="371112" y="604390"/>
                      <a:pt x="418071" y="588483"/>
                      <a:pt x="436073" y="572195"/>
                    </a:cubicBezTo>
                    <a:cubicBezTo>
                      <a:pt x="453980" y="556003"/>
                      <a:pt x="472173" y="530285"/>
                      <a:pt x="469601" y="504568"/>
                    </a:cubicBezTo>
                    <a:cubicBezTo>
                      <a:pt x="467124" y="479422"/>
                      <a:pt x="444931" y="459133"/>
                      <a:pt x="419118" y="463896"/>
                    </a:cubicBezTo>
                    <a:cubicBezTo>
                      <a:pt x="383304" y="470564"/>
                      <a:pt x="357206" y="530571"/>
                      <a:pt x="353586" y="562861"/>
                    </a:cubicBezTo>
                    <a:cubicBezTo>
                      <a:pt x="353396" y="564861"/>
                      <a:pt x="353301" y="588388"/>
                      <a:pt x="353586" y="601342"/>
                    </a:cubicBezTo>
                    <a:cubicBezTo>
                      <a:pt x="347395" y="590388"/>
                      <a:pt x="341299" y="579434"/>
                      <a:pt x="334632" y="568576"/>
                    </a:cubicBezTo>
                    <a:cubicBezTo>
                      <a:pt x="315486" y="537239"/>
                      <a:pt x="295198" y="505997"/>
                      <a:pt x="275100" y="474850"/>
                    </a:cubicBezTo>
                    <a:cubicBezTo>
                      <a:pt x="268909" y="465325"/>
                      <a:pt x="262908" y="455705"/>
                      <a:pt x="256812" y="446180"/>
                    </a:cubicBezTo>
                    <a:cubicBezTo>
                      <a:pt x="261575" y="444751"/>
                      <a:pt x="317868" y="427034"/>
                      <a:pt x="337965" y="408746"/>
                    </a:cubicBezTo>
                    <a:cubicBezTo>
                      <a:pt x="355872" y="392554"/>
                      <a:pt x="374065" y="366836"/>
                      <a:pt x="371493" y="341119"/>
                    </a:cubicBezTo>
                    <a:cubicBezTo>
                      <a:pt x="369017" y="315973"/>
                      <a:pt x="346824" y="295685"/>
                      <a:pt x="321011" y="300447"/>
                    </a:cubicBezTo>
                    <a:cubicBezTo>
                      <a:pt x="285197" y="307114"/>
                      <a:pt x="259098" y="367122"/>
                      <a:pt x="255479" y="399412"/>
                    </a:cubicBezTo>
                    <a:cubicBezTo>
                      <a:pt x="255193" y="401888"/>
                      <a:pt x="255193" y="435702"/>
                      <a:pt x="255669" y="444370"/>
                    </a:cubicBezTo>
                    <a:cubicBezTo>
                      <a:pt x="242334" y="423320"/>
                      <a:pt x="229190" y="402174"/>
                      <a:pt x="217093" y="380743"/>
                    </a:cubicBezTo>
                    <a:cubicBezTo>
                      <a:pt x="200329" y="351311"/>
                      <a:pt x="185470" y="321497"/>
                      <a:pt x="173278" y="291589"/>
                    </a:cubicBezTo>
                    <a:cubicBezTo>
                      <a:pt x="175469" y="290922"/>
                      <a:pt x="234333" y="272729"/>
                      <a:pt x="254907" y="254060"/>
                    </a:cubicBezTo>
                    <a:cubicBezTo>
                      <a:pt x="272814" y="237868"/>
                      <a:pt x="291007" y="212150"/>
                      <a:pt x="288435" y="186433"/>
                    </a:cubicBezTo>
                    <a:cubicBezTo>
                      <a:pt x="285959" y="161287"/>
                      <a:pt x="263766" y="140998"/>
                      <a:pt x="237953" y="145761"/>
                    </a:cubicBezTo>
                    <a:cubicBezTo>
                      <a:pt x="202139" y="152429"/>
                      <a:pt x="176040" y="212436"/>
                      <a:pt x="172421" y="244726"/>
                    </a:cubicBezTo>
                    <a:cubicBezTo>
                      <a:pt x="172135" y="247297"/>
                      <a:pt x="172135" y="283683"/>
                      <a:pt x="172706" y="290350"/>
                    </a:cubicBezTo>
                    <a:cubicBezTo>
                      <a:pt x="171945" y="288541"/>
                      <a:pt x="170992" y="286826"/>
                      <a:pt x="170325" y="285016"/>
                    </a:cubicBezTo>
                    <a:cubicBezTo>
                      <a:pt x="157657" y="252917"/>
                      <a:pt x="149370" y="220342"/>
                      <a:pt x="143084" y="189481"/>
                    </a:cubicBezTo>
                    <a:cubicBezTo>
                      <a:pt x="139369" y="171574"/>
                      <a:pt x="136892" y="154238"/>
                      <a:pt x="134797" y="137284"/>
                    </a:cubicBezTo>
                    <a:cubicBezTo>
                      <a:pt x="146132" y="134998"/>
                      <a:pt x="197757" y="124139"/>
                      <a:pt x="218141" y="109375"/>
                    </a:cubicBezTo>
                    <a:cubicBezTo>
                      <a:pt x="237762" y="95279"/>
                      <a:pt x="258717" y="71752"/>
                      <a:pt x="259003" y="45939"/>
                    </a:cubicBezTo>
                    <a:cubicBezTo>
                      <a:pt x="259289" y="20698"/>
                      <a:pt x="239382" y="-1877"/>
                      <a:pt x="213188" y="124"/>
                    </a:cubicBezTo>
                    <a:cubicBezTo>
                      <a:pt x="176802" y="2791"/>
                      <a:pt x="144227" y="59464"/>
                      <a:pt x="137083" y="91088"/>
                    </a:cubicBezTo>
                    <a:cubicBezTo>
                      <a:pt x="136702" y="92802"/>
                      <a:pt x="134702" y="110804"/>
                      <a:pt x="133368" y="123949"/>
                    </a:cubicBezTo>
                    <a:cubicBezTo>
                      <a:pt x="133368" y="123949"/>
                      <a:pt x="131559" y="123949"/>
                      <a:pt x="128606" y="123949"/>
                    </a:cubicBezTo>
                    <a:cubicBezTo>
                      <a:pt x="130416" y="145094"/>
                      <a:pt x="132987" y="167383"/>
                      <a:pt x="137178" y="190338"/>
                    </a:cubicBezTo>
                    <a:cubicBezTo>
                      <a:pt x="142893" y="221866"/>
                      <a:pt x="150418" y="254727"/>
                      <a:pt x="162610" y="287588"/>
                    </a:cubicBezTo>
                    <a:cubicBezTo>
                      <a:pt x="162705" y="287969"/>
                      <a:pt x="162896" y="288350"/>
                      <a:pt x="163086" y="288731"/>
                    </a:cubicBezTo>
                    <a:cubicBezTo>
                      <a:pt x="156514" y="280159"/>
                      <a:pt x="137464" y="256822"/>
                      <a:pt x="135845" y="255203"/>
                    </a:cubicBezTo>
                    <a:cubicBezTo>
                      <a:pt x="112413" y="232248"/>
                      <a:pt x="53739" y="201387"/>
                      <a:pt x="21545" y="218056"/>
                    </a:cubicBezTo>
                    <a:cubicBezTo>
                      <a:pt x="-1601" y="230153"/>
                      <a:pt x="-6078" y="259585"/>
                      <a:pt x="8019" y="280730"/>
                    </a:cubicBezTo>
                    <a:cubicBezTo>
                      <a:pt x="22402" y="302352"/>
                      <a:pt x="53072" y="311210"/>
                      <a:pt x="77361" y="312925"/>
                    </a:cubicBezTo>
                    <a:cubicBezTo>
                      <a:pt x="104793" y="314830"/>
                      <a:pt x="160229" y="294065"/>
                      <a:pt x="164610" y="292351"/>
                    </a:cubicBezTo>
                    <a:cubicBezTo>
                      <a:pt x="176516" y="323593"/>
                      <a:pt x="191185" y="354739"/>
                      <a:pt x="207854" y="385505"/>
                    </a:cubicBezTo>
                    <a:cubicBezTo>
                      <a:pt x="217379" y="403127"/>
                      <a:pt x="227475" y="420462"/>
                      <a:pt x="237762" y="437797"/>
                    </a:cubicBezTo>
                    <a:cubicBezTo>
                      <a:pt x="231857" y="430558"/>
                      <a:pt x="226523" y="424177"/>
                      <a:pt x="225761" y="423320"/>
                    </a:cubicBezTo>
                    <a:cubicBezTo>
                      <a:pt x="202329" y="400364"/>
                      <a:pt x="143655" y="369503"/>
                      <a:pt x="111461" y="386267"/>
                    </a:cubicBezTo>
                    <a:cubicBezTo>
                      <a:pt x="88315" y="398364"/>
                      <a:pt x="83838" y="427796"/>
                      <a:pt x="97935" y="448942"/>
                    </a:cubicBezTo>
                    <a:cubicBezTo>
                      <a:pt x="112318" y="470564"/>
                      <a:pt x="142893" y="479422"/>
                      <a:pt x="167277" y="481136"/>
                    </a:cubicBezTo>
                    <a:cubicBezTo>
                      <a:pt x="191947" y="482851"/>
                      <a:pt x="239572" y="466087"/>
                      <a:pt x="252145" y="461515"/>
                    </a:cubicBezTo>
                    <a:cubicBezTo>
                      <a:pt x="256146" y="468087"/>
                      <a:pt x="260146" y="474755"/>
                      <a:pt x="264242" y="481327"/>
                    </a:cubicBezTo>
                    <a:cubicBezTo>
                      <a:pt x="283673" y="512950"/>
                      <a:pt x="303294" y="544478"/>
                      <a:pt x="321582" y="575910"/>
                    </a:cubicBezTo>
                    <a:cubicBezTo>
                      <a:pt x="328059" y="586959"/>
                      <a:pt x="333965" y="598103"/>
                      <a:pt x="339966" y="609248"/>
                    </a:cubicBezTo>
                    <a:cubicBezTo>
                      <a:pt x="334727" y="602866"/>
                      <a:pt x="330250" y="597437"/>
                      <a:pt x="329488" y="596674"/>
                    </a:cubicBezTo>
                    <a:cubicBezTo>
                      <a:pt x="306057" y="573719"/>
                      <a:pt x="247383" y="542858"/>
                      <a:pt x="215188" y="559622"/>
                    </a:cubicBezTo>
                    <a:cubicBezTo>
                      <a:pt x="192042" y="571719"/>
                      <a:pt x="187566" y="601151"/>
                      <a:pt x="201663" y="622297"/>
                    </a:cubicBezTo>
                    <a:cubicBezTo>
                      <a:pt x="216045" y="643919"/>
                      <a:pt x="246716" y="652777"/>
                      <a:pt x="271005" y="654491"/>
                    </a:cubicBezTo>
                    <a:cubicBezTo>
                      <a:pt x="294531" y="656111"/>
                      <a:pt x="338632" y="641061"/>
                      <a:pt x="353586" y="635632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1" name="Полилиния: фигура 240">
                <a:extLst>
                  <a:ext uri="{FF2B5EF4-FFF2-40B4-BE49-F238E27FC236}">
                    <a16:creationId xmlns:a16="http://schemas.microsoft.com/office/drawing/2014/main" id="{4C845D29-08B1-4BA9-9B14-84D6245B15B0}"/>
                  </a:ext>
                </a:extLst>
              </p:cNvPr>
              <p:cNvSpPr/>
              <p:nvPr/>
            </p:nvSpPr>
            <p:spPr>
              <a:xfrm>
                <a:off x="1891658" y="4135333"/>
                <a:ext cx="78232" cy="140472"/>
              </a:xfrm>
              <a:custGeom>
                <a:avLst/>
                <a:gdLst>
                  <a:gd name="connsiteX0" fmla="*/ 54426 w 78232"/>
                  <a:gd name="connsiteY0" fmla="*/ 7218 h 140472"/>
                  <a:gd name="connsiteX1" fmla="*/ 3753 w 78232"/>
                  <a:gd name="connsiteY1" fmla="*/ 56558 h 140472"/>
                  <a:gd name="connsiteX2" fmla="*/ 71286 w 78232"/>
                  <a:gd name="connsiteY2" fmla="*/ 140473 h 140472"/>
                  <a:gd name="connsiteX3" fmla="*/ 75858 w 78232"/>
                  <a:gd name="connsiteY3" fmla="*/ 132472 h 140472"/>
                  <a:gd name="connsiteX4" fmla="*/ 54522 w 78232"/>
                  <a:gd name="connsiteY4" fmla="*/ 7218 h 14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232" h="140472">
                    <a:moveTo>
                      <a:pt x="54426" y="7218"/>
                    </a:moveTo>
                    <a:cubicBezTo>
                      <a:pt x="18041" y="-13642"/>
                      <a:pt x="-10534" y="13124"/>
                      <a:pt x="3753" y="56558"/>
                    </a:cubicBezTo>
                    <a:cubicBezTo>
                      <a:pt x="15945" y="93800"/>
                      <a:pt x="59094" y="130662"/>
                      <a:pt x="71286" y="140473"/>
                    </a:cubicBezTo>
                    <a:cubicBezTo>
                      <a:pt x="72810" y="137711"/>
                      <a:pt x="74334" y="135139"/>
                      <a:pt x="75858" y="132472"/>
                    </a:cubicBezTo>
                    <a:cubicBezTo>
                      <a:pt x="78810" y="103516"/>
                      <a:pt x="84144" y="24173"/>
                      <a:pt x="54522" y="7218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42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3721572" y="4911544"/>
              <a:ext cx="1041234" cy="879593"/>
              <a:chOff x="3721572" y="4911544"/>
              <a:chExt cx="1041234" cy="879593"/>
            </a:xfrm>
            <a:solidFill>
              <a:srgbClr val="BABABA"/>
            </a:solidFill>
          </p:grpSpPr>
          <p:sp>
            <p:nvSpPr>
              <p:cNvPr id="243" name="Полилиния: фигура 242">
                <a:extLst>
                  <a:ext uri="{FF2B5EF4-FFF2-40B4-BE49-F238E27FC236}">
                    <a16:creationId xmlns:a16="http://schemas.microsoft.com/office/drawing/2014/main" id="{ED1E5452-BA15-4C1B-A8E6-3DE96FFE3FDD}"/>
                  </a:ext>
                </a:extLst>
              </p:cNvPr>
              <p:cNvSpPr/>
              <p:nvPr/>
            </p:nvSpPr>
            <p:spPr>
              <a:xfrm>
                <a:off x="4048442" y="5653871"/>
                <a:ext cx="142592" cy="135838"/>
              </a:xfrm>
              <a:custGeom>
                <a:avLst/>
                <a:gdLst>
                  <a:gd name="connsiteX0" fmla="*/ 94488 w 142592"/>
                  <a:gd name="connsiteY0" fmla="*/ 13 h 135838"/>
                  <a:gd name="connsiteX1" fmla="*/ 5715 w 142592"/>
                  <a:gd name="connsiteY1" fmla="*/ 96596 h 135838"/>
                  <a:gd name="connsiteX2" fmla="*/ 0 w 142592"/>
                  <a:gd name="connsiteY2" fmla="*/ 131743 h 135838"/>
                  <a:gd name="connsiteX3" fmla="*/ 56864 w 142592"/>
                  <a:gd name="connsiteY3" fmla="*/ 135839 h 135838"/>
                  <a:gd name="connsiteX4" fmla="*/ 94107 w 142592"/>
                  <a:gd name="connsiteY4" fmla="*/ 121075 h 135838"/>
                  <a:gd name="connsiteX5" fmla="*/ 142494 w 142592"/>
                  <a:gd name="connsiteY5" fmla="*/ 53162 h 135838"/>
                  <a:gd name="connsiteX6" fmla="*/ 94488 w 142592"/>
                  <a:gd name="connsiteY6" fmla="*/ 13 h 135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592" h="135838">
                    <a:moveTo>
                      <a:pt x="94488" y="13"/>
                    </a:moveTo>
                    <a:cubicBezTo>
                      <a:pt x="54292" y="1060"/>
                      <a:pt x="15335" y="61925"/>
                      <a:pt x="5715" y="96596"/>
                    </a:cubicBezTo>
                    <a:cubicBezTo>
                      <a:pt x="5239" y="98406"/>
                      <a:pt x="2096" y="117456"/>
                      <a:pt x="0" y="131743"/>
                    </a:cubicBezTo>
                    <a:cubicBezTo>
                      <a:pt x="18955" y="133458"/>
                      <a:pt x="37909" y="134886"/>
                      <a:pt x="56864" y="135839"/>
                    </a:cubicBezTo>
                    <a:cubicBezTo>
                      <a:pt x="71342" y="131839"/>
                      <a:pt x="85154" y="126885"/>
                      <a:pt x="94107" y="121075"/>
                    </a:cubicBezTo>
                    <a:cubicBezTo>
                      <a:pt x="116396" y="106502"/>
                      <a:pt x="140779" y="81642"/>
                      <a:pt x="142494" y="53162"/>
                    </a:cubicBezTo>
                    <a:cubicBezTo>
                      <a:pt x="144208" y="25254"/>
                      <a:pt x="123444" y="-654"/>
                      <a:pt x="94488" y="13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4" name="Полилиния: фигура 243">
                <a:extLst>
                  <a:ext uri="{FF2B5EF4-FFF2-40B4-BE49-F238E27FC236}">
                    <a16:creationId xmlns:a16="http://schemas.microsoft.com/office/drawing/2014/main" id="{EA83978E-2E10-458F-9628-189B691F9B04}"/>
                  </a:ext>
                </a:extLst>
              </p:cNvPr>
              <p:cNvSpPr/>
              <p:nvPr/>
            </p:nvSpPr>
            <p:spPr>
              <a:xfrm>
                <a:off x="3752700" y="5114768"/>
                <a:ext cx="133340" cy="118014"/>
              </a:xfrm>
              <a:custGeom>
                <a:avLst/>
                <a:gdLst>
                  <a:gd name="connsiteX0" fmla="*/ 43329 w 133340"/>
                  <a:gd name="connsiteY0" fmla="*/ 0 h 118014"/>
                  <a:gd name="connsiteX1" fmla="*/ 22184 w 133340"/>
                  <a:gd name="connsiteY1" fmla="*/ 75248 h 118014"/>
                  <a:gd name="connsiteX2" fmla="*/ 132579 w 133340"/>
                  <a:gd name="connsiteY2" fmla="*/ 118015 h 118014"/>
                  <a:gd name="connsiteX3" fmla="*/ 133340 w 133340"/>
                  <a:gd name="connsiteY3" fmla="*/ 108585 h 118014"/>
                  <a:gd name="connsiteX4" fmla="*/ 43329 w 133340"/>
                  <a:gd name="connsiteY4" fmla="*/ 0 h 118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40" h="118014">
                    <a:moveTo>
                      <a:pt x="43329" y="0"/>
                    </a:moveTo>
                    <a:cubicBezTo>
                      <a:pt x="-2962" y="191"/>
                      <a:pt x="-15535" y="41529"/>
                      <a:pt x="22184" y="75248"/>
                    </a:cubicBezTo>
                    <a:cubicBezTo>
                      <a:pt x="54188" y="103823"/>
                      <a:pt x="114767" y="115158"/>
                      <a:pt x="132579" y="118015"/>
                    </a:cubicBezTo>
                    <a:cubicBezTo>
                      <a:pt x="132769" y="114776"/>
                      <a:pt x="133055" y="111728"/>
                      <a:pt x="133340" y="108585"/>
                    </a:cubicBezTo>
                    <a:cubicBezTo>
                      <a:pt x="120482" y="79820"/>
                      <a:pt x="81239" y="-190"/>
                      <a:pt x="43329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5" name="Полилиния: фигура 244">
                <a:extLst>
                  <a:ext uri="{FF2B5EF4-FFF2-40B4-BE49-F238E27FC236}">
                    <a16:creationId xmlns:a16="http://schemas.microsoft.com/office/drawing/2014/main" id="{5159DC9E-4B3F-4B1C-9831-81367F4DF874}"/>
                  </a:ext>
                </a:extLst>
              </p:cNvPr>
              <p:cNvSpPr/>
              <p:nvPr/>
            </p:nvSpPr>
            <p:spPr>
              <a:xfrm>
                <a:off x="4235389" y="5058946"/>
                <a:ext cx="527417" cy="722476"/>
              </a:xfrm>
              <a:custGeom>
                <a:avLst/>
                <a:gdLst>
                  <a:gd name="connsiteX0" fmla="*/ 306162 w 527417"/>
                  <a:gd name="connsiteY0" fmla="*/ 588079 h 722476"/>
                  <a:gd name="connsiteX1" fmla="*/ 294923 w 527417"/>
                  <a:gd name="connsiteY1" fmla="*/ 517594 h 722476"/>
                  <a:gd name="connsiteX2" fmla="*/ 167192 w 527417"/>
                  <a:gd name="connsiteY2" fmla="*/ 548074 h 722476"/>
                  <a:gd name="connsiteX3" fmla="*/ 133855 w 527417"/>
                  <a:gd name="connsiteY3" fmla="*/ 584364 h 722476"/>
                  <a:gd name="connsiteX4" fmla="*/ 149476 w 527417"/>
                  <a:gd name="connsiteY4" fmla="*/ 504354 h 722476"/>
                  <a:gd name="connsiteX5" fmla="*/ 179860 w 527417"/>
                  <a:gd name="connsiteY5" fmla="*/ 399865 h 722476"/>
                  <a:gd name="connsiteX6" fmla="*/ 275110 w 527417"/>
                  <a:gd name="connsiteY6" fmla="*/ 430821 h 722476"/>
                  <a:gd name="connsiteX7" fmla="*/ 353120 w 527417"/>
                  <a:gd name="connsiteY7" fmla="*/ 401580 h 722476"/>
                  <a:gd name="connsiteX8" fmla="*/ 341881 w 527417"/>
                  <a:gd name="connsiteY8" fmla="*/ 331095 h 722476"/>
                  <a:gd name="connsiteX9" fmla="*/ 214150 w 527417"/>
                  <a:gd name="connsiteY9" fmla="*/ 361575 h 722476"/>
                  <a:gd name="connsiteX10" fmla="*/ 180337 w 527417"/>
                  <a:gd name="connsiteY10" fmla="*/ 398436 h 722476"/>
                  <a:gd name="connsiteX11" fmla="*/ 182337 w 527417"/>
                  <a:gd name="connsiteY11" fmla="*/ 392340 h 722476"/>
                  <a:gd name="connsiteX12" fmla="*/ 231105 w 527417"/>
                  <a:gd name="connsiteY12" fmla="*/ 295185 h 722476"/>
                  <a:gd name="connsiteX13" fmla="*/ 263204 w 527417"/>
                  <a:gd name="connsiteY13" fmla="*/ 247084 h 722476"/>
                  <a:gd name="connsiteX14" fmla="*/ 352644 w 527417"/>
                  <a:gd name="connsiteY14" fmla="*/ 287089 h 722476"/>
                  <a:gd name="connsiteX15" fmla="*/ 433511 w 527417"/>
                  <a:gd name="connsiteY15" fmla="*/ 266706 h 722476"/>
                  <a:gd name="connsiteX16" fmla="*/ 429987 w 527417"/>
                  <a:gd name="connsiteY16" fmla="*/ 195554 h 722476"/>
                  <a:gd name="connsiteX17" fmla="*/ 299494 w 527417"/>
                  <a:gd name="connsiteY17" fmla="*/ 211651 h 722476"/>
                  <a:gd name="connsiteX18" fmla="*/ 271967 w 527417"/>
                  <a:gd name="connsiteY18" fmla="*/ 235273 h 722476"/>
                  <a:gd name="connsiteX19" fmla="*/ 287017 w 527417"/>
                  <a:gd name="connsiteY19" fmla="*/ 215080 h 722476"/>
                  <a:gd name="connsiteX20" fmla="*/ 340452 w 527417"/>
                  <a:gd name="connsiteY20" fmla="*/ 152025 h 722476"/>
                  <a:gd name="connsiteX21" fmla="*/ 366932 w 527417"/>
                  <a:gd name="connsiteY21" fmla="*/ 124116 h 722476"/>
                  <a:gd name="connsiteX22" fmla="*/ 463515 w 527417"/>
                  <a:gd name="connsiteY22" fmla="*/ 118497 h 722476"/>
                  <a:gd name="connsiteX23" fmla="*/ 525427 w 527417"/>
                  <a:gd name="connsiteY23" fmla="*/ 62775 h 722476"/>
                  <a:gd name="connsiteX24" fmla="*/ 489709 w 527417"/>
                  <a:gd name="connsiteY24" fmla="*/ 768 h 722476"/>
                  <a:gd name="connsiteX25" fmla="*/ 382172 w 527417"/>
                  <a:gd name="connsiteY25" fmla="*/ 75729 h 722476"/>
                  <a:gd name="connsiteX26" fmla="*/ 363693 w 527417"/>
                  <a:gd name="connsiteY26" fmla="*/ 124021 h 722476"/>
                  <a:gd name="connsiteX27" fmla="*/ 364550 w 527417"/>
                  <a:gd name="connsiteY27" fmla="*/ 124021 h 722476"/>
                  <a:gd name="connsiteX28" fmla="*/ 338547 w 527417"/>
                  <a:gd name="connsiteY28" fmla="*/ 150310 h 722476"/>
                  <a:gd name="connsiteX29" fmla="*/ 283588 w 527417"/>
                  <a:gd name="connsiteY29" fmla="*/ 212318 h 722476"/>
                  <a:gd name="connsiteX30" fmla="*/ 277016 w 527417"/>
                  <a:gd name="connsiteY30" fmla="*/ 220509 h 722476"/>
                  <a:gd name="connsiteX31" fmla="*/ 273777 w 527417"/>
                  <a:gd name="connsiteY31" fmla="*/ 231844 h 722476"/>
                  <a:gd name="connsiteX32" fmla="*/ 270634 w 527417"/>
                  <a:gd name="connsiteY32" fmla="*/ 228415 h 722476"/>
                  <a:gd name="connsiteX33" fmla="*/ 225581 w 527417"/>
                  <a:gd name="connsiteY33" fmla="*/ 291566 h 722476"/>
                  <a:gd name="connsiteX34" fmla="*/ 174050 w 527417"/>
                  <a:gd name="connsiteY34" fmla="*/ 388816 h 722476"/>
                  <a:gd name="connsiteX35" fmla="*/ 173574 w 527417"/>
                  <a:gd name="connsiteY35" fmla="*/ 390054 h 722476"/>
                  <a:gd name="connsiteX36" fmla="*/ 176146 w 527417"/>
                  <a:gd name="connsiteY36" fmla="*/ 342620 h 722476"/>
                  <a:gd name="connsiteX37" fmla="*/ 109757 w 527417"/>
                  <a:gd name="connsiteY37" fmla="*/ 227177 h 722476"/>
                  <a:gd name="connsiteX38" fmla="*/ 51940 w 527417"/>
                  <a:gd name="connsiteY38" fmla="*/ 267468 h 722476"/>
                  <a:gd name="connsiteX39" fmla="*/ 84991 w 527417"/>
                  <a:gd name="connsiteY39" fmla="*/ 345287 h 722476"/>
                  <a:gd name="connsiteX40" fmla="*/ 172145 w 527417"/>
                  <a:gd name="connsiteY40" fmla="*/ 394150 h 722476"/>
                  <a:gd name="connsiteX41" fmla="*/ 138332 w 527417"/>
                  <a:gd name="connsiteY41" fmla="*/ 501402 h 722476"/>
                  <a:gd name="connsiteX42" fmla="*/ 123949 w 527417"/>
                  <a:gd name="connsiteY42" fmla="*/ 565886 h 722476"/>
                  <a:gd name="connsiteX43" fmla="*/ 124806 w 527417"/>
                  <a:gd name="connsiteY43" fmla="*/ 545217 h 722476"/>
                  <a:gd name="connsiteX44" fmla="*/ 58417 w 527417"/>
                  <a:gd name="connsiteY44" fmla="*/ 429773 h 722476"/>
                  <a:gd name="connsiteX45" fmla="*/ 600 w 527417"/>
                  <a:gd name="connsiteY45" fmla="*/ 470064 h 722476"/>
                  <a:gd name="connsiteX46" fmla="*/ 33652 w 527417"/>
                  <a:gd name="connsiteY46" fmla="*/ 547884 h 722476"/>
                  <a:gd name="connsiteX47" fmla="*/ 118139 w 527417"/>
                  <a:gd name="connsiteY47" fmla="*/ 595604 h 722476"/>
                  <a:gd name="connsiteX48" fmla="*/ 113281 w 527417"/>
                  <a:gd name="connsiteY48" fmla="*/ 620559 h 722476"/>
                  <a:gd name="connsiteX49" fmla="*/ 93374 w 527417"/>
                  <a:gd name="connsiteY49" fmla="*/ 722477 h 722476"/>
                  <a:gd name="connsiteX50" fmla="*/ 110518 w 527417"/>
                  <a:gd name="connsiteY50" fmla="*/ 720096 h 722476"/>
                  <a:gd name="connsiteX51" fmla="*/ 127187 w 527417"/>
                  <a:gd name="connsiteY51" fmla="*/ 623226 h 722476"/>
                  <a:gd name="connsiteX52" fmla="*/ 133569 w 527417"/>
                  <a:gd name="connsiteY52" fmla="*/ 586460 h 722476"/>
                  <a:gd name="connsiteX53" fmla="*/ 228248 w 527417"/>
                  <a:gd name="connsiteY53" fmla="*/ 617226 h 722476"/>
                  <a:gd name="connsiteX54" fmla="*/ 306257 w 527417"/>
                  <a:gd name="connsiteY54" fmla="*/ 587984 h 722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527417" h="722476">
                    <a:moveTo>
                      <a:pt x="306162" y="588079"/>
                    </a:moveTo>
                    <a:cubicBezTo>
                      <a:pt x="322831" y="565981"/>
                      <a:pt x="319688" y="533120"/>
                      <a:pt x="294923" y="517594"/>
                    </a:cubicBezTo>
                    <a:cubicBezTo>
                      <a:pt x="260537" y="496163"/>
                      <a:pt x="194243" y="524833"/>
                      <a:pt x="167192" y="548074"/>
                    </a:cubicBezTo>
                    <a:cubicBezTo>
                      <a:pt x="165192" y="549789"/>
                      <a:pt x="139951" y="577030"/>
                      <a:pt x="133855" y="584364"/>
                    </a:cubicBezTo>
                    <a:cubicBezTo>
                      <a:pt x="138522" y="557409"/>
                      <a:pt x="143475" y="530548"/>
                      <a:pt x="149476" y="504354"/>
                    </a:cubicBezTo>
                    <a:cubicBezTo>
                      <a:pt x="157667" y="468159"/>
                      <a:pt x="167668" y="433107"/>
                      <a:pt x="179860" y="399865"/>
                    </a:cubicBezTo>
                    <a:cubicBezTo>
                      <a:pt x="182147" y="401008"/>
                      <a:pt x="244154" y="430440"/>
                      <a:pt x="275110" y="430821"/>
                    </a:cubicBezTo>
                    <a:cubicBezTo>
                      <a:pt x="301971" y="431202"/>
                      <a:pt x="336070" y="424154"/>
                      <a:pt x="353120" y="401580"/>
                    </a:cubicBezTo>
                    <a:cubicBezTo>
                      <a:pt x="369884" y="379481"/>
                      <a:pt x="366646" y="346620"/>
                      <a:pt x="341881" y="331095"/>
                    </a:cubicBezTo>
                    <a:cubicBezTo>
                      <a:pt x="307495" y="309663"/>
                      <a:pt x="241201" y="338334"/>
                      <a:pt x="214150" y="361575"/>
                    </a:cubicBezTo>
                    <a:cubicBezTo>
                      <a:pt x="212055" y="363384"/>
                      <a:pt x="184909" y="392721"/>
                      <a:pt x="180337" y="398436"/>
                    </a:cubicBezTo>
                    <a:cubicBezTo>
                      <a:pt x="181099" y="396436"/>
                      <a:pt x="181575" y="394340"/>
                      <a:pt x="182337" y="392340"/>
                    </a:cubicBezTo>
                    <a:cubicBezTo>
                      <a:pt x="195767" y="357098"/>
                      <a:pt x="213293" y="324713"/>
                      <a:pt x="231105" y="295185"/>
                    </a:cubicBezTo>
                    <a:cubicBezTo>
                      <a:pt x="241487" y="278040"/>
                      <a:pt x="252250" y="262229"/>
                      <a:pt x="263204" y="247084"/>
                    </a:cubicBezTo>
                    <a:cubicBezTo>
                      <a:pt x="274158" y="253752"/>
                      <a:pt x="324831" y="283660"/>
                      <a:pt x="352644" y="287089"/>
                    </a:cubicBezTo>
                    <a:cubicBezTo>
                      <a:pt x="379314" y="290423"/>
                      <a:pt x="414080" y="287184"/>
                      <a:pt x="433511" y="266706"/>
                    </a:cubicBezTo>
                    <a:cubicBezTo>
                      <a:pt x="452561" y="246608"/>
                      <a:pt x="452942" y="213651"/>
                      <a:pt x="429987" y="195554"/>
                    </a:cubicBezTo>
                    <a:cubicBezTo>
                      <a:pt x="398078" y="170503"/>
                      <a:pt x="329022" y="191648"/>
                      <a:pt x="299494" y="211651"/>
                    </a:cubicBezTo>
                    <a:cubicBezTo>
                      <a:pt x="297875" y="212699"/>
                      <a:pt x="282826" y="225653"/>
                      <a:pt x="271967" y="235273"/>
                    </a:cubicBezTo>
                    <a:cubicBezTo>
                      <a:pt x="277016" y="228510"/>
                      <a:pt x="282064" y="221462"/>
                      <a:pt x="287017" y="215080"/>
                    </a:cubicBezTo>
                    <a:cubicBezTo>
                      <a:pt x="305495" y="191077"/>
                      <a:pt x="323974" y="170313"/>
                      <a:pt x="340452" y="152025"/>
                    </a:cubicBezTo>
                    <a:cubicBezTo>
                      <a:pt x="349882" y="141738"/>
                      <a:pt x="358645" y="132594"/>
                      <a:pt x="366932" y="124116"/>
                    </a:cubicBezTo>
                    <a:cubicBezTo>
                      <a:pt x="381028" y="125069"/>
                      <a:pt x="437893" y="128117"/>
                      <a:pt x="463515" y="118497"/>
                    </a:cubicBezTo>
                    <a:cubicBezTo>
                      <a:pt x="488470" y="109067"/>
                      <a:pt x="517617" y="90112"/>
                      <a:pt x="525427" y="62775"/>
                    </a:cubicBezTo>
                    <a:cubicBezTo>
                      <a:pt x="533048" y="36010"/>
                      <a:pt x="518284" y="6292"/>
                      <a:pt x="489709" y="768"/>
                    </a:cubicBezTo>
                    <a:cubicBezTo>
                      <a:pt x="450085" y="-6853"/>
                      <a:pt x="399031" y="44011"/>
                      <a:pt x="382172" y="75729"/>
                    </a:cubicBezTo>
                    <a:cubicBezTo>
                      <a:pt x="380743" y="78492"/>
                      <a:pt x="362931" y="123926"/>
                      <a:pt x="363693" y="124021"/>
                    </a:cubicBezTo>
                    <a:cubicBezTo>
                      <a:pt x="363693" y="124021"/>
                      <a:pt x="364360" y="124021"/>
                      <a:pt x="364550" y="124021"/>
                    </a:cubicBezTo>
                    <a:cubicBezTo>
                      <a:pt x="356454" y="132022"/>
                      <a:pt x="347786" y="140690"/>
                      <a:pt x="338547" y="150310"/>
                    </a:cubicBezTo>
                    <a:cubicBezTo>
                      <a:pt x="321592" y="168217"/>
                      <a:pt x="302733" y="188696"/>
                      <a:pt x="283588" y="212318"/>
                    </a:cubicBezTo>
                    <a:cubicBezTo>
                      <a:pt x="281397" y="214985"/>
                      <a:pt x="279206" y="217842"/>
                      <a:pt x="277016" y="220509"/>
                    </a:cubicBezTo>
                    <a:cubicBezTo>
                      <a:pt x="275110" y="227653"/>
                      <a:pt x="273777" y="231844"/>
                      <a:pt x="273777" y="231844"/>
                    </a:cubicBezTo>
                    <a:cubicBezTo>
                      <a:pt x="273777" y="231844"/>
                      <a:pt x="272539" y="230606"/>
                      <a:pt x="270634" y="228415"/>
                    </a:cubicBezTo>
                    <a:cubicBezTo>
                      <a:pt x="255489" y="247655"/>
                      <a:pt x="240058" y="268611"/>
                      <a:pt x="225581" y="291566"/>
                    </a:cubicBezTo>
                    <a:cubicBezTo>
                      <a:pt x="206816" y="321189"/>
                      <a:pt x="188528" y="353288"/>
                      <a:pt x="174050" y="388816"/>
                    </a:cubicBezTo>
                    <a:cubicBezTo>
                      <a:pt x="173860" y="389197"/>
                      <a:pt x="173765" y="389673"/>
                      <a:pt x="173574" y="390054"/>
                    </a:cubicBezTo>
                    <a:cubicBezTo>
                      <a:pt x="174622" y="378243"/>
                      <a:pt x="176336" y="345192"/>
                      <a:pt x="176146" y="342620"/>
                    </a:cubicBezTo>
                    <a:cubicBezTo>
                      <a:pt x="173955" y="306520"/>
                      <a:pt x="148714" y="237845"/>
                      <a:pt x="109757" y="227177"/>
                    </a:cubicBezTo>
                    <a:cubicBezTo>
                      <a:pt x="81658" y="219557"/>
                      <a:pt x="56131" y="239845"/>
                      <a:pt x="51940" y="267468"/>
                    </a:cubicBezTo>
                    <a:cubicBezTo>
                      <a:pt x="47749" y="295662"/>
                      <a:pt x="66227" y="325665"/>
                      <a:pt x="84991" y="345287"/>
                    </a:cubicBezTo>
                    <a:cubicBezTo>
                      <a:pt x="106137" y="367385"/>
                      <a:pt x="167288" y="392150"/>
                      <a:pt x="172145" y="394150"/>
                    </a:cubicBezTo>
                    <a:cubicBezTo>
                      <a:pt x="158620" y="428154"/>
                      <a:pt x="147571" y="464254"/>
                      <a:pt x="138332" y="501402"/>
                    </a:cubicBezTo>
                    <a:cubicBezTo>
                      <a:pt x="132998" y="522642"/>
                      <a:pt x="128330" y="544169"/>
                      <a:pt x="123949" y="565886"/>
                    </a:cubicBezTo>
                    <a:cubicBezTo>
                      <a:pt x="124520" y="555694"/>
                      <a:pt x="124901" y="546550"/>
                      <a:pt x="124806" y="545217"/>
                    </a:cubicBezTo>
                    <a:cubicBezTo>
                      <a:pt x="122615" y="509117"/>
                      <a:pt x="97374" y="440442"/>
                      <a:pt x="58417" y="429773"/>
                    </a:cubicBezTo>
                    <a:cubicBezTo>
                      <a:pt x="30318" y="422154"/>
                      <a:pt x="4791" y="442442"/>
                      <a:pt x="600" y="470064"/>
                    </a:cubicBezTo>
                    <a:cubicBezTo>
                      <a:pt x="-3591" y="498258"/>
                      <a:pt x="14888" y="528262"/>
                      <a:pt x="33652" y="547884"/>
                    </a:cubicBezTo>
                    <a:cubicBezTo>
                      <a:pt x="52702" y="567791"/>
                      <a:pt x="104423" y="589889"/>
                      <a:pt x="118139" y="595604"/>
                    </a:cubicBezTo>
                    <a:cubicBezTo>
                      <a:pt x="116519" y="603986"/>
                      <a:pt x="114805" y="612273"/>
                      <a:pt x="113281" y="620559"/>
                    </a:cubicBezTo>
                    <a:cubicBezTo>
                      <a:pt x="106804" y="654754"/>
                      <a:pt x="100327" y="688854"/>
                      <a:pt x="93374" y="722477"/>
                    </a:cubicBezTo>
                    <a:cubicBezTo>
                      <a:pt x="99089" y="721715"/>
                      <a:pt x="104803" y="720953"/>
                      <a:pt x="110518" y="720096"/>
                    </a:cubicBezTo>
                    <a:cubicBezTo>
                      <a:pt x="116329" y="687996"/>
                      <a:pt x="121758" y="655611"/>
                      <a:pt x="127187" y="623226"/>
                    </a:cubicBezTo>
                    <a:cubicBezTo>
                      <a:pt x="129188" y="610939"/>
                      <a:pt x="131378" y="598652"/>
                      <a:pt x="133569" y="586460"/>
                    </a:cubicBezTo>
                    <a:cubicBezTo>
                      <a:pt x="138617" y="588841"/>
                      <a:pt x="198053" y="616749"/>
                      <a:pt x="228248" y="617226"/>
                    </a:cubicBezTo>
                    <a:cubicBezTo>
                      <a:pt x="255108" y="617606"/>
                      <a:pt x="289208" y="610558"/>
                      <a:pt x="306257" y="587984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6" name="Полилиния: фигура 245">
                <a:extLst>
                  <a:ext uri="{FF2B5EF4-FFF2-40B4-BE49-F238E27FC236}">
                    <a16:creationId xmlns:a16="http://schemas.microsoft.com/office/drawing/2014/main" id="{9EC86D6E-BEA4-4E05-B3B5-E3D063E4AFA5}"/>
                  </a:ext>
                </a:extLst>
              </p:cNvPr>
              <p:cNvSpPr/>
              <p:nvPr/>
            </p:nvSpPr>
            <p:spPr>
              <a:xfrm>
                <a:off x="4445744" y="5126523"/>
                <a:ext cx="80605" cy="160838"/>
              </a:xfrm>
              <a:custGeom>
                <a:avLst/>
                <a:gdLst>
                  <a:gd name="connsiteX0" fmla="*/ 65042 w 80605"/>
                  <a:gd name="connsiteY0" fmla="*/ 12534 h 160838"/>
                  <a:gd name="connsiteX1" fmla="*/ 1129 w 80605"/>
                  <a:gd name="connsiteY1" fmla="*/ 57587 h 160838"/>
                  <a:gd name="connsiteX2" fmla="*/ 60089 w 80605"/>
                  <a:gd name="connsiteY2" fmla="*/ 160838 h 160838"/>
                  <a:gd name="connsiteX3" fmla="*/ 66471 w 80605"/>
                  <a:gd name="connsiteY3" fmla="*/ 152932 h 160838"/>
                  <a:gd name="connsiteX4" fmla="*/ 65042 w 80605"/>
                  <a:gd name="connsiteY4" fmla="*/ 12534 h 160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605" h="160838">
                    <a:moveTo>
                      <a:pt x="65042" y="12534"/>
                    </a:moveTo>
                    <a:cubicBezTo>
                      <a:pt x="29037" y="-16517"/>
                      <a:pt x="-6872" y="7581"/>
                      <a:pt x="1129" y="57587"/>
                    </a:cubicBezTo>
                    <a:cubicBezTo>
                      <a:pt x="7987" y="100354"/>
                      <a:pt x="48564" y="148075"/>
                      <a:pt x="60089" y="160838"/>
                    </a:cubicBezTo>
                    <a:cubicBezTo>
                      <a:pt x="62184" y="158171"/>
                      <a:pt x="64280" y="155504"/>
                      <a:pt x="66471" y="152932"/>
                    </a:cubicBezTo>
                    <a:cubicBezTo>
                      <a:pt x="74757" y="121881"/>
                      <a:pt x="94379" y="36251"/>
                      <a:pt x="65042" y="12534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7" name="Полилиния: фигура 246">
                <a:extLst>
                  <a:ext uri="{FF2B5EF4-FFF2-40B4-BE49-F238E27FC236}">
                    <a16:creationId xmlns:a16="http://schemas.microsoft.com/office/drawing/2014/main" id="{05BF98CF-02DE-45BD-A923-37CC9EF4067D}"/>
                  </a:ext>
                </a:extLst>
              </p:cNvPr>
              <p:cNvSpPr/>
              <p:nvPr/>
            </p:nvSpPr>
            <p:spPr>
              <a:xfrm>
                <a:off x="3886136" y="4911544"/>
                <a:ext cx="121669" cy="322000"/>
              </a:xfrm>
              <a:custGeom>
                <a:avLst/>
                <a:gdLst>
                  <a:gd name="connsiteX0" fmla="*/ 5715 w 121669"/>
                  <a:gd name="connsiteY0" fmla="*/ 296569 h 322000"/>
                  <a:gd name="connsiteX1" fmla="*/ 15240 w 121669"/>
                  <a:gd name="connsiteY1" fmla="*/ 213797 h 322000"/>
                  <a:gd name="connsiteX2" fmla="*/ 21812 w 121669"/>
                  <a:gd name="connsiteY2" fmla="*/ 175602 h 322000"/>
                  <a:gd name="connsiteX3" fmla="*/ 98488 w 121669"/>
                  <a:gd name="connsiteY3" fmla="*/ 117213 h 322000"/>
                  <a:gd name="connsiteX4" fmla="*/ 118967 w 121669"/>
                  <a:gd name="connsiteY4" fmla="*/ 35965 h 322000"/>
                  <a:gd name="connsiteX5" fmla="*/ 55436 w 121669"/>
                  <a:gd name="connsiteY5" fmla="*/ 3485 h 322000"/>
                  <a:gd name="connsiteX6" fmla="*/ 7715 w 121669"/>
                  <a:gd name="connsiteY6" fmla="*/ 126262 h 322000"/>
                  <a:gd name="connsiteX7" fmla="*/ 18955 w 121669"/>
                  <a:gd name="connsiteY7" fmla="*/ 177221 h 322000"/>
                  <a:gd name="connsiteX8" fmla="*/ 19717 w 121669"/>
                  <a:gd name="connsiteY8" fmla="*/ 176840 h 322000"/>
                  <a:gd name="connsiteX9" fmla="*/ 12668 w 121669"/>
                  <a:gd name="connsiteY9" fmla="*/ 213415 h 322000"/>
                  <a:gd name="connsiteX10" fmla="*/ 1333 w 121669"/>
                  <a:gd name="connsiteY10" fmla="*/ 296188 h 322000"/>
                  <a:gd name="connsiteX11" fmla="*/ 0 w 121669"/>
                  <a:gd name="connsiteY11" fmla="*/ 311809 h 322000"/>
                  <a:gd name="connsiteX12" fmla="*/ 4381 w 121669"/>
                  <a:gd name="connsiteY12" fmla="*/ 322001 h 322000"/>
                  <a:gd name="connsiteX13" fmla="*/ 5715 w 121669"/>
                  <a:gd name="connsiteY13" fmla="*/ 296664 h 32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1669" h="322000">
                    <a:moveTo>
                      <a:pt x="5715" y="296569"/>
                    </a:moveTo>
                    <a:cubicBezTo>
                      <a:pt x="7811" y="266089"/>
                      <a:pt x="11621" y="238371"/>
                      <a:pt x="15240" y="213797"/>
                    </a:cubicBezTo>
                    <a:cubicBezTo>
                      <a:pt x="17431" y="199890"/>
                      <a:pt x="19621" y="187317"/>
                      <a:pt x="21812" y="175602"/>
                    </a:cubicBezTo>
                    <a:cubicBezTo>
                      <a:pt x="34004" y="168553"/>
                      <a:pt x="82582" y="139597"/>
                      <a:pt x="98488" y="117213"/>
                    </a:cubicBezTo>
                    <a:cubicBezTo>
                      <a:pt x="114014" y="95401"/>
                      <a:pt x="127635" y="63302"/>
                      <a:pt x="118967" y="35965"/>
                    </a:cubicBezTo>
                    <a:cubicBezTo>
                      <a:pt x="110490" y="9200"/>
                      <a:pt x="82010" y="-7660"/>
                      <a:pt x="55436" y="3485"/>
                    </a:cubicBezTo>
                    <a:cubicBezTo>
                      <a:pt x="18574" y="19010"/>
                      <a:pt x="4286" y="90257"/>
                      <a:pt x="7715" y="126262"/>
                    </a:cubicBezTo>
                    <a:cubicBezTo>
                      <a:pt x="8001" y="129405"/>
                      <a:pt x="18288" y="177506"/>
                      <a:pt x="18955" y="177221"/>
                    </a:cubicBezTo>
                    <a:cubicBezTo>
                      <a:pt x="18955" y="177221"/>
                      <a:pt x="19526" y="176840"/>
                      <a:pt x="19717" y="176840"/>
                    </a:cubicBezTo>
                    <a:cubicBezTo>
                      <a:pt x="17336" y="188079"/>
                      <a:pt x="14954" y="200176"/>
                      <a:pt x="12668" y="213415"/>
                    </a:cubicBezTo>
                    <a:cubicBezTo>
                      <a:pt x="8572" y="237895"/>
                      <a:pt x="4096" y="265613"/>
                      <a:pt x="1333" y="296188"/>
                    </a:cubicBezTo>
                    <a:cubicBezTo>
                      <a:pt x="857" y="301236"/>
                      <a:pt x="476" y="306570"/>
                      <a:pt x="0" y="311809"/>
                    </a:cubicBezTo>
                    <a:cubicBezTo>
                      <a:pt x="2857" y="318095"/>
                      <a:pt x="4381" y="322001"/>
                      <a:pt x="4381" y="322001"/>
                    </a:cubicBezTo>
                    <a:cubicBezTo>
                      <a:pt x="4858" y="313523"/>
                      <a:pt x="5144" y="304760"/>
                      <a:pt x="5715" y="296664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8" name="Полилиния: фигура 247">
                <a:extLst>
                  <a:ext uri="{FF2B5EF4-FFF2-40B4-BE49-F238E27FC236}">
                    <a16:creationId xmlns:a16="http://schemas.microsoft.com/office/drawing/2014/main" id="{069AA3C4-9296-4751-AD22-3AD2FDA377C3}"/>
                  </a:ext>
                </a:extLst>
              </p:cNvPr>
              <p:cNvSpPr/>
              <p:nvPr/>
            </p:nvSpPr>
            <p:spPr>
              <a:xfrm>
                <a:off x="3873849" y="5720890"/>
                <a:ext cx="147637" cy="61961"/>
              </a:xfrm>
              <a:custGeom>
                <a:avLst/>
                <a:gdLst>
                  <a:gd name="connsiteX0" fmla="*/ 29909 w 147637"/>
                  <a:gd name="connsiteY0" fmla="*/ 2240 h 61961"/>
                  <a:gd name="connsiteX1" fmla="*/ 0 w 147637"/>
                  <a:gd name="connsiteY1" fmla="*/ 39292 h 61961"/>
                  <a:gd name="connsiteX2" fmla="*/ 147638 w 147637"/>
                  <a:gd name="connsiteY2" fmla="*/ 61962 h 61961"/>
                  <a:gd name="connsiteX3" fmla="*/ 29909 w 147637"/>
                  <a:gd name="connsiteY3" fmla="*/ 2240 h 61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637" h="61961">
                    <a:moveTo>
                      <a:pt x="29909" y="2240"/>
                    </a:moveTo>
                    <a:cubicBezTo>
                      <a:pt x="12573" y="8050"/>
                      <a:pt x="2191" y="22814"/>
                      <a:pt x="0" y="39292"/>
                    </a:cubicBezTo>
                    <a:cubicBezTo>
                      <a:pt x="49149" y="49008"/>
                      <a:pt x="98488" y="56628"/>
                      <a:pt x="147638" y="61962"/>
                    </a:cubicBezTo>
                    <a:cubicBezTo>
                      <a:pt x="125635" y="32815"/>
                      <a:pt x="67723" y="-10333"/>
                      <a:pt x="29909" y="2240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9" name="Полилиния: фигура 248">
                <a:extLst>
                  <a:ext uri="{FF2B5EF4-FFF2-40B4-BE49-F238E27FC236}">
                    <a16:creationId xmlns:a16="http://schemas.microsoft.com/office/drawing/2014/main" id="{9C9D0655-01F2-4DB6-BCCE-8B68590E2AFD}"/>
                  </a:ext>
                </a:extLst>
              </p:cNvPr>
              <p:cNvSpPr/>
              <p:nvPr/>
            </p:nvSpPr>
            <p:spPr>
              <a:xfrm>
                <a:off x="4191280" y="5704177"/>
                <a:ext cx="117289" cy="86961"/>
              </a:xfrm>
              <a:custGeom>
                <a:avLst/>
                <a:gdLst>
                  <a:gd name="connsiteX0" fmla="*/ 58425 w 117289"/>
                  <a:gd name="connsiteY0" fmla="*/ 1617 h 86961"/>
                  <a:gd name="connsiteX1" fmla="*/ 608 w 117289"/>
                  <a:gd name="connsiteY1" fmla="*/ 41908 h 86961"/>
                  <a:gd name="connsiteX2" fmla="*/ 10038 w 117289"/>
                  <a:gd name="connsiteY2" fmla="*/ 86961 h 86961"/>
                  <a:gd name="connsiteX3" fmla="*/ 117289 w 117289"/>
                  <a:gd name="connsiteY3" fmla="*/ 79817 h 86961"/>
                  <a:gd name="connsiteX4" fmla="*/ 58425 w 117289"/>
                  <a:gd name="connsiteY4" fmla="*/ 1712 h 86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289" h="86961">
                    <a:moveTo>
                      <a:pt x="58425" y="1617"/>
                    </a:moveTo>
                    <a:cubicBezTo>
                      <a:pt x="30326" y="-6003"/>
                      <a:pt x="4799" y="14286"/>
                      <a:pt x="608" y="41908"/>
                    </a:cubicBezTo>
                    <a:cubicBezTo>
                      <a:pt x="-1678" y="57053"/>
                      <a:pt x="2704" y="72674"/>
                      <a:pt x="10038" y="86961"/>
                    </a:cubicBezTo>
                    <a:cubicBezTo>
                      <a:pt x="46042" y="86199"/>
                      <a:pt x="81761" y="83818"/>
                      <a:pt x="117289" y="79817"/>
                    </a:cubicBezTo>
                    <a:cubicBezTo>
                      <a:pt x="106812" y="46194"/>
                      <a:pt x="86047" y="9237"/>
                      <a:pt x="58425" y="1712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0" name="Полилиния: фигура 249">
                <a:extLst>
                  <a:ext uri="{FF2B5EF4-FFF2-40B4-BE49-F238E27FC236}">
                    <a16:creationId xmlns:a16="http://schemas.microsoft.com/office/drawing/2014/main" id="{EFB949CA-EB55-4E14-8320-641EEAB19F9B}"/>
                  </a:ext>
                </a:extLst>
              </p:cNvPr>
              <p:cNvSpPr/>
              <p:nvPr/>
            </p:nvSpPr>
            <p:spPr>
              <a:xfrm>
                <a:off x="3721572" y="5112332"/>
                <a:ext cx="390881" cy="673091"/>
              </a:xfrm>
              <a:custGeom>
                <a:avLst/>
                <a:gdLst>
                  <a:gd name="connsiteX0" fmla="*/ 310963 w 390881"/>
                  <a:gd name="connsiteY0" fmla="*/ 641088 h 673091"/>
                  <a:gd name="connsiteX1" fmla="*/ 262291 w 390881"/>
                  <a:gd name="connsiteY1" fmla="*/ 528502 h 673091"/>
                  <a:gd name="connsiteX2" fmla="*/ 247336 w 390881"/>
                  <a:gd name="connsiteY2" fmla="*/ 494021 h 673091"/>
                  <a:gd name="connsiteX3" fmla="*/ 342396 w 390881"/>
                  <a:gd name="connsiteY3" fmla="*/ 467352 h 673091"/>
                  <a:gd name="connsiteX4" fmla="*/ 390783 w 390881"/>
                  <a:gd name="connsiteY4" fmla="*/ 399438 h 673091"/>
                  <a:gd name="connsiteX5" fmla="*/ 342777 w 390881"/>
                  <a:gd name="connsiteY5" fmla="*/ 346289 h 673091"/>
                  <a:gd name="connsiteX6" fmla="*/ 254004 w 390881"/>
                  <a:gd name="connsiteY6" fmla="*/ 442872 h 673091"/>
                  <a:gd name="connsiteX7" fmla="*/ 246384 w 390881"/>
                  <a:gd name="connsiteY7" fmla="*/ 491926 h 673091"/>
                  <a:gd name="connsiteX8" fmla="*/ 215332 w 390881"/>
                  <a:gd name="connsiteY8" fmla="*/ 415821 h 673091"/>
                  <a:gd name="connsiteX9" fmla="*/ 183043 w 390881"/>
                  <a:gd name="connsiteY9" fmla="*/ 310951 h 673091"/>
                  <a:gd name="connsiteX10" fmla="*/ 278674 w 390881"/>
                  <a:gd name="connsiteY10" fmla="*/ 284186 h 673091"/>
                  <a:gd name="connsiteX11" fmla="*/ 327061 w 390881"/>
                  <a:gd name="connsiteY11" fmla="*/ 216272 h 673091"/>
                  <a:gd name="connsiteX12" fmla="*/ 279055 w 390881"/>
                  <a:gd name="connsiteY12" fmla="*/ 163123 h 673091"/>
                  <a:gd name="connsiteX13" fmla="*/ 190282 w 390881"/>
                  <a:gd name="connsiteY13" fmla="*/ 259706 h 673091"/>
                  <a:gd name="connsiteX14" fmla="*/ 182566 w 390881"/>
                  <a:gd name="connsiteY14" fmla="*/ 309522 h 673091"/>
                  <a:gd name="connsiteX15" fmla="*/ 180947 w 390881"/>
                  <a:gd name="connsiteY15" fmla="*/ 303331 h 673091"/>
                  <a:gd name="connsiteX16" fmla="*/ 167898 w 390881"/>
                  <a:gd name="connsiteY16" fmla="*/ 194365 h 673091"/>
                  <a:gd name="connsiteX17" fmla="*/ 167993 w 390881"/>
                  <a:gd name="connsiteY17" fmla="*/ 136072 h 673091"/>
                  <a:gd name="connsiteX18" fmla="*/ 263815 w 390881"/>
                  <a:gd name="connsiteY18" fmla="*/ 120165 h 673091"/>
                  <a:gd name="connsiteX19" fmla="*/ 319441 w 390881"/>
                  <a:gd name="connsiteY19" fmla="*/ 58158 h 673091"/>
                  <a:gd name="connsiteX20" fmla="*/ 277531 w 390881"/>
                  <a:gd name="connsiteY20" fmla="*/ 150 h 673091"/>
                  <a:gd name="connsiteX21" fmla="*/ 178661 w 390881"/>
                  <a:gd name="connsiteY21" fmla="*/ 86161 h 673091"/>
                  <a:gd name="connsiteX22" fmla="*/ 168850 w 390881"/>
                  <a:gd name="connsiteY22" fmla="*/ 121308 h 673091"/>
                  <a:gd name="connsiteX23" fmla="*/ 163707 w 390881"/>
                  <a:gd name="connsiteY23" fmla="*/ 120546 h 673091"/>
                  <a:gd name="connsiteX24" fmla="*/ 161421 w 390881"/>
                  <a:gd name="connsiteY24" fmla="*/ 194460 h 673091"/>
                  <a:gd name="connsiteX25" fmla="*/ 172279 w 390881"/>
                  <a:gd name="connsiteY25" fmla="*/ 305046 h 673091"/>
                  <a:gd name="connsiteX26" fmla="*/ 172565 w 390881"/>
                  <a:gd name="connsiteY26" fmla="*/ 306379 h 673091"/>
                  <a:gd name="connsiteX27" fmla="*/ 148657 w 390881"/>
                  <a:gd name="connsiteY27" fmla="*/ 265040 h 673091"/>
                  <a:gd name="connsiteX28" fmla="*/ 30452 w 390881"/>
                  <a:gd name="connsiteY28" fmla="*/ 204652 h 673091"/>
                  <a:gd name="connsiteX29" fmla="*/ 4830 w 390881"/>
                  <a:gd name="connsiteY29" fmla="*/ 270660 h 673091"/>
                  <a:gd name="connsiteX30" fmla="*/ 74839 w 390881"/>
                  <a:gd name="connsiteY30" fmla="*/ 317904 h 673091"/>
                  <a:gd name="connsiteX31" fmla="*/ 173613 w 390881"/>
                  <a:gd name="connsiteY31" fmla="*/ 310665 h 673091"/>
                  <a:gd name="connsiteX32" fmla="*/ 204569 w 390881"/>
                  <a:gd name="connsiteY32" fmla="*/ 419822 h 673091"/>
                  <a:gd name="connsiteX33" fmla="*/ 228096 w 390881"/>
                  <a:gd name="connsiteY33" fmla="*/ 482115 h 673091"/>
                  <a:gd name="connsiteX34" fmla="*/ 217523 w 390881"/>
                  <a:gd name="connsiteY34" fmla="*/ 464208 h 673091"/>
                  <a:gd name="connsiteX35" fmla="*/ 99318 w 390881"/>
                  <a:gd name="connsiteY35" fmla="*/ 403820 h 673091"/>
                  <a:gd name="connsiteX36" fmla="*/ 73696 w 390881"/>
                  <a:gd name="connsiteY36" fmla="*/ 469828 h 673091"/>
                  <a:gd name="connsiteX37" fmla="*/ 143704 w 390881"/>
                  <a:gd name="connsiteY37" fmla="*/ 517072 h 673091"/>
                  <a:gd name="connsiteX38" fmla="*/ 239716 w 390881"/>
                  <a:gd name="connsiteY38" fmla="*/ 510404 h 673091"/>
                  <a:gd name="connsiteX39" fmla="*/ 249432 w 390881"/>
                  <a:gd name="connsiteY39" fmla="*/ 534122 h 673091"/>
                  <a:gd name="connsiteX40" fmla="*/ 295438 w 390881"/>
                  <a:gd name="connsiteY40" fmla="*/ 647279 h 673091"/>
                  <a:gd name="connsiteX41" fmla="*/ 304201 w 390881"/>
                  <a:gd name="connsiteY41" fmla="*/ 671187 h 673091"/>
                  <a:gd name="connsiteX42" fmla="*/ 323251 w 390881"/>
                  <a:gd name="connsiteY42" fmla="*/ 673092 h 673091"/>
                  <a:gd name="connsiteX43" fmla="*/ 310963 w 390881"/>
                  <a:gd name="connsiteY43" fmla="*/ 641278 h 673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90881" h="673091">
                    <a:moveTo>
                      <a:pt x="310963" y="641088"/>
                    </a:moveTo>
                    <a:cubicBezTo>
                      <a:pt x="295628" y="603559"/>
                      <a:pt x="278864" y="566030"/>
                      <a:pt x="262291" y="528502"/>
                    </a:cubicBezTo>
                    <a:cubicBezTo>
                      <a:pt x="257243" y="516977"/>
                      <a:pt x="252289" y="505547"/>
                      <a:pt x="247336" y="494021"/>
                    </a:cubicBezTo>
                    <a:cubicBezTo>
                      <a:pt x="252766" y="493260"/>
                      <a:pt x="317250" y="483735"/>
                      <a:pt x="342396" y="467352"/>
                    </a:cubicBezTo>
                    <a:cubicBezTo>
                      <a:pt x="364780" y="452778"/>
                      <a:pt x="389069" y="427918"/>
                      <a:pt x="390783" y="399438"/>
                    </a:cubicBezTo>
                    <a:cubicBezTo>
                      <a:pt x="392497" y="371530"/>
                      <a:pt x="371733" y="345622"/>
                      <a:pt x="342777" y="346289"/>
                    </a:cubicBezTo>
                    <a:cubicBezTo>
                      <a:pt x="302581" y="347337"/>
                      <a:pt x="263624" y="408201"/>
                      <a:pt x="254004" y="442872"/>
                    </a:cubicBezTo>
                    <a:cubicBezTo>
                      <a:pt x="253242" y="445444"/>
                      <a:pt x="247432" y="482401"/>
                      <a:pt x="246384" y="491926"/>
                    </a:cubicBezTo>
                    <a:cubicBezTo>
                      <a:pt x="235430" y="466589"/>
                      <a:pt x="224857" y="441253"/>
                      <a:pt x="215332" y="415821"/>
                    </a:cubicBezTo>
                    <a:cubicBezTo>
                      <a:pt x="202188" y="380769"/>
                      <a:pt x="191234" y="345717"/>
                      <a:pt x="183043" y="310951"/>
                    </a:cubicBezTo>
                    <a:cubicBezTo>
                      <a:pt x="185614" y="310570"/>
                      <a:pt x="252956" y="301045"/>
                      <a:pt x="278674" y="284186"/>
                    </a:cubicBezTo>
                    <a:cubicBezTo>
                      <a:pt x="301057" y="269612"/>
                      <a:pt x="325346" y="244752"/>
                      <a:pt x="327061" y="216272"/>
                    </a:cubicBezTo>
                    <a:cubicBezTo>
                      <a:pt x="328775" y="188364"/>
                      <a:pt x="308011" y="162456"/>
                      <a:pt x="279055" y="163123"/>
                    </a:cubicBezTo>
                    <a:cubicBezTo>
                      <a:pt x="238859" y="164171"/>
                      <a:pt x="199902" y="225036"/>
                      <a:pt x="190282" y="259706"/>
                    </a:cubicBezTo>
                    <a:cubicBezTo>
                      <a:pt x="189520" y="262469"/>
                      <a:pt x="183233" y="302188"/>
                      <a:pt x="182566" y="309522"/>
                    </a:cubicBezTo>
                    <a:cubicBezTo>
                      <a:pt x="182090" y="307427"/>
                      <a:pt x="181328" y="305331"/>
                      <a:pt x="180947" y="303331"/>
                    </a:cubicBezTo>
                    <a:cubicBezTo>
                      <a:pt x="172756" y="266184"/>
                      <a:pt x="169327" y="229131"/>
                      <a:pt x="167898" y="194365"/>
                    </a:cubicBezTo>
                    <a:cubicBezTo>
                      <a:pt x="167041" y="174172"/>
                      <a:pt x="167327" y="154836"/>
                      <a:pt x="167993" y="136072"/>
                    </a:cubicBezTo>
                    <a:cubicBezTo>
                      <a:pt x="180757" y="135596"/>
                      <a:pt x="238954" y="132738"/>
                      <a:pt x="263815" y="120165"/>
                    </a:cubicBezTo>
                    <a:cubicBezTo>
                      <a:pt x="287627" y="108164"/>
                      <a:pt x="314583" y="86161"/>
                      <a:pt x="319441" y="58158"/>
                    </a:cubicBezTo>
                    <a:cubicBezTo>
                      <a:pt x="324203" y="30726"/>
                      <a:pt x="306391" y="2627"/>
                      <a:pt x="277531" y="150"/>
                    </a:cubicBezTo>
                    <a:cubicBezTo>
                      <a:pt x="237430" y="-3279"/>
                      <a:pt x="191996" y="52823"/>
                      <a:pt x="178661" y="86161"/>
                    </a:cubicBezTo>
                    <a:cubicBezTo>
                      <a:pt x="177899" y="87971"/>
                      <a:pt x="172565" y="107211"/>
                      <a:pt x="168850" y="121308"/>
                    </a:cubicBezTo>
                    <a:cubicBezTo>
                      <a:pt x="168850" y="121308"/>
                      <a:pt x="166850" y="121022"/>
                      <a:pt x="163707" y="120546"/>
                    </a:cubicBezTo>
                    <a:cubicBezTo>
                      <a:pt x="161993" y="143883"/>
                      <a:pt x="160849" y="168647"/>
                      <a:pt x="161421" y="194460"/>
                    </a:cubicBezTo>
                    <a:cubicBezTo>
                      <a:pt x="162183" y="229798"/>
                      <a:pt x="164660" y="266946"/>
                      <a:pt x="172279" y="305046"/>
                    </a:cubicBezTo>
                    <a:cubicBezTo>
                      <a:pt x="172279" y="305522"/>
                      <a:pt x="172470" y="305903"/>
                      <a:pt x="172565" y="306379"/>
                    </a:cubicBezTo>
                    <a:cubicBezTo>
                      <a:pt x="166945" y="295902"/>
                      <a:pt x="150181" y="267041"/>
                      <a:pt x="148657" y="265040"/>
                    </a:cubicBezTo>
                    <a:cubicBezTo>
                      <a:pt x="127036" y="235894"/>
                      <a:pt x="68457" y="191984"/>
                      <a:pt x="30452" y="204652"/>
                    </a:cubicBezTo>
                    <a:cubicBezTo>
                      <a:pt x="3115" y="213796"/>
                      <a:pt x="-6886" y="245133"/>
                      <a:pt x="4830" y="270660"/>
                    </a:cubicBezTo>
                    <a:cubicBezTo>
                      <a:pt x="16736" y="296759"/>
                      <a:pt x="48645" y="311808"/>
                      <a:pt x="74839" y="317904"/>
                    </a:cubicBezTo>
                    <a:cubicBezTo>
                      <a:pt x="104366" y="324762"/>
                      <a:pt x="168469" y="311713"/>
                      <a:pt x="173613" y="310665"/>
                    </a:cubicBezTo>
                    <a:cubicBezTo>
                      <a:pt x="181138" y="346860"/>
                      <a:pt x="191806" y="383341"/>
                      <a:pt x="204569" y="419822"/>
                    </a:cubicBezTo>
                    <a:cubicBezTo>
                      <a:pt x="211808" y="440681"/>
                      <a:pt x="219809" y="461446"/>
                      <a:pt x="228096" y="482115"/>
                    </a:cubicBezTo>
                    <a:cubicBezTo>
                      <a:pt x="222952" y="473162"/>
                      <a:pt x="218285" y="465256"/>
                      <a:pt x="217523" y="464208"/>
                    </a:cubicBezTo>
                    <a:cubicBezTo>
                      <a:pt x="195902" y="435062"/>
                      <a:pt x="137323" y="391152"/>
                      <a:pt x="99318" y="403820"/>
                    </a:cubicBezTo>
                    <a:cubicBezTo>
                      <a:pt x="71981" y="412964"/>
                      <a:pt x="61980" y="444301"/>
                      <a:pt x="73696" y="469828"/>
                    </a:cubicBezTo>
                    <a:cubicBezTo>
                      <a:pt x="85602" y="495927"/>
                      <a:pt x="117511" y="510976"/>
                      <a:pt x="143704" y="517072"/>
                    </a:cubicBezTo>
                    <a:cubicBezTo>
                      <a:pt x="170279" y="523263"/>
                      <a:pt x="225143" y="513262"/>
                      <a:pt x="239716" y="510404"/>
                    </a:cubicBezTo>
                    <a:cubicBezTo>
                      <a:pt x="242955" y="518310"/>
                      <a:pt x="246098" y="526216"/>
                      <a:pt x="249432" y="534122"/>
                    </a:cubicBezTo>
                    <a:cubicBezTo>
                      <a:pt x="265148" y="572031"/>
                      <a:pt x="281055" y="609846"/>
                      <a:pt x="295438" y="647279"/>
                    </a:cubicBezTo>
                    <a:cubicBezTo>
                      <a:pt x="298486" y="655280"/>
                      <a:pt x="301343" y="663281"/>
                      <a:pt x="304201" y="671187"/>
                    </a:cubicBezTo>
                    <a:cubicBezTo>
                      <a:pt x="310582" y="671853"/>
                      <a:pt x="316964" y="672520"/>
                      <a:pt x="323251" y="673092"/>
                    </a:cubicBezTo>
                    <a:cubicBezTo>
                      <a:pt x="319250" y="662519"/>
                      <a:pt x="315345" y="651851"/>
                      <a:pt x="310963" y="641278"/>
                    </a:cubicBezTo>
                    <a:close/>
                  </a:path>
                </a:pathLst>
              </a:custGeom>
              <a:solidFill>
                <a:srgbClr val="BABA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252" name="Полилиния: фигура 251">
            <a:extLst>
              <a:ext uri="{FF2B5EF4-FFF2-40B4-BE49-F238E27FC236}">
                <a16:creationId xmlns:a16="http://schemas.microsoft.com/office/drawing/2014/main" id="{F6687805-28E2-4DDC-8A83-0D0C1147E67A}"/>
              </a:ext>
            </a:extLst>
          </p:cNvPr>
          <p:cNvSpPr/>
          <p:nvPr/>
        </p:nvSpPr>
        <p:spPr>
          <a:xfrm>
            <a:off x="3852894" y="2395666"/>
            <a:ext cx="402526" cy="404431"/>
          </a:xfrm>
          <a:custGeom>
            <a:avLst/>
            <a:gdLst>
              <a:gd name="connsiteX0" fmla="*/ 155162 w 402526"/>
              <a:gd name="connsiteY0" fmla="*/ 363188 h 404431"/>
              <a:gd name="connsiteX1" fmla="*/ 161449 w 402526"/>
              <a:gd name="connsiteY1" fmla="*/ 400812 h 404431"/>
              <a:gd name="connsiteX2" fmla="*/ 203359 w 402526"/>
              <a:gd name="connsiteY2" fmla="*/ 404432 h 404431"/>
              <a:gd name="connsiteX3" fmla="*/ 216027 w 402526"/>
              <a:gd name="connsiteY3" fmla="*/ 368808 h 404431"/>
              <a:gd name="connsiteX4" fmla="*/ 256318 w 402526"/>
              <a:gd name="connsiteY4" fmla="*/ 360045 h 404431"/>
              <a:gd name="connsiteX5" fmla="*/ 282702 w 402526"/>
              <a:gd name="connsiteY5" fmla="*/ 386906 h 404431"/>
              <a:gd name="connsiteX6" fmla="*/ 319088 w 402526"/>
              <a:gd name="connsiteY6" fmla="*/ 365855 h 404431"/>
              <a:gd name="connsiteX7" fmla="*/ 309086 w 402526"/>
              <a:gd name="connsiteY7" fmla="*/ 329660 h 404431"/>
              <a:gd name="connsiteX8" fmla="*/ 337090 w 402526"/>
              <a:gd name="connsiteY8" fmla="*/ 299180 h 404431"/>
              <a:gd name="connsiteX9" fmla="*/ 374047 w 402526"/>
              <a:gd name="connsiteY9" fmla="*/ 306038 h 404431"/>
              <a:gd name="connsiteX10" fmla="*/ 391763 w 402526"/>
              <a:gd name="connsiteY10" fmla="*/ 267938 h 404431"/>
              <a:gd name="connsiteX11" fmla="*/ 362807 w 402526"/>
              <a:gd name="connsiteY11" fmla="*/ 244031 h 404431"/>
              <a:gd name="connsiteX12" fmla="*/ 368046 w 402526"/>
              <a:gd name="connsiteY12" fmla="*/ 203168 h 404431"/>
              <a:gd name="connsiteX13" fmla="*/ 402526 w 402526"/>
              <a:gd name="connsiteY13" fmla="*/ 187452 h 404431"/>
              <a:gd name="connsiteX14" fmla="*/ 395192 w 402526"/>
              <a:gd name="connsiteY14" fmla="*/ 146114 h 404431"/>
              <a:gd name="connsiteX15" fmla="*/ 357188 w 402526"/>
              <a:gd name="connsiteY15" fmla="*/ 143161 h 404431"/>
              <a:gd name="connsiteX16" fmla="*/ 338138 w 402526"/>
              <a:gd name="connsiteY16" fmla="*/ 107156 h 404431"/>
              <a:gd name="connsiteX17" fmla="*/ 357759 w 402526"/>
              <a:gd name="connsiteY17" fmla="*/ 74009 h 404431"/>
              <a:gd name="connsiteX18" fmla="*/ 328041 w 402526"/>
              <a:gd name="connsiteY18" fmla="*/ 44291 h 404431"/>
              <a:gd name="connsiteX19" fmla="*/ 294703 w 402526"/>
              <a:gd name="connsiteY19" fmla="*/ 64103 h 404431"/>
              <a:gd name="connsiteX20" fmla="*/ 230981 w 402526"/>
              <a:gd name="connsiteY20" fmla="*/ 38100 h 404431"/>
              <a:gd name="connsiteX21" fmla="*/ 221361 w 402526"/>
              <a:gd name="connsiteY21" fmla="*/ 0 h 404431"/>
              <a:gd name="connsiteX22" fmla="*/ 179356 w 402526"/>
              <a:gd name="connsiteY22" fmla="*/ 0 h 404431"/>
              <a:gd name="connsiteX23" fmla="*/ 169640 w 402526"/>
              <a:gd name="connsiteY23" fmla="*/ 38386 h 404431"/>
              <a:gd name="connsiteX24" fmla="*/ 131826 w 402526"/>
              <a:gd name="connsiteY24" fmla="*/ 50387 h 404431"/>
              <a:gd name="connsiteX25" fmla="*/ 101822 w 402526"/>
              <a:gd name="connsiteY25" fmla="*/ 24384 h 404431"/>
              <a:gd name="connsiteX26" fmla="*/ 67437 w 402526"/>
              <a:gd name="connsiteY26" fmla="*/ 48482 h 404431"/>
              <a:gd name="connsiteX27" fmla="*/ 81629 w 402526"/>
              <a:gd name="connsiteY27" fmla="*/ 85630 h 404431"/>
              <a:gd name="connsiteX28" fmla="*/ 57531 w 402526"/>
              <a:gd name="connsiteY28" fmla="*/ 116967 h 404431"/>
              <a:gd name="connsiteX29" fmla="*/ 18002 w 402526"/>
              <a:gd name="connsiteY29" fmla="*/ 112871 h 404431"/>
              <a:gd name="connsiteX30" fmla="*/ 3619 w 402526"/>
              <a:gd name="connsiteY30" fmla="*/ 152400 h 404431"/>
              <a:gd name="connsiteX31" fmla="*/ 36385 w 402526"/>
              <a:gd name="connsiteY31" fmla="*/ 174593 h 404431"/>
              <a:gd name="connsiteX32" fmla="*/ 34004 w 402526"/>
              <a:gd name="connsiteY32" fmla="*/ 202502 h 404431"/>
              <a:gd name="connsiteX33" fmla="*/ 34480 w 402526"/>
              <a:gd name="connsiteY33" fmla="*/ 214313 h 404431"/>
              <a:gd name="connsiteX34" fmla="*/ 0 w 402526"/>
              <a:gd name="connsiteY34" fmla="*/ 233553 h 404431"/>
              <a:gd name="connsiteX35" fmla="*/ 10858 w 402526"/>
              <a:gd name="connsiteY35" fmla="*/ 274130 h 404431"/>
              <a:gd name="connsiteX36" fmla="*/ 49911 w 402526"/>
              <a:gd name="connsiteY36" fmla="*/ 273653 h 404431"/>
              <a:gd name="connsiteX37" fmla="*/ 71342 w 402526"/>
              <a:gd name="connsiteY37" fmla="*/ 307753 h 404431"/>
              <a:gd name="connsiteX38" fmla="*/ 54483 w 402526"/>
              <a:gd name="connsiteY38" fmla="*/ 342710 h 404431"/>
              <a:gd name="connsiteX39" fmla="*/ 86677 w 402526"/>
              <a:gd name="connsiteY39" fmla="*/ 369761 h 404431"/>
              <a:gd name="connsiteX40" fmla="*/ 117919 w 402526"/>
              <a:gd name="connsiteY40" fmla="*/ 347377 h 404431"/>
              <a:gd name="connsiteX41" fmla="*/ 292608 w 402526"/>
              <a:gd name="connsiteY41" fmla="*/ 150971 h 404431"/>
              <a:gd name="connsiteX42" fmla="*/ 306133 w 402526"/>
              <a:gd name="connsiteY42" fmla="*/ 202502 h 404431"/>
              <a:gd name="connsiteX43" fmla="*/ 201168 w 402526"/>
              <a:gd name="connsiteY43" fmla="*/ 307467 h 404431"/>
              <a:gd name="connsiteX44" fmla="*/ 96202 w 402526"/>
              <a:gd name="connsiteY44" fmla="*/ 202502 h 404431"/>
              <a:gd name="connsiteX45" fmla="*/ 201168 w 402526"/>
              <a:gd name="connsiteY45" fmla="*/ 97536 h 404431"/>
              <a:gd name="connsiteX46" fmla="*/ 216217 w 402526"/>
              <a:gd name="connsiteY46" fmla="*/ 98584 h 404431"/>
              <a:gd name="connsiteX47" fmla="*/ 251650 w 402526"/>
              <a:gd name="connsiteY47" fmla="*/ 110490 h 404431"/>
              <a:gd name="connsiteX48" fmla="*/ 273844 w 402526"/>
              <a:gd name="connsiteY48" fmla="*/ 126778 h 4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02526" h="404431">
                <a:moveTo>
                  <a:pt x="155162" y="363188"/>
                </a:moveTo>
                <a:lnTo>
                  <a:pt x="161449" y="400812"/>
                </a:lnTo>
                <a:lnTo>
                  <a:pt x="203359" y="404432"/>
                </a:lnTo>
                <a:lnTo>
                  <a:pt x="216027" y="368808"/>
                </a:lnTo>
                <a:cubicBezTo>
                  <a:pt x="230029" y="367570"/>
                  <a:pt x="243554" y="364617"/>
                  <a:pt x="256318" y="360045"/>
                </a:cubicBezTo>
                <a:lnTo>
                  <a:pt x="282702" y="386906"/>
                </a:lnTo>
                <a:lnTo>
                  <a:pt x="319088" y="365855"/>
                </a:lnTo>
                <a:lnTo>
                  <a:pt x="309086" y="329660"/>
                </a:lnTo>
                <a:cubicBezTo>
                  <a:pt x="319659" y="320707"/>
                  <a:pt x="328993" y="310420"/>
                  <a:pt x="337090" y="299180"/>
                </a:cubicBezTo>
                <a:lnTo>
                  <a:pt x="374047" y="306038"/>
                </a:lnTo>
                <a:lnTo>
                  <a:pt x="391763" y="267938"/>
                </a:lnTo>
                <a:lnTo>
                  <a:pt x="362807" y="244031"/>
                </a:lnTo>
                <a:cubicBezTo>
                  <a:pt x="366141" y="230981"/>
                  <a:pt x="367951" y="217265"/>
                  <a:pt x="368046" y="203168"/>
                </a:cubicBezTo>
                <a:lnTo>
                  <a:pt x="402526" y="187452"/>
                </a:lnTo>
                <a:lnTo>
                  <a:pt x="395192" y="146114"/>
                </a:lnTo>
                <a:lnTo>
                  <a:pt x="357188" y="143161"/>
                </a:lnTo>
                <a:cubicBezTo>
                  <a:pt x="352330" y="130302"/>
                  <a:pt x="345853" y="118205"/>
                  <a:pt x="338138" y="107156"/>
                </a:cubicBezTo>
                <a:lnTo>
                  <a:pt x="357759" y="74009"/>
                </a:lnTo>
                <a:lnTo>
                  <a:pt x="328041" y="44291"/>
                </a:lnTo>
                <a:lnTo>
                  <a:pt x="294703" y="64103"/>
                </a:lnTo>
                <a:cubicBezTo>
                  <a:pt x="275844" y="51340"/>
                  <a:pt x="254222" y="42291"/>
                  <a:pt x="230981" y="38100"/>
                </a:cubicBezTo>
                <a:lnTo>
                  <a:pt x="221361" y="0"/>
                </a:lnTo>
                <a:lnTo>
                  <a:pt x="179356" y="0"/>
                </a:lnTo>
                <a:lnTo>
                  <a:pt x="169640" y="38386"/>
                </a:lnTo>
                <a:cubicBezTo>
                  <a:pt x="156400" y="40862"/>
                  <a:pt x="143732" y="44958"/>
                  <a:pt x="131826" y="50387"/>
                </a:cubicBezTo>
                <a:lnTo>
                  <a:pt x="101822" y="24384"/>
                </a:lnTo>
                <a:lnTo>
                  <a:pt x="67437" y="48482"/>
                </a:lnTo>
                <a:lnTo>
                  <a:pt x="81629" y="85630"/>
                </a:lnTo>
                <a:cubicBezTo>
                  <a:pt x="72390" y="95060"/>
                  <a:pt x="64294" y="105537"/>
                  <a:pt x="57531" y="116967"/>
                </a:cubicBezTo>
                <a:lnTo>
                  <a:pt x="18002" y="112871"/>
                </a:lnTo>
                <a:lnTo>
                  <a:pt x="3619" y="152400"/>
                </a:lnTo>
                <a:lnTo>
                  <a:pt x="36385" y="174593"/>
                </a:lnTo>
                <a:cubicBezTo>
                  <a:pt x="34861" y="183642"/>
                  <a:pt x="34004" y="192977"/>
                  <a:pt x="34004" y="202502"/>
                </a:cubicBezTo>
                <a:cubicBezTo>
                  <a:pt x="34004" y="206502"/>
                  <a:pt x="34195" y="210407"/>
                  <a:pt x="34480" y="214313"/>
                </a:cubicBezTo>
                <a:lnTo>
                  <a:pt x="0" y="233553"/>
                </a:lnTo>
                <a:lnTo>
                  <a:pt x="10858" y="274130"/>
                </a:lnTo>
                <a:lnTo>
                  <a:pt x="49911" y="273653"/>
                </a:lnTo>
                <a:cubicBezTo>
                  <a:pt x="55721" y="285940"/>
                  <a:pt x="62865" y="297370"/>
                  <a:pt x="71342" y="307753"/>
                </a:cubicBezTo>
                <a:lnTo>
                  <a:pt x="54483" y="342710"/>
                </a:lnTo>
                <a:lnTo>
                  <a:pt x="86677" y="369761"/>
                </a:lnTo>
                <a:lnTo>
                  <a:pt x="117919" y="347377"/>
                </a:lnTo>
                <a:moveTo>
                  <a:pt x="292608" y="150971"/>
                </a:moveTo>
                <a:cubicBezTo>
                  <a:pt x="301180" y="166211"/>
                  <a:pt x="306133" y="183737"/>
                  <a:pt x="306133" y="202502"/>
                </a:cubicBezTo>
                <a:cubicBezTo>
                  <a:pt x="306133" y="260414"/>
                  <a:pt x="259175" y="307467"/>
                  <a:pt x="201168" y="307467"/>
                </a:cubicBezTo>
                <a:cubicBezTo>
                  <a:pt x="143161" y="307467"/>
                  <a:pt x="96202" y="260509"/>
                  <a:pt x="96202" y="202502"/>
                </a:cubicBezTo>
                <a:cubicBezTo>
                  <a:pt x="96202" y="144494"/>
                  <a:pt x="143161" y="97536"/>
                  <a:pt x="201168" y="97536"/>
                </a:cubicBezTo>
                <a:cubicBezTo>
                  <a:pt x="206311" y="97536"/>
                  <a:pt x="211359" y="97917"/>
                  <a:pt x="216217" y="98584"/>
                </a:cubicBezTo>
                <a:moveTo>
                  <a:pt x="251650" y="110490"/>
                </a:moveTo>
                <a:cubicBezTo>
                  <a:pt x="259747" y="114967"/>
                  <a:pt x="267176" y="120491"/>
                  <a:pt x="273844" y="126778"/>
                </a:cubicBez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3" name="Полилиния: фигура 252">
            <a:extLst>
              <a:ext uri="{FF2B5EF4-FFF2-40B4-BE49-F238E27FC236}">
                <a16:creationId xmlns:a16="http://schemas.microsoft.com/office/drawing/2014/main" id="{59AB20FE-5E25-4A70-87C8-42D66C131592}"/>
              </a:ext>
            </a:extLst>
          </p:cNvPr>
          <p:cNvSpPr/>
          <p:nvPr/>
        </p:nvSpPr>
        <p:spPr>
          <a:xfrm>
            <a:off x="3952144" y="4541077"/>
            <a:ext cx="402526" cy="404431"/>
          </a:xfrm>
          <a:custGeom>
            <a:avLst/>
            <a:gdLst>
              <a:gd name="connsiteX0" fmla="*/ 155162 w 402526"/>
              <a:gd name="connsiteY0" fmla="*/ 363188 h 404431"/>
              <a:gd name="connsiteX1" fmla="*/ 161449 w 402526"/>
              <a:gd name="connsiteY1" fmla="*/ 400812 h 404431"/>
              <a:gd name="connsiteX2" fmla="*/ 203359 w 402526"/>
              <a:gd name="connsiteY2" fmla="*/ 404431 h 404431"/>
              <a:gd name="connsiteX3" fmla="*/ 216027 w 402526"/>
              <a:gd name="connsiteY3" fmla="*/ 368808 h 404431"/>
              <a:gd name="connsiteX4" fmla="*/ 256318 w 402526"/>
              <a:gd name="connsiteY4" fmla="*/ 360045 h 404431"/>
              <a:gd name="connsiteX5" fmla="*/ 282702 w 402526"/>
              <a:gd name="connsiteY5" fmla="*/ 386905 h 404431"/>
              <a:gd name="connsiteX6" fmla="*/ 319088 w 402526"/>
              <a:gd name="connsiteY6" fmla="*/ 365855 h 404431"/>
              <a:gd name="connsiteX7" fmla="*/ 309086 w 402526"/>
              <a:gd name="connsiteY7" fmla="*/ 329660 h 404431"/>
              <a:gd name="connsiteX8" fmla="*/ 337090 w 402526"/>
              <a:gd name="connsiteY8" fmla="*/ 299180 h 404431"/>
              <a:gd name="connsiteX9" fmla="*/ 374047 w 402526"/>
              <a:gd name="connsiteY9" fmla="*/ 306038 h 404431"/>
              <a:gd name="connsiteX10" fmla="*/ 391763 w 402526"/>
              <a:gd name="connsiteY10" fmla="*/ 267938 h 404431"/>
              <a:gd name="connsiteX11" fmla="*/ 362807 w 402526"/>
              <a:gd name="connsiteY11" fmla="*/ 244030 h 404431"/>
              <a:gd name="connsiteX12" fmla="*/ 368046 w 402526"/>
              <a:gd name="connsiteY12" fmla="*/ 203168 h 404431"/>
              <a:gd name="connsiteX13" fmla="*/ 402527 w 402526"/>
              <a:gd name="connsiteY13" fmla="*/ 187452 h 404431"/>
              <a:gd name="connsiteX14" fmla="*/ 395192 w 402526"/>
              <a:gd name="connsiteY14" fmla="*/ 146113 h 404431"/>
              <a:gd name="connsiteX15" fmla="*/ 357188 w 402526"/>
              <a:gd name="connsiteY15" fmla="*/ 143161 h 404431"/>
              <a:gd name="connsiteX16" fmla="*/ 338138 w 402526"/>
              <a:gd name="connsiteY16" fmla="*/ 107156 h 404431"/>
              <a:gd name="connsiteX17" fmla="*/ 357759 w 402526"/>
              <a:gd name="connsiteY17" fmla="*/ 74009 h 404431"/>
              <a:gd name="connsiteX18" fmla="*/ 328041 w 402526"/>
              <a:gd name="connsiteY18" fmla="*/ 44291 h 404431"/>
              <a:gd name="connsiteX19" fmla="*/ 294704 w 402526"/>
              <a:gd name="connsiteY19" fmla="*/ 64103 h 404431"/>
              <a:gd name="connsiteX20" fmla="*/ 230981 w 402526"/>
              <a:gd name="connsiteY20" fmla="*/ 38100 h 404431"/>
              <a:gd name="connsiteX21" fmla="*/ 221361 w 402526"/>
              <a:gd name="connsiteY21" fmla="*/ 0 h 404431"/>
              <a:gd name="connsiteX22" fmla="*/ 179356 w 402526"/>
              <a:gd name="connsiteY22" fmla="*/ 0 h 404431"/>
              <a:gd name="connsiteX23" fmla="*/ 169640 w 402526"/>
              <a:gd name="connsiteY23" fmla="*/ 38386 h 404431"/>
              <a:gd name="connsiteX24" fmla="*/ 131826 w 402526"/>
              <a:gd name="connsiteY24" fmla="*/ 50387 h 404431"/>
              <a:gd name="connsiteX25" fmla="*/ 101822 w 402526"/>
              <a:gd name="connsiteY25" fmla="*/ 24384 h 404431"/>
              <a:gd name="connsiteX26" fmla="*/ 67437 w 402526"/>
              <a:gd name="connsiteY26" fmla="*/ 48482 h 404431"/>
              <a:gd name="connsiteX27" fmla="*/ 81629 w 402526"/>
              <a:gd name="connsiteY27" fmla="*/ 85630 h 404431"/>
              <a:gd name="connsiteX28" fmla="*/ 57531 w 402526"/>
              <a:gd name="connsiteY28" fmla="*/ 116967 h 404431"/>
              <a:gd name="connsiteX29" fmla="*/ 18002 w 402526"/>
              <a:gd name="connsiteY29" fmla="*/ 112871 h 404431"/>
              <a:gd name="connsiteX30" fmla="*/ 3620 w 402526"/>
              <a:gd name="connsiteY30" fmla="*/ 152400 h 404431"/>
              <a:gd name="connsiteX31" fmla="*/ 36386 w 402526"/>
              <a:gd name="connsiteY31" fmla="*/ 174593 h 404431"/>
              <a:gd name="connsiteX32" fmla="*/ 34004 w 402526"/>
              <a:gd name="connsiteY32" fmla="*/ 202502 h 404431"/>
              <a:gd name="connsiteX33" fmla="*/ 34480 w 402526"/>
              <a:gd name="connsiteY33" fmla="*/ 214313 h 404431"/>
              <a:gd name="connsiteX34" fmla="*/ 0 w 402526"/>
              <a:gd name="connsiteY34" fmla="*/ 233553 h 404431"/>
              <a:gd name="connsiteX35" fmla="*/ 10859 w 402526"/>
              <a:gd name="connsiteY35" fmla="*/ 274130 h 404431"/>
              <a:gd name="connsiteX36" fmla="*/ 49911 w 402526"/>
              <a:gd name="connsiteY36" fmla="*/ 273653 h 404431"/>
              <a:gd name="connsiteX37" fmla="*/ 71342 w 402526"/>
              <a:gd name="connsiteY37" fmla="*/ 307753 h 404431"/>
              <a:gd name="connsiteX38" fmla="*/ 54483 w 402526"/>
              <a:gd name="connsiteY38" fmla="*/ 342710 h 404431"/>
              <a:gd name="connsiteX39" fmla="*/ 86678 w 402526"/>
              <a:gd name="connsiteY39" fmla="*/ 369761 h 404431"/>
              <a:gd name="connsiteX40" fmla="*/ 117920 w 402526"/>
              <a:gd name="connsiteY40" fmla="*/ 347377 h 404431"/>
              <a:gd name="connsiteX41" fmla="*/ 292608 w 402526"/>
              <a:gd name="connsiteY41" fmla="*/ 150971 h 404431"/>
              <a:gd name="connsiteX42" fmla="*/ 306134 w 402526"/>
              <a:gd name="connsiteY42" fmla="*/ 202502 h 404431"/>
              <a:gd name="connsiteX43" fmla="*/ 201168 w 402526"/>
              <a:gd name="connsiteY43" fmla="*/ 307467 h 404431"/>
              <a:gd name="connsiteX44" fmla="*/ 96203 w 402526"/>
              <a:gd name="connsiteY44" fmla="*/ 202502 h 404431"/>
              <a:gd name="connsiteX45" fmla="*/ 201168 w 402526"/>
              <a:gd name="connsiteY45" fmla="*/ 97536 h 404431"/>
              <a:gd name="connsiteX46" fmla="*/ 216218 w 402526"/>
              <a:gd name="connsiteY46" fmla="*/ 98584 h 404431"/>
              <a:gd name="connsiteX47" fmla="*/ 251651 w 402526"/>
              <a:gd name="connsiteY47" fmla="*/ 110490 h 404431"/>
              <a:gd name="connsiteX48" fmla="*/ 273844 w 402526"/>
              <a:gd name="connsiteY48" fmla="*/ 126778 h 404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02526" h="404431">
                <a:moveTo>
                  <a:pt x="155162" y="363188"/>
                </a:moveTo>
                <a:lnTo>
                  <a:pt x="161449" y="400812"/>
                </a:lnTo>
                <a:lnTo>
                  <a:pt x="203359" y="404431"/>
                </a:lnTo>
                <a:lnTo>
                  <a:pt x="216027" y="368808"/>
                </a:lnTo>
                <a:cubicBezTo>
                  <a:pt x="230029" y="367570"/>
                  <a:pt x="243554" y="364617"/>
                  <a:pt x="256318" y="360045"/>
                </a:cubicBezTo>
                <a:lnTo>
                  <a:pt x="282702" y="386905"/>
                </a:lnTo>
                <a:lnTo>
                  <a:pt x="319088" y="365855"/>
                </a:lnTo>
                <a:lnTo>
                  <a:pt x="309086" y="329660"/>
                </a:lnTo>
                <a:cubicBezTo>
                  <a:pt x="319659" y="320707"/>
                  <a:pt x="328994" y="310420"/>
                  <a:pt x="337090" y="299180"/>
                </a:cubicBezTo>
                <a:lnTo>
                  <a:pt x="374047" y="306038"/>
                </a:lnTo>
                <a:lnTo>
                  <a:pt x="391763" y="267938"/>
                </a:lnTo>
                <a:lnTo>
                  <a:pt x="362807" y="244030"/>
                </a:lnTo>
                <a:cubicBezTo>
                  <a:pt x="366141" y="230981"/>
                  <a:pt x="367951" y="217265"/>
                  <a:pt x="368046" y="203168"/>
                </a:cubicBezTo>
                <a:lnTo>
                  <a:pt x="402527" y="187452"/>
                </a:lnTo>
                <a:lnTo>
                  <a:pt x="395192" y="146113"/>
                </a:lnTo>
                <a:lnTo>
                  <a:pt x="357188" y="143161"/>
                </a:lnTo>
                <a:cubicBezTo>
                  <a:pt x="352330" y="130302"/>
                  <a:pt x="345853" y="118205"/>
                  <a:pt x="338138" y="107156"/>
                </a:cubicBezTo>
                <a:lnTo>
                  <a:pt x="357759" y="74009"/>
                </a:lnTo>
                <a:lnTo>
                  <a:pt x="328041" y="44291"/>
                </a:lnTo>
                <a:lnTo>
                  <a:pt x="294704" y="64103"/>
                </a:lnTo>
                <a:cubicBezTo>
                  <a:pt x="275844" y="51340"/>
                  <a:pt x="254222" y="42291"/>
                  <a:pt x="230981" y="38100"/>
                </a:cubicBezTo>
                <a:lnTo>
                  <a:pt x="221361" y="0"/>
                </a:lnTo>
                <a:lnTo>
                  <a:pt x="179356" y="0"/>
                </a:lnTo>
                <a:lnTo>
                  <a:pt x="169640" y="38386"/>
                </a:lnTo>
                <a:cubicBezTo>
                  <a:pt x="156401" y="40862"/>
                  <a:pt x="143732" y="44958"/>
                  <a:pt x="131826" y="50387"/>
                </a:cubicBezTo>
                <a:lnTo>
                  <a:pt x="101822" y="24384"/>
                </a:lnTo>
                <a:lnTo>
                  <a:pt x="67437" y="48482"/>
                </a:lnTo>
                <a:lnTo>
                  <a:pt x="81629" y="85630"/>
                </a:lnTo>
                <a:cubicBezTo>
                  <a:pt x="72390" y="95060"/>
                  <a:pt x="64294" y="105537"/>
                  <a:pt x="57531" y="116967"/>
                </a:cubicBezTo>
                <a:lnTo>
                  <a:pt x="18002" y="112871"/>
                </a:lnTo>
                <a:lnTo>
                  <a:pt x="3620" y="152400"/>
                </a:lnTo>
                <a:lnTo>
                  <a:pt x="36386" y="174593"/>
                </a:lnTo>
                <a:cubicBezTo>
                  <a:pt x="34862" y="183642"/>
                  <a:pt x="34004" y="192977"/>
                  <a:pt x="34004" y="202502"/>
                </a:cubicBezTo>
                <a:cubicBezTo>
                  <a:pt x="34004" y="206502"/>
                  <a:pt x="34195" y="210407"/>
                  <a:pt x="34480" y="214313"/>
                </a:cubicBezTo>
                <a:lnTo>
                  <a:pt x="0" y="233553"/>
                </a:lnTo>
                <a:lnTo>
                  <a:pt x="10859" y="274130"/>
                </a:lnTo>
                <a:lnTo>
                  <a:pt x="49911" y="273653"/>
                </a:lnTo>
                <a:cubicBezTo>
                  <a:pt x="55721" y="285940"/>
                  <a:pt x="62865" y="297371"/>
                  <a:pt x="71342" y="307753"/>
                </a:cubicBezTo>
                <a:lnTo>
                  <a:pt x="54483" y="342710"/>
                </a:lnTo>
                <a:lnTo>
                  <a:pt x="86678" y="369761"/>
                </a:lnTo>
                <a:lnTo>
                  <a:pt x="117920" y="347377"/>
                </a:lnTo>
                <a:moveTo>
                  <a:pt x="292608" y="150971"/>
                </a:moveTo>
                <a:cubicBezTo>
                  <a:pt x="301180" y="166211"/>
                  <a:pt x="306134" y="183737"/>
                  <a:pt x="306134" y="202502"/>
                </a:cubicBezTo>
                <a:cubicBezTo>
                  <a:pt x="306134" y="260413"/>
                  <a:pt x="259175" y="307467"/>
                  <a:pt x="201168" y="307467"/>
                </a:cubicBezTo>
                <a:cubicBezTo>
                  <a:pt x="143161" y="307467"/>
                  <a:pt x="96203" y="260509"/>
                  <a:pt x="96203" y="202502"/>
                </a:cubicBezTo>
                <a:cubicBezTo>
                  <a:pt x="96203" y="144494"/>
                  <a:pt x="143161" y="97536"/>
                  <a:pt x="201168" y="97536"/>
                </a:cubicBezTo>
                <a:cubicBezTo>
                  <a:pt x="206312" y="97536"/>
                  <a:pt x="211360" y="97917"/>
                  <a:pt x="216218" y="98584"/>
                </a:cubicBezTo>
                <a:moveTo>
                  <a:pt x="251651" y="110490"/>
                </a:moveTo>
                <a:cubicBezTo>
                  <a:pt x="259747" y="114967"/>
                  <a:pt x="267176" y="120491"/>
                  <a:pt x="273844" y="126778"/>
                </a:cubicBez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4" name="Полилиния: фигура 253">
            <a:extLst>
              <a:ext uri="{FF2B5EF4-FFF2-40B4-BE49-F238E27FC236}">
                <a16:creationId xmlns:a16="http://schemas.microsoft.com/office/drawing/2014/main" id="{6EE4CA61-F3EF-4FDF-BF49-EF9F7FFFF981}"/>
              </a:ext>
            </a:extLst>
          </p:cNvPr>
          <p:cNvSpPr/>
          <p:nvPr/>
        </p:nvSpPr>
        <p:spPr>
          <a:xfrm>
            <a:off x="4235037" y="2236313"/>
            <a:ext cx="402907" cy="404526"/>
          </a:xfrm>
          <a:custGeom>
            <a:avLst/>
            <a:gdLst>
              <a:gd name="connsiteX0" fmla="*/ 76200 w 402907"/>
              <a:gd name="connsiteY0" fmla="*/ 71247 h 404526"/>
              <a:gd name="connsiteX1" fmla="*/ 81724 w 402907"/>
              <a:gd name="connsiteY1" fmla="*/ 85630 h 404526"/>
              <a:gd name="connsiteX2" fmla="*/ 73723 w 402907"/>
              <a:gd name="connsiteY2" fmla="*/ 94393 h 404526"/>
              <a:gd name="connsiteX3" fmla="*/ 59722 w 402907"/>
              <a:gd name="connsiteY3" fmla="*/ 113443 h 404526"/>
              <a:gd name="connsiteX4" fmla="*/ 57531 w 402907"/>
              <a:gd name="connsiteY4" fmla="*/ 116967 h 404526"/>
              <a:gd name="connsiteX5" fmla="*/ 18002 w 402907"/>
              <a:gd name="connsiteY5" fmla="*/ 112871 h 404526"/>
              <a:gd name="connsiteX6" fmla="*/ 3620 w 402907"/>
              <a:gd name="connsiteY6" fmla="*/ 152400 h 404526"/>
              <a:gd name="connsiteX7" fmla="*/ 36385 w 402907"/>
              <a:gd name="connsiteY7" fmla="*/ 174593 h 404526"/>
              <a:gd name="connsiteX8" fmla="*/ 34004 w 402907"/>
              <a:gd name="connsiteY8" fmla="*/ 202502 h 404526"/>
              <a:gd name="connsiteX9" fmla="*/ 34480 w 402907"/>
              <a:gd name="connsiteY9" fmla="*/ 214313 h 404526"/>
              <a:gd name="connsiteX10" fmla="*/ 0 w 402907"/>
              <a:gd name="connsiteY10" fmla="*/ 233553 h 404526"/>
              <a:gd name="connsiteX11" fmla="*/ 10858 w 402907"/>
              <a:gd name="connsiteY11" fmla="*/ 274130 h 404526"/>
              <a:gd name="connsiteX12" fmla="*/ 49911 w 402907"/>
              <a:gd name="connsiteY12" fmla="*/ 273653 h 404526"/>
              <a:gd name="connsiteX13" fmla="*/ 71342 w 402907"/>
              <a:gd name="connsiteY13" fmla="*/ 307753 h 404526"/>
              <a:gd name="connsiteX14" fmla="*/ 54483 w 402907"/>
              <a:gd name="connsiteY14" fmla="*/ 342710 h 404526"/>
              <a:gd name="connsiteX15" fmla="*/ 86678 w 402907"/>
              <a:gd name="connsiteY15" fmla="*/ 369761 h 404526"/>
              <a:gd name="connsiteX16" fmla="*/ 117920 w 402907"/>
              <a:gd name="connsiteY16" fmla="*/ 347377 h 404526"/>
              <a:gd name="connsiteX17" fmla="*/ 155543 w 402907"/>
              <a:gd name="connsiteY17" fmla="*/ 363284 h 404526"/>
              <a:gd name="connsiteX18" fmla="*/ 161830 w 402907"/>
              <a:gd name="connsiteY18" fmla="*/ 400907 h 404526"/>
              <a:gd name="connsiteX19" fmla="*/ 203740 w 402907"/>
              <a:gd name="connsiteY19" fmla="*/ 404527 h 404526"/>
              <a:gd name="connsiteX20" fmla="*/ 216408 w 402907"/>
              <a:gd name="connsiteY20" fmla="*/ 368903 h 404526"/>
              <a:gd name="connsiteX21" fmla="*/ 256699 w 402907"/>
              <a:gd name="connsiteY21" fmla="*/ 360140 h 404526"/>
              <a:gd name="connsiteX22" fmla="*/ 283083 w 402907"/>
              <a:gd name="connsiteY22" fmla="*/ 387001 h 404526"/>
              <a:gd name="connsiteX23" fmla="*/ 319468 w 402907"/>
              <a:gd name="connsiteY23" fmla="*/ 365951 h 404526"/>
              <a:gd name="connsiteX24" fmla="*/ 309467 w 402907"/>
              <a:gd name="connsiteY24" fmla="*/ 329756 h 404526"/>
              <a:gd name="connsiteX25" fmla="*/ 337471 w 402907"/>
              <a:gd name="connsiteY25" fmla="*/ 299276 h 404526"/>
              <a:gd name="connsiteX26" fmla="*/ 374428 w 402907"/>
              <a:gd name="connsiteY26" fmla="*/ 306134 h 404526"/>
              <a:gd name="connsiteX27" fmla="*/ 392144 w 402907"/>
              <a:gd name="connsiteY27" fmla="*/ 268034 h 404526"/>
              <a:gd name="connsiteX28" fmla="*/ 363188 w 402907"/>
              <a:gd name="connsiteY28" fmla="*/ 244126 h 404526"/>
              <a:gd name="connsiteX29" fmla="*/ 368427 w 402907"/>
              <a:gd name="connsiteY29" fmla="*/ 203264 h 404526"/>
              <a:gd name="connsiteX30" fmla="*/ 402907 w 402907"/>
              <a:gd name="connsiteY30" fmla="*/ 187547 h 404526"/>
              <a:gd name="connsiteX31" fmla="*/ 395573 w 402907"/>
              <a:gd name="connsiteY31" fmla="*/ 146114 h 404526"/>
              <a:gd name="connsiteX32" fmla="*/ 357568 w 402907"/>
              <a:gd name="connsiteY32" fmla="*/ 143161 h 404526"/>
              <a:gd name="connsiteX33" fmla="*/ 338518 w 402907"/>
              <a:gd name="connsiteY33" fmla="*/ 107156 h 404526"/>
              <a:gd name="connsiteX34" fmla="*/ 358140 w 402907"/>
              <a:gd name="connsiteY34" fmla="*/ 74009 h 404526"/>
              <a:gd name="connsiteX35" fmla="*/ 328422 w 402907"/>
              <a:gd name="connsiteY35" fmla="*/ 44291 h 404526"/>
              <a:gd name="connsiteX36" fmla="*/ 295084 w 402907"/>
              <a:gd name="connsiteY36" fmla="*/ 64103 h 404526"/>
              <a:gd name="connsiteX37" fmla="*/ 231362 w 402907"/>
              <a:gd name="connsiteY37" fmla="*/ 38100 h 404526"/>
              <a:gd name="connsiteX38" fmla="*/ 221742 w 402907"/>
              <a:gd name="connsiteY38" fmla="*/ 0 h 404526"/>
              <a:gd name="connsiteX39" fmla="*/ 179737 w 402907"/>
              <a:gd name="connsiteY39" fmla="*/ 0 h 404526"/>
              <a:gd name="connsiteX40" fmla="*/ 170021 w 402907"/>
              <a:gd name="connsiteY40" fmla="*/ 38386 h 404526"/>
              <a:gd name="connsiteX41" fmla="*/ 132207 w 402907"/>
              <a:gd name="connsiteY41" fmla="*/ 50387 h 404526"/>
              <a:gd name="connsiteX42" fmla="*/ 102203 w 402907"/>
              <a:gd name="connsiteY42" fmla="*/ 24384 h 404526"/>
              <a:gd name="connsiteX43" fmla="*/ 67818 w 402907"/>
              <a:gd name="connsiteY43" fmla="*/ 48482 h 404526"/>
              <a:gd name="connsiteX44" fmla="*/ 72199 w 402907"/>
              <a:gd name="connsiteY44" fmla="*/ 59817 h 404526"/>
              <a:gd name="connsiteX45" fmla="*/ 304133 w 402907"/>
              <a:gd name="connsiteY45" fmla="*/ 224123 h 404526"/>
              <a:gd name="connsiteX46" fmla="*/ 297751 w 402907"/>
              <a:gd name="connsiteY46" fmla="*/ 244221 h 404526"/>
              <a:gd name="connsiteX47" fmla="*/ 289941 w 402907"/>
              <a:gd name="connsiteY47" fmla="*/ 258985 h 404526"/>
              <a:gd name="connsiteX48" fmla="*/ 201454 w 402907"/>
              <a:gd name="connsiteY48" fmla="*/ 307467 h 404526"/>
              <a:gd name="connsiteX49" fmla="*/ 96488 w 402907"/>
              <a:gd name="connsiteY49" fmla="*/ 202502 h 404526"/>
              <a:gd name="connsiteX50" fmla="*/ 201454 w 402907"/>
              <a:gd name="connsiteY50" fmla="*/ 97536 h 404526"/>
              <a:gd name="connsiteX51" fmla="*/ 306419 w 402907"/>
              <a:gd name="connsiteY51" fmla="*/ 202502 h 404526"/>
              <a:gd name="connsiteX52" fmla="*/ 306133 w 402907"/>
              <a:gd name="connsiteY52" fmla="*/ 210122 h 404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402907" h="404526">
                <a:moveTo>
                  <a:pt x="76200" y="71247"/>
                </a:moveTo>
                <a:lnTo>
                  <a:pt x="81724" y="85630"/>
                </a:lnTo>
                <a:cubicBezTo>
                  <a:pt x="78962" y="88487"/>
                  <a:pt x="76295" y="91345"/>
                  <a:pt x="73723" y="94393"/>
                </a:cubicBezTo>
                <a:moveTo>
                  <a:pt x="59722" y="113443"/>
                </a:moveTo>
                <a:cubicBezTo>
                  <a:pt x="58960" y="114586"/>
                  <a:pt x="58293" y="115729"/>
                  <a:pt x="57531" y="116967"/>
                </a:cubicBezTo>
                <a:lnTo>
                  <a:pt x="18002" y="112871"/>
                </a:lnTo>
                <a:lnTo>
                  <a:pt x="3620" y="152400"/>
                </a:lnTo>
                <a:lnTo>
                  <a:pt x="36385" y="174593"/>
                </a:lnTo>
                <a:cubicBezTo>
                  <a:pt x="34862" y="183642"/>
                  <a:pt x="34004" y="192977"/>
                  <a:pt x="34004" y="202502"/>
                </a:cubicBezTo>
                <a:cubicBezTo>
                  <a:pt x="34004" y="206502"/>
                  <a:pt x="34195" y="210407"/>
                  <a:pt x="34480" y="214313"/>
                </a:cubicBezTo>
                <a:lnTo>
                  <a:pt x="0" y="233553"/>
                </a:lnTo>
                <a:lnTo>
                  <a:pt x="10858" y="274130"/>
                </a:lnTo>
                <a:lnTo>
                  <a:pt x="49911" y="273653"/>
                </a:lnTo>
                <a:cubicBezTo>
                  <a:pt x="55721" y="285941"/>
                  <a:pt x="62865" y="297371"/>
                  <a:pt x="71342" y="307753"/>
                </a:cubicBezTo>
                <a:lnTo>
                  <a:pt x="54483" y="342710"/>
                </a:lnTo>
                <a:lnTo>
                  <a:pt x="86678" y="369761"/>
                </a:lnTo>
                <a:lnTo>
                  <a:pt x="117920" y="347377"/>
                </a:lnTo>
                <a:cubicBezTo>
                  <a:pt x="129635" y="354140"/>
                  <a:pt x="142208" y="359474"/>
                  <a:pt x="155543" y="363284"/>
                </a:cubicBezTo>
                <a:lnTo>
                  <a:pt x="161830" y="400907"/>
                </a:lnTo>
                <a:lnTo>
                  <a:pt x="203740" y="404527"/>
                </a:lnTo>
                <a:lnTo>
                  <a:pt x="216408" y="368903"/>
                </a:lnTo>
                <a:cubicBezTo>
                  <a:pt x="230410" y="367665"/>
                  <a:pt x="243935" y="364712"/>
                  <a:pt x="256699" y="360140"/>
                </a:cubicBezTo>
                <a:lnTo>
                  <a:pt x="283083" y="387001"/>
                </a:lnTo>
                <a:lnTo>
                  <a:pt x="319468" y="365951"/>
                </a:lnTo>
                <a:lnTo>
                  <a:pt x="309467" y="329756"/>
                </a:lnTo>
                <a:cubicBezTo>
                  <a:pt x="320040" y="320802"/>
                  <a:pt x="329374" y="310515"/>
                  <a:pt x="337471" y="299276"/>
                </a:cubicBezTo>
                <a:lnTo>
                  <a:pt x="374428" y="306134"/>
                </a:lnTo>
                <a:lnTo>
                  <a:pt x="392144" y="268034"/>
                </a:lnTo>
                <a:lnTo>
                  <a:pt x="363188" y="244126"/>
                </a:lnTo>
                <a:cubicBezTo>
                  <a:pt x="366522" y="231077"/>
                  <a:pt x="368332" y="217361"/>
                  <a:pt x="368427" y="203264"/>
                </a:cubicBezTo>
                <a:lnTo>
                  <a:pt x="402907" y="187547"/>
                </a:lnTo>
                <a:lnTo>
                  <a:pt x="395573" y="146114"/>
                </a:lnTo>
                <a:lnTo>
                  <a:pt x="357568" y="143161"/>
                </a:lnTo>
                <a:cubicBezTo>
                  <a:pt x="352711" y="130302"/>
                  <a:pt x="346234" y="118205"/>
                  <a:pt x="338518" y="107156"/>
                </a:cubicBezTo>
                <a:lnTo>
                  <a:pt x="358140" y="74009"/>
                </a:lnTo>
                <a:lnTo>
                  <a:pt x="328422" y="44291"/>
                </a:lnTo>
                <a:lnTo>
                  <a:pt x="295084" y="64103"/>
                </a:lnTo>
                <a:cubicBezTo>
                  <a:pt x="276225" y="51340"/>
                  <a:pt x="254603" y="42291"/>
                  <a:pt x="231362" y="38100"/>
                </a:cubicBezTo>
                <a:lnTo>
                  <a:pt x="221742" y="0"/>
                </a:lnTo>
                <a:lnTo>
                  <a:pt x="179737" y="0"/>
                </a:lnTo>
                <a:lnTo>
                  <a:pt x="170021" y="38386"/>
                </a:lnTo>
                <a:cubicBezTo>
                  <a:pt x="156781" y="40862"/>
                  <a:pt x="144113" y="44958"/>
                  <a:pt x="132207" y="50387"/>
                </a:cubicBezTo>
                <a:lnTo>
                  <a:pt x="102203" y="24384"/>
                </a:lnTo>
                <a:lnTo>
                  <a:pt x="67818" y="48482"/>
                </a:lnTo>
                <a:lnTo>
                  <a:pt x="72199" y="59817"/>
                </a:lnTo>
                <a:moveTo>
                  <a:pt x="304133" y="224123"/>
                </a:moveTo>
                <a:cubicBezTo>
                  <a:pt x="302705" y="231077"/>
                  <a:pt x="300514" y="237839"/>
                  <a:pt x="297751" y="244221"/>
                </a:cubicBezTo>
                <a:moveTo>
                  <a:pt x="289941" y="258985"/>
                </a:moveTo>
                <a:cubicBezTo>
                  <a:pt x="271272" y="288131"/>
                  <a:pt x="238696" y="307467"/>
                  <a:pt x="201454" y="307467"/>
                </a:cubicBezTo>
                <a:cubicBezTo>
                  <a:pt x="143542" y="307467"/>
                  <a:pt x="96488" y="260509"/>
                  <a:pt x="96488" y="202502"/>
                </a:cubicBezTo>
                <a:cubicBezTo>
                  <a:pt x="96488" y="144494"/>
                  <a:pt x="143446" y="97536"/>
                  <a:pt x="201454" y="97536"/>
                </a:cubicBezTo>
                <a:cubicBezTo>
                  <a:pt x="259461" y="97536"/>
                  <a:pt x="306419" y="144494"/>
                  <a:pt x="306419" y="202502"/>
                </a:cubicBezTo>
                <a:cubicBezTo>
                  <a:pt x="306419" y="205073"/>
                  <a:pt x="306419" y="207645"/>
                  <a:pt x="306133" y="210122"/>
                </a:cubicBez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5" name="Полилиния: фигура 254">
            <a:extLst>
              <a:ext uri="{FF2B5EF4-FFF2-40B4-BE49-F238E27FC236}">
                <a16:creationId xmlns:a16="http://schemas.microsoft.com/office/drawing/2014/main" id="{ADF28781-0B00-4548-857B-3AE3FB478340}"/>
              </a:ext>
            </a:extLst>
          </p:cNvPr>
          <p:cNvSpPr/>
          <p:nvPr/>
        </p:nvSpPr>
        <p:spPr>
          <a:xfrm>
            <a:off x="1666049" y="3028603"/>
            <a:ext cx="752284" cy="755808"/>
          </a:xfrm>
          <a:custGeom>
            <a:avLst/>
            <a:gdLst>
              <a:gd name="connsiteX0" fmla="*/ 132969 w 752284"/>
              <a:gd name="connsiteY0" fmla="*/ 574834 h 755808"/>
              <a:gd name="connsiteX1" fmla="*/ 101537 w 752284"/>
              <a:gd name="connsiteY1" fmla="*/ 640271 h 755808"/>
              <a:gd name="connsiteX2" fmla="*/ 161734 w 752284"/>
              <a:gd name="connsiteY2" fmla="*/ 690753 h 755808"/>
              <a:gd name="connsiteX3" fmla="*/ 220027 w 752284"/>
              <a:gd name="connsiteY3" fmla="*/ 649034 h 755808"/>
              <a:gd name="connsiteX4" fmla="*/ 290227 w 752284"/>
              <a:gd name="connsiteY4" fmla="*/ 678656 h 755808"/>
              <a:gd name="connsiteX5" fmla="*/ 301942 w 752284"/>
              <a:gd name="connsiteY5" fmla="*/ 748951 h 755808"/>
              <a:gd name="connsiteX6" fmla="*/ 380143 w 752284"/>
              <a:gd name="connsiteY6" fmla="*/ 755809 h 755808"/>
              <a:gd name="connsiteX7" fmla="*/ 403765 w 752284"/>
              <a:gd name="connsiteY7" fmla="*/ 689229 h 755808"/>
              <a:gd name="connsiteX8" fmla="*/ 479107 w 752284"/>
              <a:gd name="connsiteY8" fmla="*/ 672941 h 755808"/>
              <a:gd name="connsiteX9" fmla="*/ 528447 w 752284"/>
              <a:gd name="connsiteY9" fmla="*/ 723138 h 755808"/>
              <a:gd name="connsiteX10" fmla="*/ 596455 w 752284"/>
              <a:gd name="connsiteY10" fmla="*/ 683895 h 755808"/>
              <a:gd name="connsiteX11" fmla="*/ 577786 w 752284"/>
              <a:gd name="connsiteY11" fmla="*/ 616268 h 755808"/>
              <a:gd name="connsiteX12" fmla="*/ 630079 w 752284"/>
              <a:gd name="connsiteY12" fmla="*/ 559308 h 755808"/>
              <a:gd name="connsiteX13" fmla="*/ 699230 w 752284"/>
              <a:gd name="connsiteY13" fmla="*/ 572072 h 755808"/>
              <a:gd name="connsiteX14" fmla="*/ 732377 w 752284"/>
              <a:gd name="connsiteY14" fmla="*/ 500920 h 755808"/>
              <a:gd name="connsiteX15" fmla="*/ 678180 w 752284"/>
              <a:gd name="connsiteY15" fmla="*/ 456152 h 755808"/>
              <a:gd name="connsiteX16" fmla="*/ 687896 w 752284"/>
              <a:gd name="connsiteY16" fmla="*/ 379762 h 755808"/>
              <a:gd name="connsiteX17" fmla="*/ 752284 w 752284"/>
              <a:gd name="connsiteY17" fmla="*/ 350425 h 755808"/>
              <a:gd name="connsiteX18" fmla="*/ 738664 w 752284"/>
              <a:gd name="connsiteY18" fmla="*/ 273082 h 755808"/>
              <a:gd name="connsiteX19" fmla="*/ 667607 w 752284"/>
              <a:gd name="connsiteY19" fmla="*/ 267557 h 755808"/>
              <a:gd name="connsiteX20" fmla="*/ 632079 w 752284"/>
              <a:gd name="connsiteY20" fmla="*/ 200215 h 755808"/>
              <a:gd name="connsiteX21" fmla="*/ 668750 w 752284"/>
              <a:gd name="connsiteY21" fmla="*/ 138303 h 755808"/>
              <a:gd name="connsiteX22" fmla="*/ 613220 w 752284"/>
              <a:gd name="connsiteY22" fmla="*/ 82772 h 755808"/>
              <a:gd name="connsiteX23" fmla="*/ 550831 w 752284"/>
              <a:gd name="connsiteY23" fmla="*/ 119825 h 755808"/>
              <a:gd name="connsiteX24" fmla="*/ 431768 w 752284"/>
              <a:gd name="connsiteY24" fmla="*/ 71247 h 755808"/>
              <a:gd name="connsiteX25" fmla="*/ 413766 w 752284"/>
              <a:gd name="connsiteY25" fmla="*/ 0 h 755808"/>
              <a:gd name="connsiteX26" fmla="*/ 335185 w 752284"/>
              <a:gd name="connsiteY26" fmla="*/ 0 h 755808"/>
              <a:gd name="connsiteX27" fmla="*/ 317087 w 752284"/>
              <a:gd name="connsiteY27" fmla="*/ 71723 h 755808"/>
              <a:gd name="connsiteX28" fmla="*/ 246507 w 752284"/>
              <a:gd name="connsiteY28" fmla="*/ 94202 h 755808"/>
              <a:gd name="connsiteX29" fmla="*/ 190405 w 752284"/>
              <a:gd name="connsiteY29" fmla="*/ 45625 h 755808"/>
              <a:gd name="connsiteX30" fmla="*/ 126111 w 752284"/>
              <a:gd name="connsiteY30" fmla="*/ 90678 h 755808"/>
              <a:gd name="connsiteX31" fmla="*/ 152590 w 752284"/>
              <a:gd name="connsiteY31" fmla="*/ 160115 h 755808"/>
              <a:gd name="connsiteX32" fmla="*/ 107442 w 752284"/>
              <a:gd name="connsiteY32" fmla="*/ 218599 h 755808"/>
              <a:gd name="connsiteX33" fmla="*/ 33528 w 752284"/>
              <a:gd name="connsiteY33" fmla="*/ 210979 h 755808"/>
              <a:gd name="connsiteX34" fmla="*/ 6667 w 752284"/>
              <a:gd name="connsiteY34" fmla="*/ 284797 h 755808"/>
              <a:gd name="connsiteX35" fmla="*/ 67913 w 752284"/>
              <a:gd name="connsiteY35" fmla="*/ 326326 h 755808"/>
              <a:gd name="connsiteX36" fmla="*/ 63532 w 752284"/>
              <a:gd name="connsiteY36" fmla="*/ 378428 h 755808"/>
              <a:gd name="connsiteX37" fmla="*/ 64389 w 752284"/>
              <a:gd name="connsiteY37" fmla="*/ 400526 h 755808"/>
              <a:gd name="connsiteX38" fmla="*/ 0 w 752284"/>
              <a:gd name="connsiteY38" fmla="*/ 436531 h 755808"/>
              <a:gd name="connsiteX39" fmla="*/ 20288 w 752284"/>
              <a:gd name="connsiteY39" fmla="*/ 512350 h 755808"/>
              <a:gd name="connsiteX40" fmla="*/ 93154 w 752284"/>
              <a:gd name="connsiteY40" fmla="*/ 511397 h 755808"/>
              <a:gd name="connsiteX41" fmla="*/ 122015 w 752284"/>
              <a:gd name="connsiteY41" fmla="*/ 560451 h 755808"/>
              <a:gd name="connsiteX42" fmla="*/ 310134 w 752284"/>
              <a:gd name="connsiteY42" fmla="*/ 193548 h 755808"/>
              <a:gd name="connsiteX43" fmla="*/ 336232 w 752284"/>
              <a:gd name="connsiteY43" fmla="*/ 186309 h 755808"/>
              <a:gd name="connsiteX44" fmla="*/ 384715 w 752284"/>
              <a:gd name="connsiteY44" fmla="*/ 182499 h 755808"/>
              <a:gd name="connsiteX45" fmla="*/ 571881 w 752284"/>
              <a:gd name="connsiteY45" fmla="*/ 378428 h 755808"/>
              <a:gd name="connsiteX46" fmla="*/ 375761 w 752284"/>
              <a:gd name="connsiteY46" fmla="*/ 574548 h 755808"/>
              <a:gd name="connsiteX47" fmla="*/ 179642 w 752284"/>
              <a:gd name="connsiteY47" fmla="*/ 378428 h 755808"/>
              <a:gd name="connsiteX48" fmla="*/ 296037 w 752284"/>
              <a:gd name="connsiteY48" fmla="*/ 199168 h 75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752284" h="755808">
                <a:moveTo>
                  <a:pt x="132969" y="574834"/>
                </a:moveTo>
                <a:lnTo>
                  <a:pt x="101537" y="640271"/>
                </a:lnTo>
                <a:lnTo>
                  <a:pt x="161734" y="690753"/>
                </a:lnTo>
                <a:lnTo>
                  <a:pt x="220027" y="649034"/>
                </a:lnTo>
                <a:cubicBezTo>
                  <a:pt x="241935" y="661606"/>
                  <a:pt x="265462" y="671608"/>
                  <a:pt x="290227" y="678656"/>
                </a:cubicBezTo>
                <a:lnTo>
                  <a:pt x="301942" y="748951"/>
                </a:lnTo>
                <a:lnTo>
                  <a:pt x="380143" y="755809"/>
                </a:lnTo>
                <a:lnTo>
                  <a:pt x="403765" y="689229"/>
                </a:lnTo>
                <a:cubicBezTo>
                  <a:pt x="429959" y="686848"/>
                  <a:pt x="455200" y="681323"/>
                  <a:pt x="479107" y="672941"/>
                </a:cubicBezTo>
                <a:lnTo>
                  <a:pt x="528447" y="723138"/>
                </a:lnTo>
                <a:lnTo>
                  <a:pt x="596455" y="683895"/>
                </a:lnTo>
                <a:lnTo>
                  <a:pt x="577786" y="616268"/>
                </a:lnTo>
                <a:cubicBezTo>
                  <a:pt x="597503" y="599504"/>
                  <a:pt x="615029" y="580358"/>
                  <a:pt x="630079" y="559308"/>
                </a:cubicBezTo>
                <a:lnTo>
                  <a:pt x="699230" y="572072"/>
                </a:lnTo>
                <a:lnTo>
                  <a:pt x="732377" y="500920"/>
                </a:lnTo>
                <a:lnTo>
                  <a:pt x="678180" y="456152"/>
                </a:lnTo>
                <a:cubicBezTo>
                  <a:pt x="684467" y="431673"/>
                  <a:pt x="687800" y="406146"/>
                  <a:pt x="687896" y="379762"/>
                </a:cubicBezTo>
                <a:lnTo>
                  <a:pt x="752284" y="350425"/>
                </a:lnTo>
                <a:lnTo>
                  <a:pt x="738664" y="273082"/>
                </a:lnTo>
                <a:lnTo>
                  <a:pt x="667607" y="267557"/>
                </a:lnTo>
                <a:cubicBezTo>
                  <a:pt x="658463" y="243554"/>
                  <a:pt x="646462" y="220980"/>
                  <a:pt x="632079" y="200215"/>
                </a:cubicBezTo>
                <a:lnTo>
                  <a:pt x="668750" y="138303"/>
                </a:lnTo>
                <a:lnTo>
                  <a:pt x="613220" y="82772"/>
                </a:lnTo>
                <a:lnTo>
                  <a:pt x="550831" y="119825"/>
                </a:lnTo>
                <a:cubicBezTo>
                  <a:pt x="515588" y="95917"/>
                  <a:pt x="475202" y="79153"/>
                  <a:pt x="431768" y="71247"/>
                </a:cubicBezTo>
                <a:lnTo>
                  <a:pt x="413766" y="0"/>
                </a:lnTo>
                <a:lnTo>
                  <a:pt x="335185" y="0"/>
                </a:lnTo>
                <a:lnTo>
                  <a:pt x="317087" y="71723"/>
                </a:lnTo>
                <a:cubicBezTo>
                  <a:pt x="292417" y="76390"/>
                  <a:pt x="268700" y="84010"/>
                  <a:pt x="246507" y="94202"/>
                </a:cubicBezTo>
                <a:lnTo>
                  <a:pt x="190405" y="45625"/>
                </a:lnTo>
                <a:lnTo>
                  <a:pt x="126111" y="90678"/>
                </a:lnTo>
                <a:lnTo>
                  <a:pt x="152590" y="160115"/>
                </a:lnTo>
                <a:cubicBezTo>
                  <a:pt x="135350" y="177736"/>
                  <a:pt x="120205" y="197358"/>
                  <a:pt x="107442" y="218599"/>
                </a:cubicBezTo>
                <a:lnTo>
                  <a:pt x="33528" y="210979"/>
                </a:lnTo>
                <a:lnTo>
                  <a:pt x="6667" y="284797"/>
                </a:lnTo>
                <a:lnTo>
                  <a:pt x="67913" y="326326"/>
                </a:lnTo>
                <a:cubicBezTo>
                  <a:pt x="65056" y="343281"/>
                  <a:pt x="63532" y="360712"/>
                  <a:pt x="63532" y="378428"/>
                </a:cubicBezTo>
                <a:cubicBezTo>
                  <a:pt x="63532" y="385858"/>
                  <a:pt x="63913" y="393192"/>
                  <a:pt x="64389" y="400526"/>
                </a:cubicBezTo>
                <a:lnTo>
                  <a:pt x="0" y="436531"/>
                </a:lnTo>
                <a:lnTo>
                  <a:pt x="20288" y="512350"/>
                </a:lnTo>
                <a:lnTo>
                  <a:pt x="93154" y="511397"/>
                </a:lnTo>
                <a:cubicBezTo>
                  <a:pt x="101346" y="528733"/>
                  <a:pt x="110966" y="545116"/>
                  <a:pt x="122015" y="560451"/>
                </a:cubicBezTo>
                <a:moveTo>
                  <a:pt x="310134" y="193548"/>
                </a:moveTo>
                <a:cubicBezTo>
                  <a:pt x="318611" y="190500"/>
                  <a:pt x="327279" y="188119"/>
                  <a:pt x="336232" y="186309"/>
                </a:cubicBezTo>
                <a:moveTo>
                  <a:pt x="384715" y="182499"/>
                </a:moveTo>
                <a:cubicBezTo>
                  <a:pt x="488918" y="187166"/>
                  <a:pt x="571881" y="273082"/>
                  <a:pt x="571881" y="378428"/>
                </a:cubicBezTo>
                <a:cubicBezTo>
                  <a:pt x="571881" y="483775"/>
                  <a:pt x="484061" y="574548"/>
                  <a:pt x="375761" y="574548"/>
                </a:cubicBezTo>
                <a:cubicBezTo>
                  <a:pt x="267462" y="574548"/>
                  <a:pt x="179642" y="486727"/>
                  <a:pt x="179642" y="378428"/>
                </a:cubicBezTo>
                <a:cubicBezTo>
                  <a:pt x="179642" y="298513"/>
                  <a:pt x="227457" y="229743"/>
                  <a:pt x="296037" y="199168"/>
                </a:cubicBezTo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56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2551969" y="2918208"/>
            <a:ext cx="1425032" cy="2209799"/>
            <a:chOff x="2551969" y="2918208"/>
            <a:chExt cx="1425032" cy="2209799"/>
          </a:xfrm>
        </p:grpSpPr>
        <p:grpSp>
          <p:nvGrpSpPr>
            <p:cNvPr id="257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551969" y="3128947"/>
              <a:ext cx="1425032" cy="1546623"/>
              <a:chOff x="2551969" y="3128947"/>
              <a:chExt cx="1425032" cy="1546623"/>
            </a:xfrm>
          </p:grpSpPr>
          <p:sp>
            <p:nvSpPr>
              <p:cNvPr id="258" name="Полилиния: фигура 257">
                <a:extLst>
                  <a:ext uri="{FF2B5EF4-FFF2-40B4-BE49-F238E27FC236}">
                    <a16:creationId xmlns:a16="http://schemas.microsoft.com/office/drawing/2014/main" id="{8992D8F8-C5FB-46B7-A37A-27ED13BF7F24}"/>
                  </a:ext>
                </a:extLst>
              </p:cNvPr>
              <p:cNvSpPr/>
              <p:nvPr/>
            </p:nvSpPr>
            <p:spPr>
              <a:xfrm>
                <a:off x="2727515" y="3341690"/>
                <a:ext cx="77819" cy="50292"/>
              </a:xfrm>
              <a:custGeom>
                <a:avLst/>
                <a:gdLst>
                  <a:gd name="connsiteX0" fmla="*/ 77819 w 77819"/>
                  <a:gd name="connsiteY0" fmla="*/ 50292 h 50292"/>
                  <a:gd name="connsiteX1" fmla="*/ 0 w 77819"/>
                  <a:gd name="connsiteY1" fmla="*/ 0 h 50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819" h="50292">
                    <a:moveTo>
                      <a:pt x="77819" y="50292"/>
                    </a:moveTo>
                    <a:lnTo>
                      <a:pt x="0" y="0"/>
                    </a:lnTo>
                  </a:path>
                </a:pathLst>
              </a:custGeom>
              <a:ln w="2857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9" name="Полилиния: фигура 258">
                <a:extLst>
                  <a:ext uri="{FF2B5EF4-FFF2-40B4-BE49-F238E27FC236}">
                    <a16:creationId xmlns:a16="http://schemas.microsoft.com/office/drawing/2014/main" id="{352DC516-601F-4AA9-B3FD-6D359825EC62}"/>
                  </a:ext>
                </a:extLst>
              </p:cNvPr>
              <p:cNvSpPr/>
              <p:nvPr/>
            </p:nvSpPr>
            <p:spPr>
              <a:xfrm>
                <a:off x="2920492" y="3223865"/>
                <a:ext cx="20193" cy="16859"/>
              </a:xfrm>
              <a:custGeom>
                <a:avLst/>
                <a:gdLst>
                  <a:gd name="connsiteX0" fmla="*/ 20193 w 20193"/>
                  <a:gd name="connsiteY0" fmla="*/ 16859 h 16859"/>
                  <a:gd name="connsiteX1" fmla="*/ 0 w 20193"/>
                  <a:gd name="connsiteY1" fmla="*/ 0 h 16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193" h="16859">
                    <a:moveTo>
                      <a:pt x="20193" y="16859"/>
                    </a:moveTo>
                    <a:lnTo>
                      <a:pt x="0" y="0"/>
                    </a:lnTo>
                  </a:path>
                </a:pathLst>
              </a:custGeom>
              <a:ln w="2857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0" name="Полилиния: фигура 259">
                <a:extLst>
                  <a:ext uri="{FF2B5EF4-FFF2-40B4-BE49-F238E27FC236}">
                    <a16:creationId xmlns:a16="http://schemas.microsoft.com/office/drawing/2014/main" id="{235BA5DF-9B24-4EB9-A690-567DCD2B5EEB}"/>
                  </a:ext>
                </a:extLst>
              </p:cNvPr>
              <p:cNvSpPr/>
              <p:nvPr/>
            </p:nvSpPr>
            <p:spPr>
              <a:xfrm>
                <a:off x="2551969" y="3643823"/>
                <a:ext cx="161258" cy="40385"/>
              </a:xfrm>
              <a:custGeom>
                <a:avLst/>
                <a:gdLst>
                  <a:gd name="connsiteX0" fmla="*/ 161258 w 161258"/>
                  <a:gd name="connsiteY0" fmla="*/ 40386 h 40385"/>
                  <a:gd name="connsiteX1" fmla="*/ 0 w 161258"/>
                  <a:gd name="connsiteY1" fmla="*/ 0 h 40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258" h="40385">
                    <a:moveTo>
                      <a:pt x="161258" y="40386"/>
                    </a:moveTo>
                    <a:lnTo>
                      <a:pt x="0" y="0"/>
                    </a:lnTo>
                  </a:path>
                </a:pathLst>
              </a:custGeom>
              <a:ln w="2857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1" name="Полилиния: фигура 260">
                <a:extLst>
                  <a:ext uri="{FF2B5EF4-FFF2-40B4-BE49-F238E27FC236}">
                    <a16:creationId xmlns:a16="http://schemas.microsoft.com/office/drawing/2014/main" id="{168DB375-3E9F-4490-94D4-3B316F9E832D}"/>
                  </a:ext>
                </a:extLst>
              </p:cNvPr>
              <p:cNvSpPr/>
              <p:nvPr/>
            </p:nvSpPr>
            <p:spPr>
              <a:xfrm>
                <a:off x="2756879" y="3128947"/>
                <a:ext cx="1220122" cy="1546623"/>
              </a:xfrm>
              <a:custGeom>
                <a:avLst/>
                <a:gdLst>
                  <a:gd name="connsiteX0" fmla="*/ 827886 w 1220122"/>
                  <a:gd name="connsiteY0" fmla="*/ 1546337 h 1546623"/>
                  <a:gd name="connsiteX1" fmla="*/ 824361 w 1220122"/>
                  <a:gd name="connsiteY1" fmla="*/ 1545861 h 1546623"/>
                  <a:gd name="connsiteX2" fmla="*/ 815598 w 1220122"/>
                  <a:gd name="connsiteY2" fmla="*/ 1539194 h 1546623"/>
                  <a:gd name="connsiteX3" fmla="*/ 848174 w 1220122"/>
                  <a:gd name="connsiteY3" fmla="*/ 1479853 h 1546623"/>
                  <a:gd name="connsiteX4" fmla="*/ 747209 w 1220122"/>
                  <a:gd name="connsiteY4" fmla="*/ 1529478 h 1546623"/>
                  <a:gd name="connsiteX5" fmla="*/ 737398 w 1220122"/>
                  <a:gd name="connsiteY5" fmla="*/ 1522239 h 1546623"/>
                  <a:gd name="connsiteX6" fmla="*/ 888274 w 1220122"/>
                  <a:gd name="connsiteY6" fmla="*/ 1374411 h 1546623"/>
                  <a:gd name="connsiteX7" fmla="*/ 811979 w 1220122"/>
                  <a:gd name="connsiteY7" fmla="*/ 1424894 h 1546623"/>
                  <a:gd name="connsiteX8" fmla="*/ 607477 w 1220122"/>
                  <a:gd name="connsiteY8" fmla="*/ 1541289 h 1546623"/>
                  <a:gd name="connsiteX9" fmla="*/ 596142 w 1220122"/>
                  <a:gd name="connsiteY9" fmla="*/ 1533098 h 1546623"/>
                  <a:gd name="connsiteX10" fmla="*/ 776736 w 1220122"/>
                  <a:gd name="connsiteY10" fmla="*/ 1381269 h 1546623"/>
                  <a:gd name="connsiteX11" fmla="*/ 814170 w 1220122"/>
                  <a:gd name="connsiteY11" fmla="*/ 1354123 h 1546623"/>
                  <a:gd name="connsiteX12" fmla="*/ 750543 w 1220122"/>
                  <a:gd name="connsiteY12" fmla="*/ 1397176 h 1546623"/>
                  <a:gd name="connsiteX13" fmla="*/ 507941 w 1220122"/>
                  <a:gd name="connsiteY13" fmla="*/ 1536717 h 1546623"/>
                  <a:gd name="connsiteX14" fmla="*/ 495368 w 1220122"/>
                  <a:gd name="connsiteY14" fmla="*/ 1527668 h 1546623"/>
                  <a:gd name="connsiteX15" fmla="*/ 759687 w 1220122"/>
                  <a:gd name="connsiteY15" fmla="*/ 1320690 h 1546623"/>
                  <a:gd name="connsiteX16" fmla="*/ 397165 w 1220122"/>
                  <a:gd name="connsiteY16" fmla="*/ 1529954 h 1546623"/>
                  <a:gd name="connsiteX17" fmla="*/ 377639 w 1220122"/>
                  <a:gd name="connsiteY17" fmla="*/ 1524716 h 1546623"/>
                  <a:gd name="connsiteX18" fmla="*/ 402499 w 1220122"/>
                  <a:gd name="connsiteY18" fmla="*/ 1476995 h 1546623"/>
                  <a:gd name="connsiteX19" fmla="*/ 324585 w 1220122"/>
                  <a:gd name="connsiteY19" fmla="*/ 1507856 h 1546623"/>
                  <a:gd name="connsiteX20" fmla="*/ 312583 w 1220122"/>
                  <a:gd name="connsiteY20" fmla="*/ 1499189 h 1546623"/>
                  <a:gd name="connsiteX21" fmla="*/ 408595 w 1220122"/>
                  <a:gd name="connsiteY21" fmla="*/ 1404986 h 1546623"/>
                  <a:gd name="connsiteX22" fmla="*/ 251242 w 1220122"/>
                  <a:gd name="connsiteY22" fmla="*/ 1485663 h 1546623"/>
                  <a:gd name="connsiteX23" fmla="*/ 240574 w 1220122"/>
                  <a:gd name="connsiteY23" fmla="*/ 1477758 h 1546623"/>
                  <a:gd name="connsiteX24" fmla="*/ 264006 w 1220122"/>
                  <a:gd name="connsiteY24" fmla="*/ 1445753 h 1546623"/>
                  <a:gd name="connsiteX25" fmla="*/ 316679 w 1220122"/>
                  <a:gd name="connsiteY25" fmla="*/ 1411368 h 1546623"/>
                  <a:gd name="connsiteX26" fmla="*/ 397165 w 1220122"/>
                  <a:gd name="connsiteY26" fmla="*/ 1359266 h 1546623"/>
                  <a:gd name="connsiteX27" fmla="*/ 287723 w 1220122"/>
                  <a:gd name="connsiteY27" fmla="*/ 1400414 h 1546623"/>
                  <a:gd name="connsiteX28" fmla="*/ 275626 w 1220122"/>
                  <a:gd name="connsiteY28" fmla="*/ 1391651 h 1546623"/>
                  <a:gd name="connsiteX29" fmla="*/ 280674 w 1220122"/>
                  <a:gd name="connsiteY29" fmla="*/ 1372220 h 1546623"/>
                  <a:gd name="connsiteX30" fmla="*/ 1095919 w 1220122"/>
                  <a:gd name="connsiteY30" fmla="*/ 852727 h 1546623"/>
                  <a:gd name="connsiteX31" fmla="*/ 504988 w 1220122"/>
                  <a:gd name="connsiteY31" fmla="*/ 1202580 h 1546623"/>
                  <a:gd name="connsiteX32" fmla="*/ 266673 w 1220122"/>
                  <a:gd name="connsiteY32" fmla="*/ 1341264 h 1546623"/>
                  <a:gd name="connsiteX33" fmla="*/ 257624 w 1220122"/>
                  <a:gd name="connsiteY33" fmla="*/ 1334406 h 1546623"/>
                  <a:gd name="connsiteX34" fmla="*/ 341349 w 1220122"/>
                  <a:gd name="connsiteY34" fmla="*/ 1256016 h 1546623"/>
                  <a:gd name="connsiteX35" fmla="*/ 259624 w 1220122"/>
                  <a:gd name="connsiteY35" fmla="*/ 1281733 h 1546623"/>
                  <a:gd name="connsiteX36" fmla="*/ 246861 w 1220122"/>
                  <a:gd name="connsiteY36" fmla="*/ 1272494 h 1546623"/>
                  <a:gd name="connsiteX37" fmla="*/ 251528 w 1220122"/>
                  <a:gd name="connsiteY37" fmla="*/ 1253253 h 1546623"/>
                  <a:gd name="connsiteX38" fmla="*/ 1092490 w 1220122"/>
                  <a:gd name="connsiteY38" fmla="*/ 711471 h 1546623"/>
                  <a:gd name="connsiteX39" fmla="*/ 919707 w 1220122"/>
                  <a:gd name="connsiteY39" fmla="*/ 808912 h 1546623"/>
                  <a:gd name="connsiteX40" fmla="*/ 724539 w 1220122"/>
                  <a:gd name="connsiteY40" fmla="*/ 932070 h 1546623"/>
                  <a:gd name="connsiteX41" fmla="*/ 436980 w 1220122"/>
                  <a:gd name="connsiteY41" fmla="*/ 1108473 h 1546623"/>
                  <a:gd name="connsiteX42" fmla="*/ 219524 w 1220122"/>
                  <a:gd name="connsiteY42" fmla="*/ 1234775 h 1546623"/>
                  <a:gd name="connsiteX43" fmla="*/ 210285 w 1220122"/>
                  <a:gd name="connsiteY43" fmla="*/ 1227821 h 1546623"/>
                  <a:gd name="connsiteX44" fmla="*/ 215333 w 1220122"/>
                  <a:gd name="connsiteY44" fmla="*/ 1208391 h 1546623"/>
                  <a:gd name="connsiteX45" fmla="*/ 415929 w 1220122"/>
                  <a:gd name="connsiteY45" fmla="*/ 1087994 h 1546623"/>
                  <a:gd name="connsiteX46" fmla="*/ 453077 w 1220122"/>
                  <a:gd name="connsiteY46" fmla="*/ 1064563 h 1546623"/>
                  <a:gd name="connsiteX47" fmla="*/ 199140 w 1220122"/>
                  <a:gd name="connsiteY47" fmla="*/ 1180387 h 1546623"/>
                  <a:gd name="connsiteX48" fmla="*/ 185710 w 1220122"/>
                  <a:gd name="connsiteY48" fmla="*/ 1170671 h 1546623"/>
                  <a:gd name="connsiteX49" fmla="*/ 293819 w 1220122"/>
                  <a:gd name="connsiteY49" fmla="*/ 1067706 h 1546623"/>
                  <a:gd name="connsiteX50" fmla="*/ 188472 w 1220122"/>
                  <a:gd name="connsiteY50" fmla="*/ 1118189 h 1546623"/>
                  <a:gd name="connsiteX51" fmla="*/ 178090 w 1220122"/>
                  <a:gd name="connsiteY51" fmla="*/ 1110569 h 1546623"/>
                  <a:gd name="connsiteX52" fmla="*/ 236955 w 1220122"/>
                  <a:gd name="connsiteY52" fmla="*/ 1040941 h 1546623"/>
                  <a:gd name="connsiteX53" fmla="*/ 164279 w 1220122"/>
                  <a:gd name="connsiteY53" fmla="*/ 1064944 h 1546623"/>
                  <a:gd name="connsiteX54" fmla="*/ 151896 w 1220122"/>
                  <a:gd name="connsiteY54" fmla="*/ 1055895 h 1546623"/>
                  <a:gd name="connsiteX55" fmla="*/ 150468 w 1220122"/>
                  <a:gd name="connsiteY55" fmla="*/ 1045037 h 1546623"/>
                  <a:gd name="connsiteX56" fmla="*/ 157230 w 1220122"/>
                  <a:gd name="connsiteY56" fmla="*/ 1036369 h 1546623"/>
                  <a:gd name="connsiteX57" fmla="*/ 1076869 w 1220122"/>
                  <a:gd name="connsiteY57" fmla="*/ 470012 h 1546623"/>
                  <a:gd name="connsiteX58" fmla="*/ 188949 w 1220122"/>
                  <a:gd name="connsiteY58" fmla="*/ 987601 h 1546623"/>
                  <a:gd name="connsiteX59" fmla="*/ 178090 w 1220122"/>
                  <a:gd name="connsiteY59" fmla="*/ 989125 h 1546623"/>
                  <a:gd name="connsiteX60" fmla="*/ 169327 w 1220122"/>
                  <a:gd name="connsiteY60" fmla="*/ 982457 h 1546623"/>
                  <a:gd name="connsiteX61" fmla="*/ 167517 w 1220122"/>
                  <a:gd name="connsiteY61" fmla="*/ 965122 h 1546623"/>
                  <a:gd name="connsiteX62" fmla="*/ 191044 w 1220122"/>
                  <a:gd name="connsiteY62" fmla="*/ 933880 h 1546623"/>
                  <a:gd name="connsiteX63" fmla="*/ 145515 w 1220122"/>
                  <a:gd name="connsiteY63" fmla="*/ 944167 h 1546623"/>
                  <a:gd name="connsiteX64" fmla="*/ 132942 w 1220122"/>
                  <a:gd name="connsiteY64" fmla="*/ 935023 h 1546623"/>
                  <a:gd name="connsiteX65" fmla="*/ 165517 w 1220122"/>
                  <a:gd name="connsiteY65" fmla="*/ 891684 h 1546623"/>
                  <a:gd name="connsiteX66" fmla="*/ 249242 w 1220122"/>
                  <a:gd name="connsiteY66" fmla="*/ 837392 h 1546623"/>
                  <a:gd name="connsiteX67" fmla="*/ 518514 w 1220122"/>
                  <a:gd name="connsiteY67" fmla="*/ 673371 h 1546623"/>
                  <a:gd name="connsiteX68" fmla="*/ 878559 w 1220122"/>
                  <a:gd name="connsiteY68" fmla="*/ 453439 h 1546623"/>
                  <a:gd name="connsiteX69" fmla="*/ 105319 w 1220122"/>
                  <a:gd name="connsiteY69" fmla="*/ 903019 h 1546623"/>
                  <a:gd name="connsiteX70" fmla="*/ 94461 w 1220122"/>
                  <a:gd name="connsiteY70" fmla="*/ 904543 h 1546623"/>
                  <a:gd name="connsiteX71" fmla="*/ 85793 w 1220122"/>
                  <a:gd name="connsiteY71" fmla="*/ 897875 h 1546623"/>
                  <a:gd name="connsiteX72" fmla="*/ 202474 w 1220122"/>
                  <a:gd name="connsiteY72" fmla="*/ 801959 h 1546623"/>
                  <a:gd name="connsiteX73" fmla="*/ 105891 w 1220122"/>
                  <a:gd name="connsiteY73" fmla="*/ 837106 h 1546623"/>
                  <a:gd name="connsiteX74" fmla="*/ 91413 w 1220122"/>
                  <a:gd name="connsiteY74" fmla="*/ 826724 h 1546623"/>
                  <a:gd name="connsiteX75" fmla="*/ 311059 w 1220122"/>
                  <a:gd name="connsiteY75" fmla="*/ 677276 h 1546623"/>
                  <a:gd name="connsiteX76" fmla="*/ 659960 w 1220122"/>
                  <a:gd name="connsiteY76" fmla="*/ 471536 h 1546623"/>
                  <a:gd name="connsiteX77" fmla="*/ 892179 w 1220122"/>
                  <a:gd name="connsiteY77" fmla="*/ 322946 h 1546623"/>
                  <a:gd name="connsiteX78" fmla="*/ 978571 w 1220122"/>
                  <a:gd name="connsiteY78" fmla="*/ 255700 h 1546623"/>
                  <a:gd name="connsiteX79" fmla="*/ 92365 w 1220122"/>
                  <a:gd name="connsiteY79" fmla="*/ 777956 h 1546623"/>
                  <a:gd name="connsiteX80" fmla="*/ 72744 w 1220122"/>
                  <a:gd name="connsiteY80" fmla="*/ 773384 h 1546623"/>
                  <a:gd name="connsiteX81" fmla="*/ 77220 w 1220122"/>
                  <a:gd name="connsiteY81" fmla="*/ 753762 h 1546623"/>
                  <a:gd name="connsiteX82" fmla="*/ 169422 w 1220122"/>
                  <a:gd name="connsiteY82" fmla="*/ 695088 h 1546623"/>
                  <a:gd name="connsiteX83" fmla="*/ 52932 w 1220122"/>
                  <a:gd name="connsiteY83" fmla="*/ 737760 h 1546623"/>
                  <a:gd name="connsiteX84" fmla="*/ 40263 w 1220122"/>
                  <a:gd name="connsiteY84" fmla="*/ 728616 h 1546623"/>
                  <a:gd name="connsiteX85" fmla="*/ 44931 w 1220122"/>
                  <a:gd name="connsiteY85" fmla="*/ 709471 h 1546623"/>
                  <a:gd name="connsiteX86" fmla="*/ 247908 w 1220122"/>
                  <a:gd name="connsiteY86" fmla="*/ 579359 h 1546623"/>
                  <a:gd name="connsiteX87" fmla="*/ 60361 w 1220122"/>
                  <a:gd name="connsiteY87" fmla="*/ 667656 h 1546623"/>
                  <a:gd name="connsiteX88" fmla="*/ 49979 w 1220122"/>
                  <a:gd name="connsiteY88" fmla="*/ 659941 h 1546623"/>
                  <a:gd name="connsiteX89" fmla="*/ 54837 w 1220122"/>
                  <a:gd name="connsiteY89" fmla="*/ 640605 h 1546623"/>
                  <a:gd name="connsiteX90" fmla="*/ 750447 w 1220122"/>
                  <a:gd name="connsiteY90" fmla="*/ 196740 h 1546623"/>
                  <a:gd name="connsiteX91" fmla="*/ 250956 w 1220122"/>
                  <a:gd name="connsiteY91" fmla="*/ 488491 h 1546623"/>
                  <a:gd name="connsiteX92" fmla="*/ 87698 w 1220122"/>
                  <a:gd name="connsiteY92" fmla="*/ 584312 h 1546623"/>
                  <a:gd name="connsiteX93" fmla="*/ 24261 w 1220122"/>
                  <a:gd name="connsiteY93" fmla="*/ 620603 h 1546623"/>
                  <a:gd name="connsiteX94" fmla="*/ 21785 w 1220122"/>
                  <a:gd name="connsiteY94" fmla="*/ 622127 h 1546623"/>
                  <a:gd name="connsiteX95" fmla="*/ 21594 w 1220122"/>
                  <a:gd name="connsiteY95" fmla="*/ 621841 h 1546623"/>
                  <a:gd name="connsiteX96" fmla="*/ 10641 w 1220122"/>
                  <a:gd name="connsiteY96" fmla="*/ 623746 h 1546623"/>
                  <a:gd name="connsiteX97" fmla="*/ 163 w 1220122"/>
                  <a:gd name="connsiteY97" fmla="*/ 612030 h 1546623"/>
                  <a:gd name="connsiteX98" fmla="*/ 6735 w 1220122"/>
                  <a:gd name="connsiteY98" fmla="*/ 597743 h 1546623"/>
                  <a:gd name="connsiteX99" fmla="*/ 718824 w 1220122"/>
                  <a:gd name="connsiteY99" fmla="*/ 141971 h 1546623"/>
                  <a:gd name="connsiteX100" fmla="*/ 423264 w 1220122"/>
                  <a:gd name="connsiteY100" fmla="*/ 325804 h 1546623"/>
                  <a:gd name="connsiteX101" fmla="*/ 48645 w 1220122"/>
                  <a:gd name="connsiteY101" fmla="*/ 540688 h 1546623"/>
                  <a:gd name="connsiteX102" fmla="*/ 37787 w 1220122"/>
                  <a:gd name="connsiteY102" fmla="*/ 532687 h 1546623"/>
                  <a:gd name="connsiteX103" fmla="*/ 117035 w 1220122"/>
                  <a:gd name="connsiteY103" fmla="*/ 450486 h 1546623"/>
                  <a:gd name="connsiteX104" fmla="*/ 66552 w 1220122"/>
                  <a:gd name="connsiteY104" fmla="*/ 462964 h 1546623"/>
                  <a:gd name="connsiteX105" fmla="*/ 53408 w 1220122"/>
                  <a:gd name="connsiteY105" fmla="*/ 453439 h 1546623"/>
                  <a:gd name="connsiteX106" fmla="*/ 58170 w 1220122"/>
                  <a:gd name="connsiteY106" fmla="*/ 434198 h 1546623"/>
                  <a:gd name="connsiteX107" fmla="*/ 592809 w 1220122"/>
                  <a:gd name="connsiteY107" fmla="*/ 78535 h 1546623"/>
                  <a:gd name="connsiteX108" fmla="*/ 233716 w 1220122"/>
                  <a:gd name="connsiteY108" fmla="*/ 297038 h 1546623"/>
                  <a:gd name="connsiteX109" fmla="*/ 48645 w 1220122"/>
                  <a:gd name="connsiteY109" fmla="*/ 405147 h 1546623"/>
                  <a:gd name="connsiteX110" fmla="*/ 39311 w 1220122"/>
                  <a:gd name="connsiteY110" fmla="*/ 398194 h 1546623"/>
                  <a:gd name="connsiteX111" fmla="*/ 190187 w 1220122"/>
                  <a:gd name="connsiteY111" fmla="*/ 259986 h 1546623"/>
                  <a:gd name="connsiteX112" fmla="*/ 127703 w 1220122"/>
                  <a:gd name="connsiteY112" fmla="*/ 300086 h 1546623"/>
                  <a:gd name="connsiteX113" fmla="*/ 114939 w 1220122"/>
                  <a:gd name="connsiteY113" fmla="*/ 303039 h 1546623"/>
                  <a:gd name="connsiteX114" fmla="*/ 105986 w 1220122"/>
                  <a:gd name="connsiteY114" fmla="*/ 296276 h 1546623"/>
                  <a:gd name="connsiteX115" fmla="*/ 226382 w 1220122"/>
                  <a:gd name="connsiteY115" fmla="*/ 174642 h 1546623"/>
                  <a:gd name="connsiteX116" fmla="*/ 216285 w 1220122"/>
                  <a:gd name="connsiteY116" fmla="*/ 167213 h 1546623"/>
                  <a:gd name="connsiteX117" fmla="*/ 221524 w 1220122"/>
                  <a:gd name="connsiteY117" fmla="*/ 147686 h 1546623"/>
                  <a:gd name="connsiteX118" fmla="*/ 230287 w 1220122"/>
                  <a:gd name="connsiteY118" fmla="*/ 145877 h 1546623"/>
                  <a:gd name="connsiteX119" fmla="*/ 274007 w 1220122"/>
                  <a:gd name="connsiteY119" fmla="*/ 117016 h 1546623"/>
                  <a:gd name="connsiteX120" fmla="*/ 344968 w 1220122"/>
                  <a:gd name="connsiteY120" fmla="*/ 79106 h 1546623"/>
                  <a:gd name="connsiteX121" fmla="*/ 355541 w 1220122"/>
                  <a:gd name="connsiteY121" fmla="*/ 86822 h 1546623"/>
                  <a:gd name="connsiteX122" fmla="*/ 279246 w 1220122"/>
                  <a:gd name="connsiteY122" fmla="*/ 170070 h 1546623"/>
                  <a:gd name="connsiteX123" fmla="*/ 345730 w 1220122"/>
                  <a:gd name="connsiteY123" fmla="*/ 129017 h 1546623"/>
                  <a:gd name="connsiteX124" fmla="*/ 593094 w 1220122"/>
                  <a:gd name="connsiteY124" fmla="*/ 716 h 1546623"/>
                  <a:gd name="connsiteX125" fmla="*/ 604048 w 1220122"/>
                  <a:gd name="connsiteY125" fmla="*/ 8717 h 1546623"/>
                  <a:gd name="connsiteX126" fmla="*/ 599286 w 1220122"/>
                  <a:gd name="connsiteY126" fmla="*/ 27957 h 1546623"/>
                  <a:gd name="connsiteX127" fmla="*/ 286675 w 1220122"/>
                  <a:gd name="connsiteY127" fmla="*/ 229220 h 1546623"/>
                  <a:gd name="connsiteX128" fmla="*/ 637862 w 1220122"/>
                  <a:gd name="connsiteY128" fmla="*/ 36625 h 1546623"/>
                  <a:gd name="connsiteX129" fmla="*/ 650149 w 1220122"/>
                  <a:gd name="connsiteY129" fmla="*/ 45578 h 1546623"/>
                  <a:gd name="connsiteX130" fmla="*/ 365161 w 1220122"/>
                  <a:gd name="connsiteY130" fmla="*/ 270749 h 1546623"/>
                  <a:gd name="connsiteX131" fmla="*/ 321918 w 1220122"/>
                  <a:gd name="connsiteY131" fmla="*/ 299039 h 1546623"/>
                  <a:gd name="connsiteX132" fmla="*/ 493653 w 1220122"/>
                  <a:gd name="connsiteY132" fmla="*/ 188644 h 1546623"/>
                  <a:gd name="connsiteX133" fmla="*/ 732350 w 1220122"/>
                  <a:gd name="connsiteY133" fmla="*/ 48531 h 1546623"/>
                  <a:gd name="connsiteX134" fmla="*/ 742161 w 1220122"/>
                  <a:gd name="connsiteY134" fmla="*/ 55865 h 1546623"/>
                  <a:gd name="connsiteX135" fmla="*/ 737493 w 1220122"/>
                  <a:gd name="connsiteY135" fmla="*/ 75106 h 1546623"/>
                  <a:gd name="connsiteX136" fmla="*/ 143895 w 1220122"/>
                  <a:gd name="connsiteY136" fmla="*/ 466774 h 1546623"/>
                  <a:gd name="connsiteX137" fmla="*/ 408119 w 1220122"/>
                  <a:gd name="connsiteY137" fmla="*/ 301706 h 1546623"/>
                  <a:gd name="connsiteX138" fmla="*/ 809788 w 1220122"/>
                  <a:gd name="connsiteY138" fmla="*/ 72248 h 1546623"/>
                  <a:gd name="connsiteX139" fmla="*/ 821028 w 1220122"/>
                  <a:gd name="connsiteY139" fmla="*/ 80535 h 1546623"/>
                  <a:gd name="connsiteX140" fmla="*/ 667389 w 1220122"/>
                  <a:gd name="connsiteY140" fmla="*/ 211790 h 1546623"/>
                  <a:gd name="connsiteX141" fmla="*/ 911420 w 1220122"/>
                  <a:gd name="connsiteY141" fmla="*/ 80154 h 1546623"/>
                  <a:gd name="connsiteX142" fmla="*/ 920278 w 1220122"/>
                  <a:gd name="connsiteY142" fmla="*/ 86917 h 1546623"/>
                  <a:gd name="connsiteX143" fmla="*/ 498606 w 1220122"/>
                  <a:gd name="connsiteY143" fmla="*/ 395336 h 1546623"/>
                  <a:gd name="connsiteX144" fmla="*/ 403642 w 1220122"/>
                  <a:gd name="connsiteY144" fmla="*/ 455820 h 1546623"/>
                  <a:gd name="connsiteX145" fmla="*/ 940185 w 1220122"/>
                  <a:gd name="connsiteY145" fmla="*/ 129494 h 1546623"/>
                  <a:gd name="connsiteX146" fmla="*/ 951234 w 1220122"/>
                  <a:gd name="connsiteY146" fmla="*/ 127779 h 1546623"/>
                  <a:gd name="connsiteX147" fmla="*/ 960188 w 1220122"/>
                  <a:gd name="connsiteY147" fmla="*/ 134447 h 1546623"/>
                  <a:gd name="connsiteX148" fmla="*/ 946472 w 1220122"/>
                  <a:gd name="connsiteY148" fmla="*/ 160640 h 1546623"/>
                  <a:gd name="connsiteX149" fmla="*/ 918183 w 1220122"/>
                  <a:gd name="connsiteY149" fmla="*/ 179881 h 1546623"/>
                  <a:gd name="connsiteX150" fmla="*/ 817027 w 1220122"/>
                  <a:gd name="connsiteY150" fmla="*/ 246365 h 1546623"/>
                  <a:gd name="connsiteX151" fmla="*/ 509179 w 1220122"/>
                  <a:gd name="connsiteY151" fmla="*/ 445438 h 1546623"/>
                  <a:gd name="connsiteX152" fmla="*/ 171042 w 1220122"/>
                  <a:gd name="connsiteY152" fmla="*/ 662703 h 1546623"/>
                  <a:gd name="connsiteX153" fmla="*/ 936375 w 1220122"/>
                  <a:gd name="connsiteY153" fmla="*/ 197978 h 1546623"/>
                  <a:gd name="connsiteX154" fmla="*/ 1004384 w 1220122"/>
                  <a:gd name="connsiteY154" fmla="*/ 160164 h 1546623"/>
                  <a:gd name="connsiteX155" fmla="*/ 1013337 w 1220122"/>
                  <a:gd name="connsiteY155" fmla="*/ 166927 h 1546623"/>
                  <a:gd name="connsiteX156" fmla="*/ 1007432 w 1220122"/>
                  <a:gd name="connsiteY156" fmla="*/ 186644 h 1546623"/>
                  <a:gd name="connsiteX157" fmla="*/ 1007432 w 1220122"/>
                  <a:gd name="connsiteY157" fmla="*/ 186644 h 1546623"/>
                  <a:gd name="connsiteX158" fmla="*/ 1006956 w 1220122"/>
                  <a:gd name="connsiteY158" fmla="*/ 187025 h 1546623"/>
                  <a:gd name="connsiteX159" fmla="*/ 867414 w 1220122"/>
                  <a:gd name="connsiteY159" fmla="*/ 281417 h 1546623"/>
                  <a:gd name="connsiteX160" fmla="*/ 1008765 w 1220122"/>
                  <a:gd name="connsiteY160" fmla="*/ 218838 h 1546623"/>
                  <a:gd name="connsiteX161" fmla="*/ 1019148 w 1220122"/>
                  <a:gd name="connsiteY161" fmla="*/ 226553 h 1546623"/>
                  <a:gd name="connsiteX162" fmla="*/ 1006479 w 1220122"/>
                  <a:gd name="connsiteY162" fmla="*/ 267606 h 1546623"/>
                  <a:gd name="connsiteX163" fmla="*/ 1029720 w 1220122"/>
                  <a:gd name="connsiteY163" fmla="*/ 265987 h 1546623"/>
                  <a:gd name="connsiteX164" fmla="*/ 1044675 w 1220122"/>
                  <a:gd name="connsiteY164" fmla="*/ 276655 h 1546623"/>
                  <a:gd name="connsiteX165" fmla="*/ 775974 w 1220122"/>
                  <a:gd name="connsiteY165" fmla="*/ 479918 h 1546623"/>
                  <a:gd name="connsiteX166" fmla="*/ 1085727 w 1220122"/>
                  <a:gd name="connsiteY166" fmla="*/ 309040 h 1546623"/>
                  <a:gd name="connsiteX167" fmla="*/ 1094490 w 1220122"/>
                  <a:gd name="connsiteY167" fmla="*/ 315707 h 1546623"/>
                  <a:gd name="connsiteX168" fmla="*/ 1045913 w 1220122"/>
                  <a:gd name="connsiteY168" fmla="*/ 377334 h 1546623"/>
                  <a:gd name="connsiteX169" fmla="*/ 932375 w 1220122"/>
                  <a:gd name="connsiteY169" fmla="*/ 453534 h 1546623"/>
                  <a:gd name="connsiteX170" fmla="*/ 1155450 w 1220122"/>
                  <a:gd name="connsiteY170" fmla="*/ 331805 h 1546623"/>
                  <a:gd name="connsiteX171" fmla="*/ 1165547 w 1220122"/>
                  <a:gd name="connsiteY171" fmla="*/ 339329 h 1546623"/>
                  <a:gd name="connsiteX172" fmla="*/ 1166976 w 1220122"/>
                  <a:gd name="connsiteY172" fmla="*/ 350188 h 1546623"/>
                  <a:gd name="connsiteX173" fmla="*/ 1160213 w 1220122"/>
                  <a:gd name="connsiteY173" fmla="*/ 358856 h 1546623"/>
                  <a:gd name="connsiteX174" fmla="*/ 868843 w 1220122"/>
                  <a:gd name="connsiteY174" fmla="*/ 527067 h 1546623"/>
                  <a:gd name="connsiteX175" fmla="*/ 769974 w 1220122"/>
                  <a:gd name="connsiteY175" fmla="*/ 589551 h 1546623"/>
                  <a:gd name="connsiteX176" fmla="*/ 334205 w 1220122"/>
                  <a:gd name="connsiteY176" fmla="*/ 859013 h 1546623"/>
                  <a:gd name="connsiteX177" fmla="*/ 254100 w 1220122"/>
                  <a:gd name="connsiteY177" fmla="*/ 916354 h 1546623"/>
                  <a:gd name="connsiteX178" fmla="*/ 644148 w 1220122"/>
                  <a:gd name="connsiteY178" fmla="*/ 686801 h 1546623"/>
                  <a:gd name="connsiteX179" fmla="*/ 1136686 w 1220122"/>
                  <a:gd name="connsiteY179" fmla="*/ 412386 h 1546623"/>
                  <a:gd name="connsiteX180" fmla="*/ 1145640 w 1220122"/>
                  <a:gd name="connsiteY180" fmla="*/ 419244 h 1546623"/>
                  <a:gd name="connsiteX181" fmla="*/ 1147449 w 1220122"/>
                  <a:gd name="connsiteY181" fmla="*/ 435437 h 1546623"/>
                  <a:gd name="connsiteX182" fmla="*/ 1131924 w 1220122"/>
                  <a:gd name="connsiteY182" fmla="*/ 459059 h 1546623"/>
                  <a:gd name="connsiteX183" fmla="*/ 1195170 w 1220122"/>
                  <a:gd name="connsiteY183" fmla="*/ 438580 h 1546623"/>
                  <a:gd name="connsiteX184" fmla="*/ 1207076 w 1220122"/>
                  <a:gd name="connsiteY184" fmla="*/ 447248 h 1546623"/>
                  <a:gd name="connsiteX185" fmla="*/ 1180501 w 1220122"/>
                  <a:gd name="connsiteY185" fmla="*/ 483062 h 1546623"/>
                  <a:gd name="connsiteX186" fmla="*/ 1116303 w 1220122"/>
                  <a:gd name="connsiteY186" fmla="*/ 523924 h 1546623"/>
                  <a:gd name="connsiteX187" fmla="*/ 1110683 w 1220122"/>
                  <a:gd name="connsiteY187" fmla="*/ 527448 h 1546623"/>
                  <a:gd name="connsiteX188" fmla="*/ 1201837 w 1220122"/>
                  <a:gd name="connsiteY188" fmla="*/ 500016 h 1546623"/>
                  <a:gd name="connsiteX189" fmla="*/ 1217268 w 1220122"/>
                  <a:gd name="connsiteY189" fmla="*/ 511065 h 1546623"/>
                  <a:gd name="connsiteX190" fmla="*/ 752543 w 1220122"/>
                  <a:gd name="connsiteY190" fmla="*/ 823104 h 1546623"/>
                  <a:gd name="connsiteX191" fmla="*/ 229811 w 1220122"/>
                  <a:gd name="connsiteY191" fmla="*/ 1147621 h 1546623"/>
                  <a:gd name="connsiteX192" fmla="*/ 605096 w 1220122"/>
                  <a:gd name="connsiteY192" fmla="*/ 942167 h 1546623"/>
                  <a:gd name="connsiteX193" fmla="*/ 1119827 w 1220122"/>
                  <a:gd name="connsiteY193" fmla="*/ 619174 h 1546623"/>
                  <a:gd name="connsiteX194" fmla="*/ 1197932 w 1220122"/>
                  <a:gd name="connsiteY194" fmla="*/ 574787 h 1546623"/>
                  <a:gd name="connsiteX195" fmla="*/ 1206885 w 1220122"/>
                  <a:gd name="connsiteY195" fmla="*/ 581550 h 1546623"/>
                  <a:gd name="connsiteX196" fmla="*/ 1140686 w 1220122"/>
                  <a:gd name="connsiteY196" fmla="*/ 660131 h 1546623"/>
                  <a:gd name="connsiteX197" fmla="*/ 1175929 w 1220122"/>
                  <a:gd name="connsiteY197" fmla="*/ 654035 h 1546623"/>
                  <a:gd name="connsiteX198" fmla="*/ 1188788 w 1220122"/>
                  <a:gd name="connsiteY198" fmla="*/ 663370 h 1546623"/>
                  <a:gd name="connsiteX199" fmla="*/ 1043055 w 1220122"/>
                  <a:gd name="connsiteY199" fmla="*/ 778813 h 1546623"/>
                  <a:gd name="connsiteX200" fmla="*/ 727683 w 1220122"/>
                  <a:gd name="connsiteY200" fmla="*/ 982934 h 1546623"/>
                  <a:gd name="connsiteX201" fmla="*/ 380687 w 1220122"/>
                  <a:gd name="connsiteY201" fmla="*/ 1205247 h 1546623"/>
                  <a:gd name="connsiteX202" fmla="*/ 1047342 w 1220122"/>
                  <a:gd name="connsiteY202" fmla="*/ 800053 h 1546623"/>
                  <a:gd name="connsiteX203" fmla="*/ 1187931 w 1220122"/>
                  <a:gd name="connsiteY203" fmla="*/ 717567 h 1546623"/>
                  <a:gd name="connsiteX204" fmla="*/ 1196979 w 1220122"/>
                  <a:gd name="connsiteY204" fmla="*/ 724330 h 1546623"/>
                  <a:gd name="connsiteX205" fmla="*/ 1128209 w 1220122"/>
                  <a:gd name="connsiteY205" fmla="*/ 813674 h 1546623"/>
                  <a:gd name="connsiteX206" fmla="*/ 1133733 w 1220122"/>
                  <a:gd name="connsiteY206" fmla="*/ 814055 h 1546623"/>
                  <a:gd name="connsiteX207" fmla="*/ 1144973 w 1220122"/>
                  <a:gd name="connsiteY207" fmla="*/ 822342 h 1546623"/>
                  <a:gd name="connsiteX208" fmla="*/ 743589 w 1220122"/>
                  <a:gd name="connsiteY208" fmla="*/ 1123999 h 1546623"/>
                  <a:gd name="connsiteX209" fmla="*/ 1093061 w 1220122"/>
                  <a:gd name="connsiteY209" fmla="*/ 903495 h 1546623"/>
                  <a:gd name="connsiteX210" fmla="*/ 1104206 w 1220122"/>
                  <a:gd name="connsiteY210" fmla="*/ 901590 h 1546623"/>
                  <a:gd name="connsiteX211" fmla="*/ 1113255 w 1220122"/>
                  <a:gd name="connsiteY211" fmla="*/ 908353 h 1546623"/>
                  <a:gd name="connsiteX212" fmla="*/ 1094586 w 1220122"/>
                  <a:gd name="connsiteY212" fmla="*/ 938833 h 1546623"/>
                  <a:gd name="connsiteX213" fmla="*/ 1051818 w 1220122"/>
                  <a:gd name="connsiteY213" fmla="*/ 968170 h 1546623"/>
                  <a:gd name="connsiteX214" fmla="*/ 981238 w 1220122"/>
                  <a:gd name="connsiteY214" fmla="*/ 1015033 h 1546623"/>
                  <a:gd name="connsiteX215" fmla="*/ 1057248 w 1220122"/>
                  <a:gd name="connsiteY215" fmla="*/ 989887 h 1546623"/>
                  <a:gd name="connsiteX216" fmla="*/ 1070107 w 1220122"/>
                  <a:gd name="connsiteY216" fmla="*/ 999221 h 1546623"/>
                  <a:gd name="connsiteX217" fmla="*/ 979905 w 1220122"/>
                  <a:gd name="connsiteY217" fmla="*/ 1080565 h 1546623"/>
                  <a:gd name="connsiteX218" fmla="*/ 1023815 w 1220122"/>
                  <a:gd name="connsiteY218" fmla="*/ 1070945 h 1546623"/>
                  <a:gd name="connsiteX219" fmla="*/ 1037721 w 1220122"/>
                  <a:gd name="connsiteY219" fmla="*/ 1080946 h 1546623"/>
                  <a:gd name="connsiteX220" fmla="*/ 782261 w 1220122"/>
                  <a:gd name="connsiteY220" fmla="*/ 1265255 h 1546623"/>
                  <a:gd name="connsiteX221" fmla="*/ 539945 w 1220122"/>
                  <a:gd name="connsiteY221" fmla="*/ 1414892 h 1546623"/>
                  <a:gd name="connsiteX222" fmla="*/ 1046770 w 1220122"/>
                  <a:gd name="connsiteY222" fmla="*/ 1122284 h 1546623"/>
                  <a:gd name="connsiteX223" fmla="*/ 1057629 w 1220122"/>
                  <a:gd name="connsiteY223" fmla="*/ 1120856 h 1546623"/>
                  <a:gd name="connsiteX224" fmla="*/ 1066296 w 1220122"/>
                  <a:gd name="connsiteY224" fmla="*/ 1127523 h 1546623"/>
                  <a:gd name="connsiteX225" fmla="*/ 1046770 w 1220122"/>
                  <a:gd name="connsiteY225" fmla="*/ 1159241 h 1546623"/>
                  <a:gd name="connsiteX226" fmla="*/ 1001907 w 1220122"/>
                  <a:gd name="connsiteY226" fmla="*/ 1190960 h 1546623"/>
                  <a:gd name="connsiteX227" fmla="*/ 856651 w 1220122"/>
                  <a:gd name="connsiteY227" fmla="*/ 1289829 h 1546623"/>
                  <a:gd name="connsiteX228" fmla="*/ 644529 w 1220122"/>
                  <a:gd name="connsiteY228" fmla="*/ 1434704 h 1546623"/>
                  <a:gd name="connsiteX229" fmla="*/ 735207 w 1220122"/>
                  <a:gd name="connsiteY229" fmla="*/ 1373649 h 1546623"/>
                  <a:gd name="connsiteX230" fmla="*/ 969046 w 1220122"/>
                  <a:gd name="connsiteY230" fmla="*/ 1238680 h 1546623"/>
                  <a:gd name="connsiteX231" fmla="*/ 981333 w 1220122"/>
                  <a:gd name="connsiteY231" fmla="*/ 1247538 h 1546623"/>
                  <a:gd name="connsiteX232" fmla="*/ 821028 w 1220122"/>
                  <a:gd name="connsiteY232" fmla="*/ 1385079 h 1546623"/>
                  <a:gd name="connsiteX233" fmla="*/ 1002002 w 1220122"/>
                  <a:gd name="connsiteY233" fmla="*/ 1284400 h 1546623"/>
                  <a:gd name="connsiteX234" fmla="*/ 1013337 w 1220122"/>
                  <a:gd name="connsiteY234" fmla="*/ 1292687 h 1546623"/>
                  <a:gd name="connsiteX235" fmla="*/ 934756 w 1220122"/>
                  <a:gd name="connsiteY235" fmla="*/ 1373935 h 1546623"/>
                  <a:gd name="connsiteX236" fmla="*/ 841125 w 1220122"/>
                  <a:gd name="connsiteY236" fmla="*/ 1450992 h 1546623"/>
                  <a:gd name="connsiteX237" fmla="*/ 923326 w 1220122"/>
                  <a:gd name="connsiteY237" fmla="*/ 1398891 h 1546623"/>
                  <a:gd name="connsiteX238" fmla="*/ 934470 w 1220122"/>
                  <a:gd name="connsiteY238" fmla="*/ 1396985 h 1546623"/>
                  <a:gd name="connsiteX239" fmla="*/ 943519 w 1220122"/>
                  <a:gd name="connsiteY239" fmla="*/ 1403748 h 1546623"/>
                  <a:gd name="connsiteX240" fmla="*/ 927327 w 1220122"/>
                  <a:gd name="connsiteY240" fmla="*/ 1436228 h 1546623"/>
                  <a:gd name="connsiteX241" fmla="*/ 886274 w 1220122"/>
                  <a:gd name="connsiteY241" fmla="*/ 1480996 h 1546623"/>
                  <a:gd name="connsiteX242" fmla="*/ 982000 w 1220122"/>
                  <a:gd name="connsiteY242" fmla="*/ 1431847 h 1546623"/>
                  <a:gd name="connsiteX243" fmla="*/ 990858 w 1220122"/>
                  <a:gd name="connsiteY243" fmla="*/ 1438610 h 1546623"/>
                  <a:gd name="connsiteX244" fmla="*/ 985619 w 1220122"/>
                  <a:gd name="connsiteY244" fmla="*/ 1458136 h 1546623"/>
                  <a:gd name="connsiteX245" fmla="*/ 981048 w 1220122"/>
                  <a:gd name="connsiteY245" fmla="*/ 1459850 h 1546623"/>
                  <a:gd name="connsiteX246" fmla="*/ 835982 w 1220122"/>
                  <a:gd name="connsiteY246" fmla="*/ 1544528 h 1546623"/>
                  <a:gd name="connsiteX247" fmla="*/ 828552 w 1220122"/>
                  <a:gd name="connsiteY247" fmla="*/ 1546623 h 1546623"/>
                  <a:gd name="connsiteX248" fmla="*/ 965331 w 1220122"/>
                  <a:gd name="connsiteY248" fmla="*/ 1452707 h 1546623"/>
                  <a:gd name="connsiteX249" fmla="*/ 971808 w 1220122"/>
                  <a:gd name="connsiteY249" fmla="*/ 1458517 h 1546623"/>
                  <a:gd name="connsiteX250" fmla="*/ 965331 w 1220122"/>
                  <a:gd name="connsiteY250" fmla="*/ 1452707 h 1546623"/>
                  <a:gd name="connsiteX251" fmla="*/ 613668 w 1220122"/>
                  <a:gd name="connsiteY251" fmla="*/ 1307260 h 1546623"/>
                  <a:gd name="connsiteX252" fmla="*/ 397641 w 1220122"/>
                  <a:gd name="connsiteY252" fmla="*/ 1446706 h 1546623"/>
                  <a:gd name="connsiteX253" fmla="*/ 613668 w 1220122"/>
                  <a:gd name="connsiteY253" fmla="*/ 1307260 h 1546623"/>
                  <a:gd name="connsiteX254" fmla="*/ 967903 w 1220122"/>
                  <a:gd name="connsiteY254" fmla="*/ 1053609 h 1546623"/>
                  <a:gd name="connsiteX255" fmla="*/ 608430 w 1220122"/>
                  <a:gd name="connsiteY255" fmla="*/ 1276970 h 1546623"/>
                  <a:gd name="connsiteX256" fmla="*/ 753686 w 1220122"/>
                  <a:gd name="connsiteY256" fmla="*/ 1187054 h 1546623"/>
                  <a:gd name="connsiteX257" fmla="*/ 967903 w 1220122"/>
                  <a:gd name="connsiteY257" fmla="*/ 1053609 h 1546623"/>
                  <a:gd name="connsiteX258" fmla="*/ 961807 w 1220122"/>
                  <a:gd name="connsiteY258" fmla="*/ 1120094 h 1546623"/>
                  <a:gd name="connsiteX259" fmla="*/ 758829 w 1220122"/>
                  <a:gd name="connsiteY259" fmla="*/ 1245347 h 1546623"/>
                  <a:gd name="connsiteX260" fmla="*/ 766735 w 1220122"/>
                  <a:gd name="connsiteY260" fmla="*/ 1240585 h 1546623"/>
                  <a:gd name="connsiteX261" fmla="*/ 961902 w 1220122"/>
                  <a:gd name="connsiteY261" fmla="*/ 1120094 h 1546623"/>
                  <a:gd name="connsiteX262" fmla="*/ 493368 w 1220122"/>
                  <a:gd name="connsiteY262" fmla="*/ 906353 h 1546623"/>
                  <a:gd name="connsiteX263" fmla="*/ 325537 w 1220122"/>
                  <a:gd name="connsiteY263" fmla="*/ 1014176 h 1546623"/>
                  <a:gd name="connsiteX264" fmla="*/ 493368 w 1220122"/>
                  <a:gd name="connsiteY264" fmla="*/ 906353 h 1546623"/>
                  <a:gd name="connsiteX265" fmla="*/ 1171452 w 1220122"/>
                  <a:gd name="connsiteY265" fmla="*/ 531639 h 1546623"/>
                  <a:gd name="connsiteX266" fmla="*/ 961331 w 1220122"/>
                  <a:gd name="connsiteY266" fmla="*/ 642320 h 1546623"/>
                  <a:gd name="connsiteX267" fmla="*/ 553851 w 1220122"/>
                  <a:gd name="connsiteY267" fmla="*/ 901114 h 1546623"/>
                  <a:gd name="connsiteX268" fmla="*/ 405357 w 1220122"/>
                  <a:gd name="connsiteY268" fmla="*/ 997221 h 1546623"/>
                  <a:gd name="connsiteX269" fmla="*/ 737208 w 1220122"/>
                  <a:gd name="connsiteY269" fmla="*/ 798244 h 1546623"/>
                  <a:gd name="connsiteX270" fmla="*/ 1171452 w 1220122"/>
                  <a:gd name="connsiteY270" fmla="*/ 531639 h 1546623"/>
                  <a:gd name="connsiteX271" fmla="*/ 1081917 w 1220122"/>
                  <a:gd name="connsiteY271" fmla="*/ 811198 h 1546623"/>
                  <a:gd name="connsiteX272" fmla="*/ 1061820 w 1220122"/>
                  <a:gd name="connsiteY272" fmla="*/ 823961 h 1546623"/>
                  <a:gd name="connsiteX273" fmla="*/ 872367 w 1220122"/>
                  <a:gd name="connsiteY273" fmla="*/ 943500 h 1546623"/>
                  <a:gd name="connsiteX274" fmla="*/ 1081917 w 1220122"/>
                  <a:gd name="connsiteY274" fmla="*/ 811198 h 1546623"/>
                  <a:gd name="connsiteX275" fmla="*/ 450219 w 1220122"/>
                  <a:gd name="connsiteY275" fmla="*/ 747571 h 1546623"/>
                  <a:gd name="connsiteX276" fmla="*/ 222191 w 1220122"/>
                  <a:gd name="connsiteY276" fmla="*/ 887969 h 1546623"/>
                  <a:gd name="connsiteX277" fmla="*/ 324013 w 1220122"/>
                  <a:gd name="connsiteY277" fmla="*/ 831105 h 1546623"/>
                  <a:gd name="connsiteX278" fmla="*/ 450315 w 1220122"/>
                  <a:gd name="connsiteY278" fmla="*/ 747571 h 1546623"/>
                  <a:gd name="connsiteX279" fmla="*/ 673962 w 1220122"/>
                  <a:gd name="connsiteY279" fmla="*/ 496016 h 1546623"/>
                  <a:gd name="connsiteX280" fmla="*/ 567567 w 1220122"/>
                  <a:gd name="connsiteY280" fmla="*/ 567167 h 1546623"/>
                  <a:gd name="connsiteX281" fmla="*/ 390307 w 1220122"/>
                  <a:gd name="connsiteY281" fmla="*/ 684992 h 1546623"/>
                  <a:gd name="connsiteX282" fmla="*/ 442790 w 1220122"/>
                  <a:gd name="connsiteY282" fmla="*/ 652607 h 1546623"/>
                  <a:gd name="connsiteX283" fmla="*/ 996002 w 1220122"/>
                  <a:gd name="connsiteY283" fmla="*/ 299610 h 1546623"/>
                  <a:gd name="connsiteX284" fmla="*/ 908086 w 1220122"/>
                  <a:gd name="connsiteY284" fmla="*/ 346092 h 1546623"/>
                  <a:gd name="connsiteX285" fmla="*/ 781594 w 1220122"/>
                  <a:gd name="connsiteY285" fmla="*/ 429245 h 1546623"/>
                  <a:gd name="connsiteX286" fmla="*/ 673771 w 1220122"/>
                  <a:gd name="connsiteY286" fmla="*/ 495825 h 1546623"/>
                  <a:gd name="connsiteX287" fmla="*/ 240479 w 1220122"/>
                  <a:gd name="connsiteY287" fmla="*/ 152830 h 1546623"/>
                  <a:gd name="connsiteX288" fmla="*/ 240479 w 1220122"/>
                  <a:gd name="connsiteY288" fmla="*/ 152830 h 1546623"/>
                  <a:gd name="connsiteX289" fmla="*/ 240479 w 1220122"/>
                  <a:gd name="connsiteY289" fmla="*/ 152830 h 154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</a:cxnLst>
                <a:rect l="l" t="t" r="r" b="b"/>
                <a:pathLst>
                  <a:path w="1220122" h="1546623">
                    <a:moveTo>
                      <a:pt x="827886" y="1546337"/>
                    </a:moveTo>
                    <a:cubicBezTo>
                      <a:pt x="826743" y="1546337"/>
                      <a:pt x="825504" y="1546147"/>
                      <a:pt x="824361" y="1545861"/>
                    </a:cubicBezTo>
                    <a:cubicBezTo>
                      <a:pt x="820647" y="1544909"/>
                      <a:pt x="817503" y="1542527"/>
                      <a:pt x="815598" y="1539194"/>
                    </a:cubicBezTo>
                    <a:cubicBezTo>
                      <a:pt x="810550" y="1530526"/>
                      <a:pt x="807978" y="1525954"/>
                      <a:pt x="848174" y="1479853"/>
                    </a:cubicBezTo>
                    <a:cubicBezTo>
                      <a:pt x="761496" y="1532907"/>
                      <a:pt x="752257" y="1530716"/>
                      <a:pt x="747209" y="1529478"/>
                    </a:cubicBezTo>
                    <a:cubicBezTo>
                      <a:pt x="743399" y="1528526"/>
                      <a:pt x="739303" y="1525573"/>
                      <a:pt x="737398" y="1522239"/>
                    </a:cubicBezTo>
                    <a:cubicBezTo>
                      <a:pt x="729397" y="1508428"/>
                      <a:pt x="727873" y="1505666"/>
                      <a:pt x="888274" y="1374411"/>
                    </a:cubicBezTo>
                    <a:cubicBezTo>
                      <a:pt x="862557" y="1391175"/>
                      <a:pt x="835791" y="1408987"/>
                      <a:pt x="811979" y="1424894"/>
                    </a:cubicBezTo>
                    <a:cubicBezTo>
                      <a:pt x="670723" y="1519096"/>
                      <a:pt x="626908" y="1545861"/>
                      <a:pt x="607477" y="1541289"/>
                    </a:cubicBezTo>
                    <a:cubicBezTo>
                      <a:pt x="602619" y="1540146"/>
                      <a:pt x="598619" y="1537193"/>
                      <a:pt x="596142" y="1533098"/>
                    </a:cubicBezTo>
                    <a:cubicBezTo>
                      <a:pt x="590427" y="1523192"/>
                      <a:pt x="650625" y="1472582"/>
                      <a:pt x="776736" y="1381269"/>
                    </a:cubicBezTo>
                    <a:cubicBezTo>
                      <a:pt x="788928" y="1372506"/>
                      <a:pt x="801501" y="1363362"/>
                      <a:pt x="814170" y="1354123"/>
                    </a:cubicBezTo>
                    <a:cubicBezTo>
                      <a:pt x="792357" y="1368791"/>
                      <a:pt x="770545" y="1383650"/>
                      <a:pt x="750543" y="1397176"/>
                    </a:cubicBezTo>
                    <a:cubicBezTo>
                      <a:pt x="601381" y="1498617"/>
                      <a:pt x="533373" y="1542432"/>
                      <a:pt x="507941" y="1536717"/>
                    </a:cubicBezTo>
                    <a:cubicBezTo>
                      <a:pt x="502512" y="1535479"/>
                      <a:pt x="498035" y="1532241"/>
                      <a:pt x="495368" y="1527668"/>
                    </a:cubicBezTo>
                    <a:cubicBezTo>
                      <a:pt x="486033" y="1511571"/>
                      <a:pt x="484033" y="1507952"/>
                      <a:pt x="759687" y="1320690"/>
                    </a:cubicBezTo>
                    <a:lnTo>
                      <a:pt x="397165" y="1529954"/>
                    </a:lnTo>
                    <a:cubicBezTo>
                      <a:pt x="390307" y="1533955"/>
                      <a:pt x="381639" y="1531574"/>
                      <a:pt x="377639" y="1524716"/>
                    </a:cubicBezTo>
                    <a:cubicBezTo>
                      <a:pt x="371257" y="1513667"/>
                      <a:pt x="376305" y="1500141"/>
                      <a:pt x="402499" y="1476995"/>
                    </a:cubicBezTo>
                    <a:cubicBezTo>
                      <a:pt x="360780" y="1500999"/>
                      <a:pt x="336491" y="1510619"/>
                      <a:pt x="324585" y="1507856"/>
                    </a:cubicBezTo>
                    <a:cubicBezTo>
                      <a:pt x="319441" y="1506618"/>
                      <a:pt x="315155" y="1503570"/>
                      <a:pt x="312583" y="1499189"/>
                    </a:cubicBezTo>
                    <a:cubicBezTo>
                      <a:pt x="304677" y="1485568"/>
                      <a:pt x="307725" y="1472804"/>
                      <a:pt x="408595" y="1404986"/>
                    </a:cubicBezTo>
                    <a:cubicBezTo>
                      <a:pt x="304487" y="1470042"/>
                      <a:pt x="266196" y="1489283"/>
                      <a:pt x="251242" y="1485663"/>
                    </a:cubicBezTo>
                    <a:cubicBezTo>
                      <a:pt x="246575" y="1484520"/>
                      <a:pt x="242860" y="1481758"/>
                      <a:pt x="240574" y="1477758"/>
                    </a:cubicBezTo>
                    <a:cubicBezTo>
                      <a:pt x="233621" y="1465756"/>
                      <a:pt x="240098" y="1461565"/>
                      <a:pt x="264006" y="1445753"/>
                    </a:cubicBezTo>
                    <a:cubicBezTo>
                      <a:pt x="276388" y="1437657"/>
                      <a:pt x="294390" y="1425846"/>
                      <a:pt x="316679" y="1411368"/>
                    </a:cubicBezTo>
                    <a:cubicBezTo>
                      <a:pt x="339444" y="1396604"/>
                      <a:pt x="366685" y="1378983"/>
                      <a:pt x="397165" y="1359266"/>
                    </a:cubicBezTo>
                    <a:cubicBezTo>
                      <a:pt x="308392" y="1405367"/>
                      <a:pt x="295057" y="1402224"/>
                      <a:pt x="287723" y="1400414"/>
                    </a:cubicBezTo>
                    <a:cubicBezTo>
                      <a:pt x="282484" y="1399176"/>
                      <a:pt x="278103" y="1396033"/>
                      <a:pt x="275626" y="1391651"/>
                    </a:cubicBezTo>
                    <a:cubicBezTo>
                      <a:pt x="271721" y="1384889"/>
                      <a:pt x="274007" y="1376221"/>
                      <a:pt x="280674" y="1372220"/>
                    </a:cubicBezTo>
                    <a:cubicBezTo>
                      <a:pt x="560233" y="1206581"/>
                      <a:pt x="991811" y="940643"/>
                      <a:pt x="1095919" y="852727"/>
                    </a:cubicBezTo>
                    <a:cubicBezTo>
                      <a:pt x="992097" y="899876"/>
                      <a:pt x="682058" y="1092566"/>
                      <a:pt x="504988" y="1202580"/>
                    </a:cubicBezTo>
                    <a:cubicBezTo>
                      <a:pt x="277436" y="1343931"/>
                      <a:pt x="276388" y="1343645"/>
                      <a:pt x="266673" y="1341264"/>
                    </a:cubicBezTo>
                    <a:cubicBezTo>
                      <a:pt x="262958" y="1340312"/>
                      <a:pt x="259529" y="1337740"/>
                      <a:pt x="257624" y="1334406"/>
                    </a:cubicBezTo>
                    <a:cubicBezTo>
                      <a:pt x="249909" y="1320976"/>
                      <a:pt x="250290" y="1312499"/>
                      <a:pt x="341349" y="1256016"/>
                    </a:cubicBezTo>
                    <a:cubicBezTo>
                      <a:pt x="299534" y="1275732"/>
                      <a:pt x="271816" y="1284686"/>
                      <a:pt x="259624" y="1281733"/>
                    </a:cubicBezTo>
                    <a:cubicBezTo>
                      <a:pt x="254004" y="1280399"/>
                      <a:pt x="249528" y="1277066"/>
                      <a:pt x="246861" y="1272494"/>
                    </a:cubicBezTo>
                    <a:cubicBezTo>
                      <a:pt x="243051" y="1265826"/>
                      <a:pt x="245146" y="1257444"/>
                      <a:pt x="251528" y="1253253"/>
                    </a:cubicBezTo>
                    <a:cubicBezTo>
                      <a:pt x="533658" y="1073516"/>
                      <a:pt x="930565" y="819103"/>
                      <a:pt x="1092490" y="711471"/>
                    </a:cubicBezTo>
                    <a:cubicBezTo>
                      <a:pt x="1047532" y="734426"/>
                      <a:pt x="986953" y="768907"/>
                      <a:pt x="919707" y="808912"/>
                    </a:cubicBezTo>
                    <a:cubicBezTo>
                      <a:pt x="865319" y="843869"/>
                      <a:pt x="800835" y="884636"/>
                      <a:pt x="724539" y="932070"/>
                    </a:cubicBezTo>
                    <a:cubicBezTo>
                      <a:pt x="623670" y="994840"/>
                      <a:pt x="521847" y="1057038"/>
                      <a:pt x="436980" y="1108473"/>
                    </a:cubicBezTo>
                    <a:cubicBezTo>
                      <a:pt x="232002" y="1237727"/>
                      <a:pt x="229525" y="1237156"/>
                      <a:pt x="219524" y="1234775"/>
                    </a:cubicBezTo>
                    <a:cubicBezTo>
                      <a:pt x="215714" y="1233822"/>
                      <a:pt x="212190" y="1231250"/>
                      <a:pt x="210285" y="1227821"/>
                    </a:cubicBezTo>
                    <a:cubicBezTo>
                      <a:pt x="206379" y="1221059"/>
                      <a:pt x="208665" y="1212391"/>
                      <a:pt x="215333" y="1208391"/>
                    </a:cubicBezTo>
                    <a:cubicBezTo>
                      <a:pt x="277055" y="1171719"/>
                      <a:pt x="345254" y="1130762"/>
                      <a:pt x="415929" y="1087994"/>
                    </a:cubicBezTo>
                    <a:cubicBezTo>
                      <a:pt x="428121" y="1080279"/>
                      <a:pt x="440504" y="1072469"/>
                      <a:pt x="453077" y="1064563"/>
                    </a:cubicBezTo>
                    <a:cubicBezTo>
                      <a:pt x="305058" y="1149240"/>
                      <a:pt x="223239" y="1186292"/>
                      <a:pt x="199140" y="1180387"/>
                    </a:cubicBezTo>
                    <a:cubicBezTo>
                      <a:pt x="191616" y="1178577"/>
                      <a:pt x="187615" y="1174100"/>
                      <a:pt x="185710" y="1170671"/>
                    </a:cubicBezTo>
                    <a:cubicBezTo>
                      <a:pt x="176852" y="1155336"/>
                      <a:pt x="189520" y="1136000"/>
                      <a:pt x="293819" y="1067706"/>
                    </a:cubicBezTo>
                    <a:cubicBezTo>
                      <a:pt x="226477" y="1108759"/>
                      <a:pt x="199807" y="1121046"/>
                      <a:pt x="188472" y="1118189"/>
                    </a:cubicBezTo>
                    <a:cubicBezTo>
                      <a:pt x="183996" y="1117141"/>
                      <a:pt x="180281" y="1114379"/>
                      <a:pt x="178090" y="1110569"/>
                    </a:cubicBezTo>
                    <a:cubicBezTo>
                      <a:pt x="172089" y="1100186"/>
                      <a:pt x="167232" y="1091709"/>
                      <a:pt x="236955" y="1040941"/>
                    </a:cubicBezTo>
                    <a:cubicBezTo>
                      <a:pt x="199426" y="1059800"/>
                      <a:pt x="175709" y="1067706"/>
                      <a:pt x="164279" y="1064944"/>
                    </a:cubicBezTo>
                    <a:cubicBezTo>
                      <a:pt x="158850" y="1063610"/>
                      <a:pt x="154468" y="1060467"/>
                      <a:pt x="151896" y="1055895"/>
                    </a:cubicBezTo>
                    <a:cubicBezTo>
                      <a:pt x="149991" y="1052561"/>
                      <a:pt x="149515" y="1048656"/>
                      <a:pt x="150468" y="1045037"/>
                    </a:cubicBezTo>
                    <a:cubicBezTo>
                      <a:pt x="151420" y="1041322"/>
                      <a:pt x="153897" y="1038274"/>
                      <a:pt x="157230" y="1036369"/>
                    </a:cubicBezTo>
                    <a:cubicBezTo>
                      <a:pt x="466317" y="860633"/>
                      <a:pt x="934280" y="582312"/>
                      <a:pt x="1076869" y="470012"/>
                    </a:cubicBezTo>
                    <a:cubicBezTo>
                      <a:pt x="920564" y="556309"/>
                      <a:pt x="489653" y="809293"/>
                      <a:pt x="188949" y="987601"/>
                    </a:cubicBezTo>
                    <a:cubicBezTo>
                      <a:pt x="185615" y="989506"/>
                      <a:pt x="181710" y="990077"/>
                      <a:pt x="178090" y="989125"/>
                    </a:cubicBezTo>
                    <a:cubicBezTo>
                      <a:pt x="174375" y="988172"/>
                      <a:pt x="171232" y="985791"/>
                      <a:pt x="169327" y="982457"/>
                    </a:cubicBezTo>
                    <a:cubicBezTo>
                      <a:pt x="167327" y="978933"/>
                      <a:pt x="165327" y="973123"/>
                      <a:pt x="167517" y="965122"/>
                    </a:cubicBezTo>
                    <a:cubicBezTo>
                      <a:pt x="169613" y="957407"/>
                      <a:pt x="177804" y="946834"/>
                      <a:pt x="191044" y="933880"/>
                    </a:cubicBezTo>
                    <a:cubicBezTo>
                      <a:pt x="168851" y="942928"/>
                      <a:pt x="153992" y="946262"/>
                      <a:pt x="145515" y="944167"/>
                    </a:cubicBezTo>
                    <a:cubicBezTo>
                      <a:pt x="139990" y="942833"/>
                      <a:pt x="135609" y="939595"/>
                      <a:pt x="132942" y="935023"/>
                    </a:cubicBezTo>
                    <a:cubicBezTo>
                      <a:pt x="124369" y="920259"/>
                      <a:pt x="140752" y="908829"/>
                      <a:pt x="165517" y="891684"/>
                    </a:cubicBezTo>
                    <a:cubicBezTo>
                      <a:pt x="184091" y="878730"/>
                      <a:pt x="211428" y="861014"/>
                      <a:pt x="249242" y="837392"/>
                    </a:cubicBezTo>
                    <a:cubicBezTo>
                      <a:pt x="319632" y="793386"/>
                      <a:pt x="416215" y="735093"/>
                      <a:pt x="518514" y="673371"/>
                    </a:cubicBezTo>
                    <a:cubicBezTo>
                      <a:pt x="633480" y="604029"/>
                      <a:pt x="770069" y="521638"/>
                      <a:pt x="878559" y="453439"/>
                    </a:cubicBezTo>
                    <a:cubicBezTo>
                      <a:pt x="646530" y="587170"/>
                      <a:pt x="280865" y="800339"/>
                      <a:pt x="105319" y="903019"/>
                    </a:cubicBezTo>
                    <a:cubicBezTo>
                      <a:pt x="101985" y="904924"/>
                      <a:pt x="98080" y="905400"/>
                      <a:pt x="94461" y="904543"/>
                    </a:cubicBezTo>
                    <a:cubicBezTo>
                      <a:pt x="90746" y="903590"/>
                      <a:pt x="87603" y="901209"/>
                      <a:pt x="85793" y="897875"/>
                    </a:cubicBezTo>
                    <a:cubicBezTo>
                      <a:pt x="78459" y="885112"/>
                      <a:pt x="76173" y="881302"/>
                      <a:pt x="202474" y="801959"/>
                    </a:cubicBezTo>
                    <a:cubicBezTo>
                      <a:pt x="153039" y="829105"/>
                      <a:pt x="121797" y="840820"/>
                      <a:pt x="105891" y="837106"/>
                    </a:cubicBezTo>
                    <a:cubicBezTo>
                      <a:pt x="97794" y="835201"/>
                      <a:pt x="93508" y="830438"/>
                      <a:pt x="91413" y="826724"/>
                    </a:cubicBezTo>
                    <a:cubicBezTo>
                      <a:pt x="85126" y="815802"/>
                      <a:pt x="158342" y="765986"/>
                      <a:pt x="311059" y="677276"/>
                    </a:cubicBezTo>
                    <a:cubicBezTo>
                      <a:pt x="417072" y="615650"/>
                      <a:pt x="543564" y="542212"/>
                      <a:pt x="659960" y="471536"/>
                    </a:cubicBezTo>
                    <a:cubicBezTo>
                      <a:pt x="757686" y="406576"/>
                      <a:pt x="834172" y="357141"/>
                      <a:pt x="892179" y="322946"/>
                    </a:cubicBezTo>
                    <a:cubicBezTo>
                      <a:pt x="939900" y="289609"/>
                      <a:pt x="965236" y="268749"/>
                      <a:pt x="978571" y="255700"/>
                    </a:cubicBezTo>
                    <a:cubicBezTo>
                      <a:pt x="859604" y="309135"/>
                      <a:pt x="389831" y="593171"/>
                      <a:pt x="92365" y="777956"/>
                    </a:cubicBezTo>
                    <a:cubicBezTo>
                      <a:pt x="85698" y="782051"/>
                      <a:pt x="76935" y="780051"/>
                      <a:pt x="72744" y="773384"/>
                    </a:cubicBezTo>
                    <a:cubicBezTo>
                      <a:pt x="68553" y="766716"/>
                      <a:pt x="70553" y="757953"/>
                      <a:pt x="77220" y="753762"/>
                    </a:cubicBezTo>
                    <a:cubicBezTo>
                      <a:pt x="106843" y="734998"/>
                      <a:pt x="137704" y="715281"/>
                      <a:pt x="169422" y="695088"/>
                    </a:cubicBezTo>
                    <a:cubicBezTo>
                      <a:pt x="92841" y="734236"/>
                      <a:pt x="64933" y="740808"/>
                      <a:pt x="52932" y="737760"/>
                    </a:cubicBezTo>
                    <a:cubicBezTo>
                      <a:pt x="47407" y="736427"/>
                      <a:pt x="42835" y="733188"/>
                      <a:pt x="40263" y="728616"/>
                    </a:cubicBezTo>
                    <a:cubicBezTo>
                      <a:pt x="36453" y="722044"/>
                      <a:pt x="38454" y="713567"/>
                      <a:pt x="44931" y="709471"/>
                    </a:cubicBezTo>
                    <a:cubicBezTo>
                      <a:pt x="97509" y="675848"/>
                      <a:pt x="168565" y="630223"/>
                      <a:pt x="247908" y="579359"/>
                    </a:cubicBezTo>
                    <a:cubicBezTo>
                      <a:pt x="81983" y="673085"/>
                      <a:pt x="68648" y="669752"/>
                      <a:pt x="60361" y="667656"/>
                    </a:cubicBezTo>
                    <a:cubicBezTo>
                      <a:pt x="55884" y="666513"/>
                      <a:pt x="52170" y="663751"/>
                      <a:pt x="49979" y="659941"/>
                    </a:cubicBezTo>
                    <a:cubicBezTo>
                      <a:pt x="46074" y="653273"/>
                      <a:pt x="48264" y="644701"/>
                      <a:pt x="54837" y="640605"/>
                    </a:cubicBezTo>
                    <a:cubicBezTo>
                      <a:pt x="268768" y="508303"/>
                      <a:pt x="572711" y="316374"/>
                      <a:pt x="750447" y="196740"/>
                    </a:cubicBezTo>
                    <a:cubicBezTo>
                      <a:pt x="607096" y="279322"/>
                      <a:pt x="398213" y="402004"/>
                      <a:pt x="250956" y="488491"/>
                    </a:cubicBezTo>
                    <a:cubicBezTo>
                      <a:pt x="185710" y="526781"/>
                      <a:pt x="128560" y="560309"/>
                      <a:pt x="87698" y="584312"/>
                    </a:cubicBezTo>
                    <a:cubicBezTo>
                      <a:pt x="51312" y="605553"/>
                      <a:pt x="33691" y="615840"/>
                      <a:pt x="24261" y="620603"/>
                    </a:cubicBezTo>
                    <a:cubicBezTo>
                      <a:pt x="22737" y="621555"/>
                      <a:pt x="21880" y="622127"/>
                      <a:pt x="21785" y="622127"/>
                    </a:cubicBezTo>
                    <a:lnTo>
                      <a:pt x="21594" y="621841"/>
                    </a:lnTo>
                    <a:cubicBezTo>
                      <a:pt x="15022" y="624889"/>
                      <a:pt x="13403" y="624508"/>
                      <a:pt x="10641" y="623746"/>
                    </a:cubicBezTo>
                    <a:cubicBezTo>
                      <a:pt x="5116" y="622317"/>
                      <a:pt x="1020" y="617650"/>
                      <a:pt x="163" y="612030"/>
                    </a:cubicBezTo>
                    <a:cubicBezTo>
                      <a:pt x="-694" y="606410"/>
                      <a:pt x="1878" y="600791"/>
                      <a:pt x="6735" y="597743"/>
                    </a:cubicBezTo>
                    <a:cubicBezTo>
                      <a:pt x="233621" y="457535"/>
                      <a:pt x="568710" y="245984"/>
                      <a:pt x="718824" y="141971"/>
                    </a:cubicBezTo>
                    <a:cubicBezTo>
                      <a:pt x="638910" y="188168"/>
                      <a:pt x="519561" y="264368"/>
                      <a:pt x="423264" y="325804"/>
                    </a:cubicBezTo>
                    <a:cubicBezTo>
                      <a:pt x="154087" y="497444"/>
                      <a:pt x="72267" y="546593"/>
                      <a:pt x="48645" y="540688"/>
                    </a:cubicBezTo>
                    <a:cubicBezTo>
                      <a:pt x="43978" y="539545"/>
                      <a:pt x="40073" y="536687"/>
                      <a:pt x="37787" y="532687"/>
                    </a:cubicBezTo>
                    <a:cubicBezTo>
                      <a:pt x="31786" y="522400"/>
                      <a:pt x="27595" y="514970"/>
                      <a:pt x="117035" y="450486"/>
                    </a:cubicBezTo>
                    <a:cubicBezTo>
                      <a:pt x="92651" y="461249"/>
                      <a:pt x="76173" y="465345"/>
                      <a:pt x="66552" y="462964"/>
                    </a:cubicBezTo>
                    <a:cubicBezTo>
                      <a:pt x="60837" y="461630"/>
                      <a:pt x="56170" y="458201"/>
                      <a:pt x="53408" y="453439"/>
                    </a:cubicBezTo>
                    <a:cubicBezTo>
                      <a:pt x="49598" y="446771"/>
                      <a:pt x="51693" y="438294"/>
                      <a:pt x="58170" y="434198"/>
                    </a:cubicBezTo>
                    <a:cubicBezTo>
                      <a:pt x="233907" y="323613"/>
                      <a:pt x="500988" y="150258"/>
                      <a:pt x="592809" y="78535"/>
                    </a:cubicBezTo>
                    <a:cubicBezTo>
                      <a:pt x="512418" y="117873"/>
                      <a:pt x="337062" y="230649"/>
                      <a:pt x="233716" y="297038"/>
                    </a:cubicBezTo>
                    <a:cubicBezTo>
                      <a:pt x="65695" y="405052"/>
                      <a:pt x="59218" y="407719"/>
                      <a:pt x="48645" y="405147"/>
                    </a:cubicBezTo>
                    <a:cubicBezTo>
                      <a:pt x="44835" y="404195"/>
                      <a:pt x="41216" y="401528"/>
                      <a:pt x="39311" y="398194"/>
                    </a:cubicBezTo>
                    <a:cubicBezTo>
                      <a:pt x="31786" y="385145"/>
                      <a:pt x="25119" y="373524"/>
                      <a:pt x="190187" y="259986"/>
                    </a:cubicBezTo>
                    <a:cubicBezTo>
                      <a:pt x="169803" y="272940"/>
                      <a:pt x="148944" y="286370"/>
                      <a:pt x="127703" y="300086"/>
                    </a:cubicBezTo>
                    <a:cubicBezTo>
                      <a:pt x="124845" y="301991"/>
                      <a:pt x="120940" y="304468"/>
                      <a:pt x="114939" y="303039"/>
                    </a:cubicBezTo>
                    <a:cubicBezTo>
                      <a:pt x="111129" y="302087"/>
                      <a:pt x="107891" y="299705"/>
                      <a:pt x="105986" y="296276"/>
                    </a:cubicBezTo>
                    <a:cubicBezTo>
                      <a:pt x="95794" y="278655"/>
                      <a:pt x="110463" y="263510"/>
                      <a:pt x="226382" y="174642"/>
                    </a:cubicBezTo>
                    <a:cubicBezTo>
                      <a:pt x="222000" y="173690"/>
                      <a:pt x="218476" y="171023"/>
                      <a:pt x="216285" y="167213"/>
                    </a:cubicBezTo>
                    <a:cubicBezTo>
                      <a:pt x="212380" y="160355"/>
                      <a:pt x="214666" y="151687"/>
                      <a:pt x="221524" y="147686"/>
                    </a:cubicBezTo>
                    <a:cubicBezTo>
                      <a:pt x="224286" y="146067"/>
                      <a:pt x="227334" y="145496"/>
                      <a:pt x="230287" y="145877"/>
                    </a:cubicBezTo>
                    <a:cubicBezTo>
                      <a:pt x="238574" y="141971"/>
                      <a:pt x="259624" y="127112"/>
                      <a:pt x="274007" y="117016"/>
                    </a:cubicBezTo>
                    <a:cubicBezTo>
                      <a:pt x="320394" y="84440"/>
                      <a:pt x="333633" y="76535"/>
                      <a:pt x="344968" y="79106"/>
                    </a:cubicBezTo>
                    <a:cubicBezTo>
                      <a:pt x="349540" y="80154"/>
                      <a:pt x="353255" y="82821"/>
                      <a:pt x="355541" y="86822"/>
                    </a:cubicBezTo>
                    <a:cubicBezTo>
                      <a:pt x="363732" y="101109"/>
                      <a:pt x="357446" y="109682"/>
                      <a:pt x="279246" y="170070"/>
                    </a:cubicBezTo>
                    <a:cubicBezTo>
                      <a:pt x="300867" y="156545"/>
                      <a:pt x="323346" y="142733"/>
                      <a:pt x="345730" y="129017"/>
                    </a:cubicBezTo>
                    <a:cubicBezTo>
                      <a:pt x="565948" y="-5761"/>
                      <a:pt x="582998" y="-1666"/>
                      <a:pt x="593094" y="716"/>
                    </a:cubicBezTo>
                    <a:cubicBezTo>
                      <a:pt x="597857" y="1859"/>
                      <a:pt x="601667" y="4716"/>
                      <a:pt x="604048" y="8717"/>
                    </a:cubicBezTo>
                    <a:cubicBezTo>
                      <a:pt x="607858" y="15384"/>
                      <a:pt x="605763" y="23861"/>
                      <a:pt x="599286" y="27957"/>
                    </a:cubicBezTo>
                    <a:cubicBezTo>
                      <a:pt x="491844" y="95013"/>
                      <a:pt x="380115" y="166927"/>
                      <a:pt x="286675" y="229220"/>
                    </a:cubicBezTo>
                    <a:cubicBezTo>
                      <a:pt x="504036" y="90441"/>
                      <a:pt x="608525" y="29576"/>
                      <a:pt x="637862" y="36625"/>
                    </a:cubicBezTo>
                    <a:cubicBezTo>
                      <a:pt x="643196" y="37958"/>
                      <a:pt x="647577" y="41102"/>
                      <a:pt x="650149" y="45578"/>
                    </a:cubicBezTo>
                    <a:cubicBezTo>
                      <a:pt x="659293" y="61390"/>
                      <a:pt x="665865" y="72725"/>
                      <a:pt x="365161" y="270749"/>
                    </a:cubicBezTo>
                    <a:cubicBezTo>
                      <a:pt x="350778" y="280274"/>
                      <a:pt x="336300" y="289704"/>
                      <a:pt x="321918" y="299039"/>
                    </a:cubicBezTo>
                    <a:cubicBezTo>
                      <a:pt x="382401" y="260843"/>
                      <a:pt x="443838" y="221029"/>
                      <a:pt x="493653" y="188644"/>
                    </a:cubicBezTo>
                    <a:cubicBezTo>
                      <a:pt x="686630" y="63390"/>
                      <a:pt x="717777" y="45102"/>
                      <a:pt x="732350" y="48531"/>
                    </a:cubicBezTo>
                    <a:cubicBezTo>
                      <a:pt x="736541" y="49579"/>
                      <a:pt x="740065" y="52151"/>
                      <a:pt x="742161" y="55865"/>
                    </a:cubicBezTo>
                    <a:cubicBezTo>
                      <a:pt x="745971" y="62533"/>
                      <a:pt x="743875" y="70915"/>
                      <a:pt x="737493" y="75106"/>
                    </a:cubicBezTo>
                    <a:cubicBezTo>
                      <a:pt x="550994" y="193978"/>
                      <a:pt x="278579" y="371333"/>
                      <a:pt x="143895" y="466774"/>
                    </a:cubicBezTo>
                    <a:cubicBezTo>
                      <a:pt x="216190" y="424102"/>
                      <a:pt x="318870" y="358570"/>
                      <a:pt x="408119" y="301706"/>
                    </a:cubicBezTo>
                    <a:cubicBezTo>
                      <a:pt x="691392" y="121112"/>
                      <a:pt x="783690" y="65962"/>
                      <a:pt x="809788" y="72248"/>
                    </a:cubicBezTo>
                    <a:cubicBezTo>
                      <a:pt x="814646" y="73391"/>
                      <a:pt x="818646" y="76344"/>
                      <a:pt x="821028" y="80535"/>
                    </a:cubicBezTo>
                    <a:cubicBezTo>
                      <a:pt x="828076" y="92632"/>
                      <a:pt x="833029" y="101204"/>
                      <a:pt x="667389" y="211790"/>
                    </a:cubicBezTo>
                    <a:cubicBezTo>
                      <a:pt x="899514" y="77106"/>
                      <a:pt x="903990" y="78154"/>
                      <a:pt x="911420" y="80154"/>
                    </a:cubicBezTo>
                    <a:cubicBezTo>
                      <a:pt x="915135" y="81107"/>
                      <a:pt x="918373" y="83583"/>
                      <a:pt x="920278" y="86917"/>
                    </a:cubicBezTo>
                    <a:cubicBezTo>
                      <a:pt x="929803" y="103395"/>
                      <a:pt x="936661" y="115301"/>
                      <a:pt x="498606" y="395336"/>
                    </a:cubicBezTo>
                    <a:cubicBezTo>
                      <a:pt x="466793" y="415625"/>
                      <a:pt x="434884" y="436008"/>
                      <a:pt x="403642" y="455820"/>
                    </a:cubicBezTo>
                    <a:cubicBezTo>
                      <a:pt x="576997" y="353331"/>
                      <a:pt x="783594" y="227030"/>
                      <a:pt x="940185" y="129494"/>
                    </a:cubicBezTo>
                    <a:cubicBezTo>
                      <a:pt x="943519" y="127493"/>
                      <a:pt x="947424" y="126827"/>
                      <a:pt x="951234" y="127779"/>
                    </a:cubicBezTo>
                    <a:cubicBezTo>
                      <a:pt x="954949" y="128732"/>
                      <a:pt x="958188" y="131113"/>
                      <a:pt x="960188" y="134447"/>
                    </a:cubicBezTo>
                    <a:cubicBezTo>
                      <a:pt x="967046" y="146258"/>
                      <a:pt x="957044" y="153211"/>
                      <a:pt x="946472" y="160640"/>
                    </a:cubicBezTo>
                    <a:cubicBezTo>
                      <a:pt x="939995" y="165212"/>
                      <a:pt x="930375" y="171689"/>
                      <a:pt x="918183" y="179881"/>
                    </a:cubicBezTo>
                    <a:cubicBezTo>
                      <a:pt x="895132" y="195216"/>
                      <a:pt x="861128" y="217600"/>
                      <a:pt x="817027" y="246365"/>
                    </a:cubicBezTo>
                    <a:cubicBezTo>
                      <a:pt x="742923" y="294657"/>
                      <a:pt x="639291" y="361618"/>
                      <a:pt x="509179" y="445438"/>
                    </a:cubicBezTo>
                    <a:cubicBezTo>
                      <a:pt x="383830" y="526115"/>
                      <a:pt x="257529" y="607268"/>
                      <a:pt x="171042" y="662703"/>
                    </a:cubicBezTo>
                    <a:cubicBezTo>
                      <a:pt x="284770" y="602505"/>
                      <a:pt x="507179" y="471536"/>
                      <a:pt x="936375" y="197978"/>
                    </a:cubicBezTo>
                    <a:cubicBezTo>
                      <a:pt x="977523" y="171753"/>
                      <a:pt x="1000193" y="159148"/>
                      <a:pt x="1004384" y="160164"/>
                    </a:cubicBezTo>
                    <a:cubicBezTo>
                      <a:pt x="1008194" y="161117"/>
                      <a:pt x="1011432" y="163498"/>
                      <a:pt x="1013337" y="166927"/>
                    </a:cubicBezTo>
                    <a:cubicBezTo>
                      <a:pt x="1016861" y="173023"/>
                      <a:pt x="1018862" y="176547"/>
                      <a:pt x="1007432" y="186644"/>
                    </a:cubicBezTo>
                    <a:lnTo>
                      <a:pt x="1007432" y="186644"/>
                    </a:lnTo>
                    <a:cubicBezTo>
                      <a:pt x="1007432" y="186644"/>
                      <a:pt x="1007146" y="186929"/>
                      <a:pt x="1006956" y="187025"/>
                    </a:cubicBezTo>
                    <a:cubicBezTo>
                      <a:pt x="991716" y="200360"/>
                      <a:pt x="953806" y="225029"/>
                      <a:pt x="867414" y="281417"/>
                    </a:cubicBezTo>
                    <a:cubicBezTo>
                      <a:pt x="989906" y="214171"/>
                      <a:pt x="1001336" y="217028"/>
                      <a:pt x="1008765" y="218838"/>
                    </a:cubicBezTo>
                    <a:cubicBezTo>
                      <a:pt x="1013242" y="219981"/>
                      <a:pt x="1016957" y="222648"/>
                      <a:pt x="1019148" y="226553"/>
                    </a:cubicBezTo>
                    <a:cubicBezTo>
                      <a:pt x="1024291" y="235412"/>
                      <a:pt x="1025529" y="246270"/>
                      <a:pt x="1006479" y="267606"/>
                    </a:cubicBezTo>
                    <a:cubicBezTo>
                      <a:pt x="1016195" y="265130"/>
                      <a:pt x="1023910" y="264558"/>
                      <a:pt x="1029720" y="265987"/>
                    </a:cubicBezTo>
                    <a:cubicBezTo>
                      <a:pt x="1038102" y="267892"/>
                      <a:pt x="1042484" y="272845"/>
                      <a:pt x="1044675" y="276655"/>
                    </a:cubicBezTo>
                    <a:cubicBezTo>
                      <a:pt x="1054200" y="293038"/>
                      <a:pt x="1058962" y="301515"/>
                      <a:pt x="775974" y="479918"/>
                    </a:cubicBezTo>
                    <a:cubicBezTo>
                      <a:pt x="1075631" y="306468"/>
                      <a:pt x="1078488" y="307230"/>
                      <a:pt x="1085727" y="309040"/>
                    </a:cubicBezTo>
                    <a:cubicBezTo>
                      <a:pt x="1089442" y="309992"/>
                      <a:pt x="1092585" y="312469"/>
                      <a:pt x="1094490" y="315707"/>
                    </a:cubicBezTo>
                    <a:cubicBezTo>
                      <a:pt x="1103634" y="331519"/>
                      <a:pt x="1086870" y="347426"/>
                      <a:pt x="1045913" y="377334"/>
                    </a:cubicBezTo>
                    <a:cubicBezTo>
                      <a:pt x="1019529" y="396575"/>
                      <a:pt x="982286" y="421530"/>
                      <a:pt x="932375" y="453534"/>
                    </a:cubicBezTo>
                    <a:cubicBezTo>
                      <a:pt x="1098872" y="349712"/>
                      <a:pt x="1140496" y="328090"/>
                      <a:pt x="1155450" y="331805"/>
                    </a:cubicBezTo>
                    <a:cubicBezTo>
                      <a:pt x="1159832" y="332852"/>
                      <a:pt x="1163356" y="335519"/>
                      <a:pt x="1165547" y="339329"/>
                    </a:cubicBezTo>
                    <a:cubicBezTo>
                      <a:pt x="1167452" y="342663"/>
                      <a:pt x="1167928" y="346568"/>
                      <a:pt x="1166976" y="350188"/>
                    </a:cubicBezTo>
                    <a:cubicBezTo>
                      <a:pt x="1165928" y="353903"/>
                      <a:pt x="1163547" y="356951"/>
                      <a:pt x="1160213" y="358856"/>
                    </a:cubicBezTo>
                    <a:cubicBezTo>
                      <a:pt x="1063058" y="413910"/>
                      <a:pt x="964284" y="470965"/>
                      <a:pt x="868843" y="527067"/>
                    </a:cubicBezTo>
                    <a:cubicBezTo>
                      <a:pt x="835982" y="547832"/>
                      <a:pt x="802549" y="568977"/>
                      <a:pt x="769974" y="589551"/>
                    </a:cubicBezTo>
                    <a:cubicBezTo>
                      <a:pt x="575664" y="712519"/>
                      <a:pt x="433741" y="801101"/>
                      <a:pt x="334205" y="859013"/>
                    </a:cubicBezTo>
                    <a:cubicBezTo>
                      <a:pt x="302677" y="880540"/>
                      <a:pt x="275721" y="899876"/>
                      <a:pt x="254100" y="916354"/>
                    </a:cubicBezTo>
                    <a:cubicBezTo>
                      <a:pt x="342682" y="863966"/>
                      <a:pt x="493558" y="774908"/>
                      <a:pt x="644148" y="686801"/>
                    </a:cubicBezTo>
                    <a:cubicBezTo>
                      <a:pt x="1120398" y="408100"/>
                      <a:pt x="1127637" y="410005"/>
                      <a:pt x="1136686" y="412386"/>
                    </a:cubicBezTo>
                    <a:cubicBezTo>
                      <a:pt x="1140401" y="413339"/>
                      <a:pt x="1143735" y="415910"/>
                      <a:pt x="1145640" y="419244"/>
                    </a:cubicBezTo>
                    <a:cubicBezTo>
                      <a:pt x="1147545" y="422578"/>
                      <a:pt x="1149450" y="428102"/>
                      <a:pt x="1147449" y="435437"/>
                    </a:cubicBezTo>
                    <a:cubicBezTo>
                      <a:pt x="1146307" y="439628"/>
                      <a:pt x="1144592" y="445819"/>
                      <a:pt x="1131924" y="459059"/>
                    </a:cubicBezTo>
                    <a:cubicBezTo>
                      <a:pt x="1164594" y="442771"/>
                      <a:pt x="1185073" y="436103"/>
                      <a:pt x="1195170" y="438580"/>
                    </a:cubicBezTo>
                    <a:cubicBezTo>
                      <a:pt x="1200313" y="439818"/>
                      <a:pt x="1204504" y="442961"/>
                      <a:pt x="1207076" y="447248"/>
                    </a:cubicBezTo>
                    <a:cubicBezTo>
                      <a:pt x="1214696" y="460392"/>
                      <a:pt x="1203933" y="467536"/>
                      <a:pt x="1180501" y="483062"/>
                    </a:cubicBezTo>
                    <a:cubicBezTo>
                      <a:pt x="1166309" y="492491"/>
                      <a:pt x="1145259" y="505826"/>
                      <a:pt x="1116303" y="523924"/>
                    </a:cubicBezTo>
                    <a:cubicBezTo>
                      <a:pt x="1114398" y="525067"/>
                      <a:pt x="1112588" y="526305"/>
                      <a:pt x="1110683" y="527448"/>
                    </a:cubicBezTo>
                    <a:cubicBezTo>
                      <a:pt x="1155165" y="506207"/>
                      <a:pt x="1186216" y="496206"/>
                      <a:pt x="1201837" y="500016"/>
                    </a:cubicBezTo>
                    <a:cubicBezTo>
                      <a:pt x="1210505" y="502112"/>
                      <a:pt x="1214982" y="507160"/>
                      <a:pt x="1217268" y="511065"/>
                    </a:cubicBezTo>
                    <a:cubicBezTo>
                      <a:pt x="1230412" y="533830"/>
                      <a:pt x="1216982" y="548213"/>
                      <a:pt x="752543" y="823104"/>
                    </a:cubicBezTo>
                    <a:cubicBezTo>
                      <a:pt x="557947" y="938261"/>
                      <a:pt x="300010" y="1090947"/>
                      <a:pt x="229811" y="1147621"/>
                    </a:cubicBezTo>
                    <a:cubicBezTo>
                      <a:pt x="268578" y="1134000"/>
                      <a:pt x="365161" y="1087328"/>
                      <a:pt x="605096" y="942167"/>
                    </a:cubicBezTo>
                    <a:cubicBezTo>
                      <a:pt x="800739" y="823771"/>
                      <a:pt x="1016195" y="685563"/>
                      <a:pt x="1119827" y="619174"/>
                    </a:cubicBezTo>
                    <a:cubicBezTo>
                      <a:pt x="1167642" y="588503"/>
                      <a:pt x="1193677" y="573708"/>
                      <a:pt x="1197932" y="574787"/>
                    </a:cubicBezTo>
                    <a:cubicBezTo>
                      <a:pt x="1201742" y="575740"/>
                      <a:pt x="1204980" y="578121"/>
                      <a:pt x="1206885" y="581550"/>
                    </a:cubicBezTo>
                    <a:cubicBezTo>
                      <a:pt x="1212696" y="591647"/>
                      <a:pt x="1218601" y="601838"/>
                      <a:pt x="1140686" y="660131"/>
                    </a:cubicBezTo>
                    <a:cubicBezTo>
                      <a:pt x="1157260" y="654321"/>
                      <a:pt x="1168976" y="652321"/>
                      <a:pt x="1175929" y="654035"/>
                    </a:cubicBezTo>
                    <a:cubicBezTo>
                      <a:pt x="1181549" y="655464"/>
                      <a:pt x="1186121" y="658703"/>
                      <a:pt x="1188788" y="663370"/>
                    </a:cubicBezTo>
                    <a:cubicBezTo>
                      <a:pt x="1194376" y="673022"/>
                      <a:pt x="1145798" y="711503"/>
                      <a:pt x="1043055" y="778813"/>
                    </a:cubicBezTo>
                    <a:cubicBezTo>
                      <a:pt x="967236" y="828533"/>
                      <a:pt x="861128" y="897209"/>
                      <a:pt x="727683" y="982934"/>
                    </a:cubicBezTo>
                    <a:cubicBezTo>
                      <a:pt x="599190" y="1065611"/>
                      <a:pt x="469460" y="1148478"/>
                      <a:pt x="380687" y="1205247"/>
                    </a:cubicBezTo>
                    <a:cubicBezTo>
                      <a:pt x="560424" y="1108854"/>
                      <a:pt x="897513" y="895113"/>
                      <a:pt x="1047342" y="800053"/>
                    </a:cubicBezTo>
                    <a:cubicBezTo>
                      <a:pt x="1135988" y="743856"/>
                      <a:pt x="1182850" y="716361"/>
                      <a:pt x="1187931" y="717567"/>
                    </a:cubicBezTo>
                    <a:cubicBezTo>
                      <a:pt x="1191741" y="718520"/>
                      <a:pt x="1194979" y="720996"/>
                      <a:pt x="1196979" y="724330"/>
                    </a:cubicBezTo>
                    <a:cubicBezTo>
                      <a:pt x="1207171" y="741951"/>
                      <a:pt x="1190979" y="767097"/>
                      <a:pt x="1128209" y="813674"/>
                    </a:cubicBezTo>
                    <a:cubicBezTo>
                      <a:pt x="1130400" y="813579"/>
                      <a:pt x="1132209" y="813674"/>
                      <a:pt x="1133733" y="814055"/>
                    </a:cubicBezTo>
                    <a:cubicBezTo>
                      <a:pt x="1138591" y="815294"/>
                      <a:pt x="1142592" y="818246"/>
                      <a:pt x="1144973" y="822342"/>
                    </a:cubicBezTo>
                    <a:cubicBezTo>
                      <a:pt x="1154974" y="839678"/>
                      <a:pt x="1166309" y="859299"/>
                      <a:pt x="743589" y="1123999"/>
                    </a:cubicBezTo>
                    <a:cubicBezTo>
                      <a:pt x="865128" y="1049133"/>
                      <a:pt x="991049" y="969408"/>
                      <a:pt x="1093061" y="903495"/>
                    </a:cubicBezTo>
                    <a:cubicBezTo>
                      <a:pt x="1096395" y="901400"/>
                      <a:pt x="1100396" y="900733"/>
                      <a:pt x="1104206" y="901590"/>
                    </a:cubicBezTo>
                    <a:cubicBezTo>
                      <a:pt x="1108016" y="902543"/>
                      <a:pt x="1111254" y="904924"/>
                      <a:pt x="1113255" y="908353"/>
                    </a:cubicBezTo>
                    <a:cubicBezTo>
                      <a:pt x="1120208" y="920545"/>
                      <a:pt x="1110588" y="927403"/>
                      <a:pt x="1094586" y="938833"/>
                    </a:cubicBezTo>
                    <a:cubicBezTo>
                      <a:pt x="1085061" y="945595"/>
                      <a:pt x="1070678" y="955502"/>
                      <a:pt x="1051818" y="968170"/>
                    </a:cubicBezTo>
                    <a:cubicBezTo>
                      <a:pt x="1032864" y="980933"/>
                      <a:pt x="1009432" y="996459"/>
                      <a:pt x="981238" y="1015033"/>
                    </a:cubicBezTo>
                    <a:cubicBezTo>
                      <a:pt x="1020672" y="994935"/>
                      <a:pt x="1045056" y="986934"/>
                      <a:pt x="1057248" y="989887"/>
                    </a:cubicBezTo>
                    <a:cubicBezTo>
                      <a:pt x="1062867" y="991220"/>
                      <a:pt x="1067440" y="994554"/>
                      <a:pt x="1070107" y="999221"/>
                    </a:cubicBezTo>
                    <a:cubicBezTo>
                      <a:pt x="1078107" y="1013128"/>
                      <a:pt x="1076298" y="1018748"/>
                      <a:pt x="979905" y="1080565"/>
                    </a:cubicBezTo>
                    <a:cubicBezTo>
                      <a:pt x="1000193" y="1071992"/>
                      <a:pt x="1014576" y="1068754"/>
                      <a:pt x="1023815" y="1070945"/>
                    </a:cubicBezTo>
                    <a:cubicBezTo>
                      <a:pt x="1029816" y="1072374"/>
                      <a:pt x="1034769" y="1075898"/>
                      <a:pt x="1037721" y="1080946"/>
                    </a:cubicBezTo>
                    <a:cubicBezTo>
                      <a:pt x="1048961" y="1100377"/>
                      <a:pt x="1040484" y="1108854"/>
                      <a:pt x="782261" y="1265255"/>
                    </a:cubicBezTo>
                    <a:cubicBezTo>
                      <a:pt x="708347" y="1310022"/>
                      <a:pt x="615288" y="1366315"/>
                      <a:pt x="539945" y="1414892"/>
                    </a:cubicBezTo>
                    <a:lnTo>
                      <a:pt x="1046770" y="1122284"/>
                    </a:lnTo>
                    <a:cubicBezTo>
                      <a:pt x="1050009" y="1120379"/>
                      <a:pt x="1053914" y="1119903"/>
                      <a:pt x="1057629" y="1120856"/>
                    </a:cubicBezTo>
                    <a:cubicBezTo>
                      <a:pt x="1061248" y="1121808"/>
                      <a:pt x="1064391" y="1124285"/>
                      <a:pt x="1066296" y="1127523"/>
                    </a:cubicBezTo>
                    <a:cubicBezTo>
                      <a:pt x="1073345" y="1139715"/>
                      <a:pt x="1063344" y="1147049"/>
                      <a:pt x="1046770" y="1159241"/>
                    </a:cubicBezTo>
                    <a:cubicBezTo>
                      <a:pt x="1036769" y="1166576"/>
                      <a:pt x="1022100" y="1176958"/>
                      <a:pt x="1001907" y="1190960"/>
                    </a:cubicBezTo>
                    <a:cubicBezTo>
                      <a:pt x="964284" y="1216963"/>
                      <a:pt x="911991" y="1252396"/>
                      <a:pt x="856651" y="1289829"/>
                    </a:cubicBezTo>
                    <a:cubicBezTo>
                      <a:pt x="792072" y="1333549"/>
                      <a:pt x="710919" y="1388508"/>
                      <a:pt x="644529" y="1434704"/>
                    </a:cubicBezTo>
                    <a:cubicBezTo>
                      <a:pt x="675105" y="1414511"/>
                      <a:pt x="706918" y="1392890"/>
                      <a:pt x="735207" y="1373649"/>
                    </a:cubicBezTo>
                    <a:cubicBezTo>
                      <a:pt x="882559" y="1273446"/>
                      <a:pt x="945043" y="1233346"/>
                      <a:pt x="969046" y="1238680"/>
                    </a:cubicBezTo>
                    <a:cubicBezTo>
                      <a:pt x="974380" y="1239918"/>
                      <a:pt x="978761" y="1243061"/>
                      <a:pt x="981333" y="1247538"/>
                    </a:cubicBezTo>
                    <a:cubicBezTo>
                      <a:pt x="989620" y="1261921"/>
                      <a:pt x="990001" y="1262588"/>
                      <a:pt x="821028" y="1385079"/>
                    </a:cubicBezTo>
                    <a:cubicBezTo>
                      <a:pt x="943710" y="1303545"/>
                      <a:pt x="983715" y="1280304"/>
                      <a:pt x="1002002" y="1284400"/>
                    </a:cubicBezTo>
                    <a:cubicBezTo>
                      <a:pt x="1006860" y="1285543"/>
                      <a:pt x="1010861" y="1288496"/>
                      <a:pt x="1013337" y="1292687"/>
                    </a:cubicBezTo>
                    <a:cubicBezTo>
                      <a:pt x="1017846" y="1300497"/>
                      <a:pt x="991652" y="1327580"/>
                      <a:pt x="934756" y="1373935"/>
                    </a:cubicBezTo>
                    <a:cubicBezTo>
                      <a:pt x="909039" y="1394890"/>
                      <a:pt x="873320" y="1424036"/>
                      <a:pt x="841125" y="1450992"/>
                    </a:cubicBezTo>
                    <a:cubicBezTo>
                      <a:pt x="867224" y="1434895"/>
                      <a:pt x="896085" y="1416702"/>
                      <a:pt x="923326" y="1398891"/>
                    </a:cubicBezTo>
                    <a:cubicBezTo>
                      <a:pt x="926660" y="1396700"/>
                      <a:pt x="930660" y="1396033"/>
                      <a:pt x="934470" y="1396985"/>
                    </a:cubicBezTo>
                    <a:cubicBezTo>
                      <a:pt x="938280" y="1397938"/>
                      <a:pt x="941519" y="1400319"/>
                      <a:pt x="943519" y="1403748"/>
                    </a:cubicBezTo>
                    <a:cubicBezTo>
                      <a:pt x="948853" y="1413083"/>
                      <a:pt x="946853" y="1415274"/>
                      <a:pt x="927327" y="1436228"/>
                    </a:cubicBezTo>
                    <a:cubicBezTo>
                      <a:pt x="911420" y="1453278"/>
                      <a:pt x="897704" y="1468233"/>
                      <a:pt x="886274" y="1480996"/>
                    </a:cubicBezTo>
                    <a:cubicBezTo>
                      <a:pt x="972761" y="1429466"/>
                      <a:pt x="975904" y="1430323"/>
                      <a:pt x="982000" y="1431847"/>
                    </a:cubicBezTo>
                    <a:cubicBezTo>
                      <a:pt x="985715" y="1432799"/>
                      <a:pt x="988953" y="1435276"/>
                      <a:pt x="990858" y="1438610"/>
                    </a:cubicBezTo>
                    <a:cubicBezTo>
                      <a:pt x="994764" y="1445468"/>
                      <a:pt x="992477" y="1454135"/>
                      <a:pt x="985619" y="1458136"/>
                    </a:cubicBezTo>
                    <a:cubicBezTo>
                      <a:pt x="984191" y="1458993"/>
                      <a:pt x="982667" y="1459565"/>
                      <a:pt x="981048" y="1459850"/>
                    </a:cubicBezTo>
                    <a:cubicBezTo>
                      <a:pt x="968379" y="1465566"/>
                      <a:pt x="897990" y="1506999"/>
                      <a:pt x="835982" y="1544528"/>
                    </a:cubicBezTo>
                    <a:cubicBezTo>
                      <a:pt x="833696" y="1545861"/>
                      <a:pt x="831219" y="1546623"/>
                      <a:pt x="828552" y="1546623"/>
                    </a:cubicBezTo>
                    <a:close/>
                    <a:moveTo>
                      <a:pt x="965331" y="1452707"/>
                    </a:moveTo>
                    <a:cubicBezTo>
                      <a:pt x="967046" y="1455564"/>
                      <a:pt x="969332" y="1457469"/>
                      <a:pt x="971808" y="1458517"/>
                    </a:cubicBezTo>
                    <a:cubicBezTo>
                      <a:pt x="969236" y="1457374"/>
                      <a:pt x="966951" y="1455374"/>
                      <a:pt x="965331" y="1452707"/>
                    </a:cubicBezTo>
                    <a:close/>
                    <a:moveTo>
                      <a:pt x="613668" y="1307260"/>
                    </a:moveTo>
                    <a:cubicBezTo>
                      <a:pt x="531372" y="1358600"/>
                      <a:pt x="450410" y="1410035"/>
                      <a:pt x="397641" y="1446706"/>
                    </a:cubicBezTo>
                    <a:cubicBezTo>
                      <a:pt x="455077" y="1412606"/>
                      <a:pt x="538516" y="1357361"/>
                      <a:pt x="613668" y="1307260"/>
                    </a:cubicBezTo>
                    <a:close/>
                    <a:moveTo>
                      <a:pt x="967903" y="1053609"/>
                    </a:moveTo>
                    <a:cubicBezTo>
                      <a:pt x="874463" y="1105425"/>
                      <a:pt x="723301" y="1202771"/>
                      <a:pt x="608430" y="1276970"/>
                    </a:cubicBezTo>
                    <a:cubicBezTo>
                      <a:pt x="650816" y="1250586"/>
                      <a:pt x="698917" y="1220773"/>
                      <a:pt x="753686" y="1187054"/>
                    </a:cubicBezTo>
                    <a:cubicBezTo>
                      <a:pt x="829124" y="1140572"/>
                      <a:pt x="910372" y="1090566"/>
                      <a:pt x="967903" y="1053609"/>
                    </a:cubicBezTo>
                    <a:close/>
                    <a:moveTo>
                      <a:pt x="961807" y="1120094"/>
                    </a:moveTo>
                    <a:cubicBezTo>
                      <a:pt x="910944" y="1147145"/>
                      <a:pt x="833982" y="1196103"/>
                      <a:pt x="758829" y="1245347"/>
                    </a:cubicBezTo>
                    <a:cubicBezTo>
                      <a:pt x="761401" y="1243728"/>
                      <a:pt x="764068" y="1242204"/>
                      <a:pt x="766735" y="1240585"/>
                    </a:cubicBezTo>
                    <a:cubicBezTo>
                      <a:pt x="836934" y="1198008"/>
                      <a:pt x="913230" y="1151907"/>
                      <a:pt x="961902" y="1120094"/>
                    </a:cubicBezTo>
                    <a:close/>
                    <a:moveTo>
                      <a:pt x="493368" y="906353"/>
                    </a:moveTo>
                    <a:cubicBezTo>
                      <a:pt x="430884" y="945595"/>
                      <a:pt x="372972" y="982743"/>
                      <a:pt x="325537" y="1014176"/>
                    </a:cubicBezTo>
                    <a:cubicBezTo>
                      <a:pt x="375067" y="983029"/>
                      <a:pt x="433551" y="945119"/>
                      <a:pt x="493368" y="906353"/>
                    </a:cubicBezTo>
                    <a:close/>
                    <a:moveTo>
                      <a:pt x="1171452" y="531639"/>
                    </a:moveTo>
                    <a:cubicBezTo>
                      <a:pt x="1143830" y="540878"/>
                      <a:pt x="1085251" y="567929"/>
                      <a:pt x="961331" y="642320"/>
                    </a:cubicBezTo>
                    <a:cubicBezTo>
                      <a:pt x="838458" y="716043"/>
                      <a:pt x="687201" y="814436"/>
                      <a:pt x="553851" y="901114"/>
                    </a:cubicBezTo>
                    <a:cubicBezTo>
                      <a:pt x="495654" y="938928"/>
                      <a:pt x="446695" y="970646"/>
                      <a:pt x="405357" y="997221"/>
                    </a:cubicBezTo>
                    <a:cubicBezTo>
                      <a:pt x="485557" y="947882"/>
                      <a:pt x="593380" y="883397"/>
                      <a:pt x="737208" y="798244"/>
                    </a:cubicBezTo>
                    <a:cubicBezTo>
                      <a:pt x="912944" y="694231"/>
                      <a:pt x="1108683" y="578407"/>
                      <a:pt x="1171452" y="531639"/>
                    </a:cubicBezTo>
                    <a:close/>
                    <a:moveTo>
                      <a:pt x="1081917" y="811198"/>
                    </a:moveTo>
                    <a:cubicBezTo>
                      <a:pt x="1075345" y="815389"/>
                      <a:pt x="1068582" y="819675"/>
                      <a:pt x="1061820" y="823961"/>
                    </a:cubicBezTo>
                    <a:cubicBezTo>
                      <a:pt x="995144" y="866252"/>
                      <a:pt x="931899" y="906162"/>
                      <a:pt x="872367" y="943500"/>
                    </a:cubicBezTo>
                    <a:cubicBezTo>
                      <a:pt x="951901" y="895685"/>
                      <a:pt x="1026958" y="849012"/>
                      <a:pt x="1081917" y="811198"/>
                    </a:cubicBezTo>
                    <a:close/>
                    <a:moveTo>
                      <a:pt x="450219" y="747571"/>
                    </a:moveTo>
                    <a:cubicBezTo>
                      <a:pt x="362875" y="800339"/>
                      <a:pt x="278007" y="852060"/>
                      <a:pt x="222191" y="887969"/>
                    </a:cubicBezTo>
                    <a:cubicBezTo>
                      <a:pt x="250290" y="873396"/>
                      <a:pt x="285056" y="853870"/>
                      <a:pt x="324013" y="831105"/>
                    </a:cubicBezTo>
                    <a:cubicBezTo>
                      <a:pt x="361732" y="805102"/>
                      <a:pt x="404499" y="776908"/>
                      <a:pt x="450315" y="747571"/>
                    </a:cubicBezTo>
                    <a:close/>
                    <a:moveTo>
                      <a:pt x="673962" y="496016"/>
                    </a:moveTo>
                    <a:cubicBezTo>
                      <a:pt x="637386" y="520304"/>
                      <a:pt x="601286" y="544498"/>
                      <a:pt x="567567" y="567167"/>
                    </a:cubicBezTo>
                    <a:cubicBezTo>
                      <a:pt x="500607" y="612125"/>
                      <a:pt x="441742" y="651368"/>
                      <a:pt x="390307" y="684992"/>
                    </a:cubicBezTo>
                    <a:cubicBezTo>
                      <a:pt x="406881" y="674705"/>
                      <a:pt x="424407" y="663941"/>
                      <a:pt x="442790" y="652607"/>
                    </a:cubicBezTo>
                    <a:cubicBezTo>
                      <a:pt x="635671" y="533735"/>
                      <a:pt x="914182" y="361999"/>
                      <a:pt x="996002" y="299610"/>
                    </a:cubicBezTo>
                    <a:cubicBezTo>
                      <a:pt x="975047" y="308183"/>
                      <a:pt x="944472" y="324566"/>
                      <a:pt x="908086" y="346092"/>
                    </a:cubicBezTo>
                    <a:cubicBezTo>
                      <a:pt x="875510" y="368857"/>
                      <a:pt x="834077" y="396194"/>
                      <a:pt x="781594" y="429245"/>
                    </a:cubicBezTo>
                    <a:cubicBezTo>
                      <a:pt x="747304" y="450867"/>
                      <a:pt x="711109" y="473251"/>
                      <a:pt x="673771" y="495825"/>
                    </a:cubicBezTo>
                    <a:close/>
                    <a:moveTo>
                      <a:pt x="240479" y="152830"/>
                    </a:moveTo>
                    <a:lnTo>
                      <a:pt x="240479" y="152830"/>
                    </a:lnTo>
                    <a:cubicBezTo>
                      <a:pt x="240479" y="152830"/>
                      <a:pt x="240479" y="152830"/>
                      <a:pt x="240479" y="152830"/>
                    </a:cubicBezTo>
                    <a:close/>
                  </a:path>
                </a:pathLst>
              </a:custGeom>
              <a:solidFill>
                <a:srgbClr val="006D3F"/>
              </a:solidFill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2" name="Полилиния: фигура 261">
                <a:extLst>
                  <a:ext uri="{FF2B5EF4-FFF2-40B4-BE49-F238E27FC236}">
                    <a16:creationId xmlns:a16="http://schemas.microsoft.com/office/drawing/2014/main" id="{583BBA7B-46D6-4B63-86F2-9B5C0B3FEB87}"/>
                  </a:ext>
                </a:extLst>
              </p:cNvPr>
              <p:cNvSpPr/>
              <p:nvPr/>
            </p:nvSpPr>
            <p:spPr>
              <a:xfrm>
                <a:off x="2756879" y="3128947"/>
                <a:ext cx="1220122" cy="1546623"/>
              </a:xfrm>
              <a:custGeom>
                <a:avLst/>
                <a:gdLst>
                  <a:gd name="connsiteX0" fmla="*/ 827886 w 1220122"/>
                  <a:gd name="connsiteY0" fmla="*/ 1546337 h 1546623"/>
                  <a:gd name="connsiteX1" fmla="*/ 824361 w 1220122"/>
                  <a:gd name="connsiteY1" fmla="*/ 1545861 h 1546623"/>
                  <a:gd name="connsiteX2" fmla="*/ 815598 w 1220122"/>
                  <a:gd name="connsiteY2" fmla="*/ 1539194 h 1546623"/>
                  <a:gd name="connsiteX3" fmla="*/ 848174 w 1220122"/>
                  <a:gd name="connsiteY3" fmla="*/ 1479853 h 1546623"/>
                  <a:gd name="connsiteX4" fmla="*/ 747209 w 1220122"/>
                  <a:gd name="connsiteY4" fmla="*/ 1529478 h 1546623"/>
                  <a:gd name="connsiteX5" fmla="*/ 737398 w 1220122"/>
                  <a:gd name="connsiteY5" fmla="*/ 1522239 h 1546623"/>
                  <a:gd name="connsiteX6" fmla="*/ 888274 w 1220122"/>
                  <a:gd name="connsiteY6" fmla="*/ 1374411 h 1546623"/>
                  <a:gd name="connsiteX7" fmla="*/ 811979 w 1220122"/>
                  <a:gd name="connsiteY7" fmla="*/ 1424894 h 1546623"/>
                  <a:gd name="connsiteX8" fmla="*/ 607477 w 1220122"/>
                  <a:gd name="connsiteY8" fmla="*/ 1541289 h 1546623"/>
                  <a:gd name="connsiteX9" fmla="*/ 596142 w 1220122"/>
                  <a:gd name="connsiteY9" fmla="*/ 1533098 h 1546623"/>
                  <a:gd name="connsiteX10" fmla="*/ 776736 w 1220122"/>
                  <a:gd name="connsiteY10" fmla="*/ 1381269 h 1546623"/>
                  <a:gd name="connsiteX11" fmla="*/ 814170 w 1220122"/>
                  <a:gd name="connsiteY11" fmla="*/ 1354123 h 1546623"/>
                  <a:gd name="connsiteX12" fmla="*/ 750543 w 1220122"/>
                  <a:gd name="connsiteY12" fmla="*/ 1397176 h 1546623"/>
                  <a:gd name="connsiteX13" fmla="*/ 507941 w 1220122"/>
                  <a:gd name="connsiteY13" fmla="*/ 1536717 h 1546623"/>
                  <a:gd name="connsiteX14" fmla="*/ 495368 w 1220122"/>
                  <a:gd name="connsiteY14" fmla="*/ 1527668 h 1546623"/>
                  <a:gd name="connsiteX15" fmla="*/ 759687 w 1220122"/>
                  <a:gd name="connsiteY15" fmla="*/ 1320690 h 1546623"/>
                  <a:gd name="connsiteX16" fmla="*/ 397165 w 1220122"/>
                  <a:gd name="connsiteY16" fmla="*/ 1529954 h 1546623"/>
                  <a:gd name="connsiteX17" fmla="*/ 377639 w 1220122"/>
                  <a:gd name="connsiteY17" fmla="*/ 1524716 h 1546623"/>
                  <a:gd name="connsiteX18" fmla="*/ 402499 w 1220122"/>
                  <a:gd name="connsiteY18" fmla="*/ 1476995 h 1546623"/>
                  <a:gd name="connsiteX19" fmla="*/ 324585 w 1220122"/>
                  <a:gd name="connsiteY19" fmla="*/ 1507856 h 1546623"/>
                  <a:gd name="connsiteX20" fmla="*/ 312583 w 1220122"/>
                  <a:gd name="connsiteY20" fmla="*/ 1499189 h 1546623"/>
                  <a:gd name="connsiteX21" fmla="*/ 408595 w 1220122"/>
                  <a:gd name="connsiteY21" fmla="*/ 1404986 h 1546623"/>
                  <a:gd name="connsiteX22" fmla="*/ 251242 w 1220122"/>
                  <a:gd name="connsiteY22" fmla="*/ 1485663 h 1546623"/>
                  <a:gd name="connsiteX23" fmla="*/ 240574 w 1220122"/>
                  <a:gd name="connsiteY23" fmla="*/ 1477758 h 1546623"/>
                  <a:gd name="connsiteX24" fmla="*/ 264006 w 1220122"/>
                  <a:gd name="connsiteY24" fmla="*/ 1445753 h 1546623"/>
                  <a:gd name="connsiteX25" fmla="*/ 316679 w 1220122"/>
                  <a:gd name="connsiteY25" fmla="*/ 1411368 h 1546623"/>
                  <a:gd name="connsiteX26" fmla="*/ 397165 w 1220122"/>
                  <a:gd name="connsiteY26" fmla="*/ 1359266 h 1546623"/>
                  <a:gd name="connsiteX27" fmla="*/ 287723 w 1220122"/>
                  <a:gd name="connsiteY27" fmla="*/ 1400414 h 1546623"/>
                  <a:gd name="connsiteX28" fmla="*/ 275626 w 1220122"/>
                  <a:gd name="connsiteY28" fmla="*/ 1391651 h 1546623"/>
                  <a:gd name="connsiteX29" fmla="*/ 280674 w 1220122"/>
                  <a:gd name="connsiteY29" fmla="*/ 1372220 h 1546623"/>
                  <a:gd name="connsiteX30" fmla="*/ 1095919 w 1220122"/>
                  <a:gd name="connsiteY30" fmla="*/ 852727 h 1546623"/>
                  <a:gd name="connsiteX31" fmla="*/ 504988 w 1220122"/>
                  <a:gd name="connsiteY31" fmla="*/ 1202580 h 1546623"/>
                  <a:gd name="connsiteX32" fmla="*/ 266673 w 1220122"/>
                  <a:gd name="connsiteY32" fmla="*/ 1341264 h 1546623"/>
                  <a:gd name="connsiteX33" fmla="*/ 257624 w 1220122"/>
                  <a:gd name="connsiteY33" fmla="*/ 1334406 h 1546623"/>
                  <a:gd name="connsiteX34" fmla="*/ 341349 w 1220122"/>
                  <a:gd name="connsiteY34" fmla="*/ 1256016 h 1546623"/>
                  <a:gd name="connsiteX35" fmla="*/ 259624 w 1220122"/>
                  <a:gd name="connsiteY35" fmla="*/ 1281733 h 1546623"/>
                  <a:gd name="connsiteX36" fmla="*/ 246861 w 1220122"/>
                  <a:gd name="connsiteY36" fmla="*/ 1272494 h 1546623"/>
                  <a:gd name="connsiteX37" fmla="*/ 251528 w 1220122"/>
                  <a:gd name="connsiteY37" fmla="*/ 1253253 h 1546623"/>
                  <a:gd name="connsiteX38" fmla="*/ 1092490 w 1220122"/>
                  <a:gd name="connsiteY38" fmla="*/ 711471 h 1546623"/>
                  <a:gd name="connsiteX39" fmla="*/ 919707 w 1220122"/>
                  <a:gd name="connsiteY39" fmla="*/ 808912 h 1546623"/>
                  <a:gd name="connsiteX40" fmla="*/ 724539 w 1220122"/>
                  <a:gd name="connsiteY40" fmla="*/ 932070 h 1546623"/>
                  <a:gd name="connsiteX41" fmla="*/ 436980 w 1220122"/>
                  <a:gd name="connsiteY41" fmla="*/ 1108473 h 1546623"/>
                  <a:gd name="connsiteX42" fmla="*/ 219524 w 1220122"/>
                  <a:gd name="connsiteY42" fmla="*/ 1234775 h 1546623"/>
                  <a:gd name="connsiteX43" fmla="*/ 210285 w 1220122"/>
                  <a:gd name="connsiteY43" fmla="*/ 1227821 h 1546623"/>
                  <a:gd name="connsiteX44" fmla="*/ 215333 w 1220122"/>
                  <a:gd name="connsiteY44" fmla="*/ 1208391 h 1546623"/>
                  <a:gd name="connsiteX45" fmla="*/ 415929 w 1220122"/>
                  <a:gd name="connsiteY45" fmla="*/ 1087994 h 1546623"/>
                  <a:gd name="connsiteX46" fmla="*/ 453077 w 1220122"/>
                  <a:gd name="connsiteY46" fmla="*/ 1064563 h 1546623"/>
                  <a:gd name="connsiteX47" fmla="*/ 199140 w 1220122"/>
                  <a:gd name="connsiteY47" fmla="*/ 1180387 h 1546623"/>
                  <a:gd name="connsiteX48" fmla="*/ 185710 w 1220122"/>
                  <a:gd name="connsiteY48" fmla="*/ 1170671 h 1546623"/>
                  <a:gd name="connsiteX49" fmla="*/ 293819 w 1220122"/>
                  <a:gd name="connsiteY49" fmla="*/ 1067706 h 1546623"/>
                  <a:gd name="connsiteX50" fmla="*/ 188472 w 1220122"/>
                  <a:gd name="connsiteY50" fmla="*/ 1118189 h 1546623"/>
                  <a:gd name="connsiteX51" fmla="*/ 178090 w 1220122"/>
                  <a:gd name="connsiteY51" fmla="*/ 1110569 h 1546623"/>
                  <a:gd name="connsiteX52" fmla="*/ 236955 w 1220122"/>
                  <a:gd name="connsiteY52" fmla="*/ 1040941 h 1546623"/>
                  <a:gd name="connsiteX53" fmla="*/ 164279 w 1220122"/>
                  <a:gd name="connsiteY53" fmla="*/ 1064944 h 1546623"/>
                  <a:gd name="connsiteX54" fmla="*/ 151896 w 1220122"/>
                  <a:gd name="connsiteY54" fmla="*/ 1055895 h 1546623"/>
                  <a:gd name="connsiteX55" fmla="*/ 150468 w 1220122"/>
                  <a:gd name="connsiteY55" fmla="*/ 1045037 h 1546623"/>
                  <a:gd name="connsiteX56" fmla="*/ 157230 w 1220122"/>
                  <a:gd name="connsiteY56" fmla="*/ 1036369 h 1546623"/>
                  <a:gd name="connsiteX57" fmla="*/ 1076869 w 1220122"/>
                  <a:gd name="connsiteY57" fmla="*/ 470012 h 1546623"/>
                  <a:gd name="connsiteX58" fmla="*/ 188949 w 1220122"/>
                  <a:gd name="connsiteY58" fmla="*/ 987601 h 1546623"/>
                  <a:gd name="connsiteX59" fmla="*/ 178090 w 1220122"/>
                  <a:gd name="connsiteY59" fmla="*/ 989125 h 1546623"/>
                  <a:gd name="connsiteX60" fmla="*/ 169327 w 1220122"/>
                  <a:gd name="connsiteY60" fmla="*/ 982457 h 1546623"/>
                  <a:gd name="connsiteX61" fmla="*/ 167517 w 1220122"/>
                  <a:gd name="connsiteY61" fmla="*/ 965122 h 1546623"/>
                  <a:gd name="connsiteX62" fmla="*/ 191044 w 1220122"/>
                  <a:gd name="connsiteY62" fmla="*/ 933880 h 1546623"/>
                  <a:gd name="connsiteX63" fmla="*/ 145515 w 1220122"/>
                  <a:gd name="connsiteY63" fmla="*/ 944167 h 1546623"/>
                  <a:gd name="connsiteX64" fmla="*/ 132942 w 1220122"/>
                  <a:gd name="connsiteY64" fmla="*/ 935023 h 1546623"/>
                  <a:gd name="connsiteX65" fmla="*/ 165517 w 1220122"/>
                  <a:gd name="connsiteY65" fmla="*/ 891684 h 1546623"/>
                  <a:gd name="connsiteX66" fmla="*/ 249242 w 1220122"/>
                  <a:gd name="connsiteY66" fmla="*/ 837392 h 1546623"/>
                  <a:gd name="connsiteX67" fmla="*/ 518514 w 1220122"/>
                  <a:gd name="connsiteY67" fmla="*/ 673371 h 1546623"/>
                  <a:gd name="connsiteX68" fmla="*/ 878559 w 1220122"/>
                  <a:gd name="connsiteY68" fmla="*/ 453439 h 1546623"/>
                  <a:gd name="connsiteX69" fmla="*/ 105319 w 1220122"/>
                  <a:gd name="connsiteY69" fmla="*/ 903019 h 1546623"/>
                  <a:gd name="connsiteX70" fmla="*/ 94461 w 1220122"/>
                  <a:gd name="connsiteY70" fmla="*/ 904543 h 1546623"/>
                  <a:gd name="connsiteX71" fmla="*/ 85793 w 1220122"/>
                  <a:gd name="connsiteY71" fmla="*/ 897875 h 1546623"/>
                  <a:gd name="connsiteX72" fmla="*/ 202474 w 1220122"/>
                  <a:gd name="connsiteY72" fmla="*/ 801959 h 1546623"/>
                  <a:gd name="connsiteX73" fmla="*/ 105891 w 1220122"/>
                  <a:gd name="connsiteY73" fmla="*/ 837106 h 1546623"/>
                  <a:gd name="connsiteX74" fmla="*/ 91413 w 1220122"/>
                  <a:gd name="connsiteY74" fmla="*/ 826724 h 1546623"/>
                  <a:gd name="connsiteX75" fmla="*/ 311059 w 1220122"/>
                  <a:gd name="connsiteY75" fmla="*/ 677276 h 1546623"/>
                  <a:gd name="connsiteX76" fmla="*/ 659960 w 1220122"/>
                  <a:gd name="connsiteY76" fmla="*/ 471536 h 1546623"/>
                  <a:gd name="connsiteX77" fmla="*/ 892179 w 1220122"/>
                  <a:gd name="connsiteY77" fmla="*/ 322946 h 1546623"/>
                  <a:gd name="connsiteX78" fmla="*/ 978571 w 1220122"/>
                  <a:gd name="connsiteY78" fmla="*/ 255700 h 1546623"/>
                  <a:gd name="connsiteX79" fmla="*/ 92365 w 1220122"/>
                  <a:gd name="connsiteY79" fmla="*/ 777956 h 1546623"/>
                  <a:gd name="connsiteX80" fmla="*/ 72744 w 1220122"/>
                  <a:gd name="connsiteY80" fmla="*/ 773384 h 1546623"/>
                  <a:gd name="connsiteX81" fmla="*/ 77220 w 1220122"/>
                  <a:gd name="connsiteY81" fmla="*/ 753762 h 1546623"/>
                  <a:gd name="connsiteX82" fmla="*/ 169422 w 1220122"/>
                  <a:gd name="connsiteY82" fmla="*/ 695088 h 1546623"/>
                  <a:gd name="connsiteX83" fmla="*/ 52932 w 1220122"/>
                  <a:gd name="connsiteY83" fmla="*/ 737760 h 1546623"/>
                  <a:gd name="connsiteX84" fmla="*/ 40263 w 1220122"/>
                  <a:gd name="connsiteY84" fmla="*/ 728616 h 1546623"/>
                  <a:gd name="connsiteX85" fmla="*/ 44931 w 1220122"/>
                  <a:gd name="connsiteY85" fmla="*/ 709471 h 1546623"/>
                  <a:gd name="connsiteX86" fmla="*/ 247908 w 1220122"/>
                  <a:gd name="connsiteY86" fmla="*/ 579359 h 1546623"/>
                  <a:gd name="connsiteX87" fmla="*/ 60361 w 1220122"/>
                  <a:gd name="connsiteY87" fmla="*/ 667656 h 1546623"/>
                  <a:gd name="connsiteX88" fmla="*/ 49979 w 1220122"/>
                  <a:gd name="connsiteY88" fmla="*/ 659941 h 1546623"/>
                  <a:gd name="connsiteX89" fmla="*/ 54837 w 1220122"/>
                  <a:gd name="connsiteY89" fmla="*/ 640605 h 1546623"/>
                  <a:gd name="connsiteX90" fmla="*/ 750447 w 1220122"/>
                  <a:gd name="connsiteY90" fmla="*/ 196740 h 1546623"/>
                  <a:gd name="connsiteX91" fmla="*/ 250956 w 1220122"/>
                  <a:gd name="connsiteY91" fmla="*/ 488491 h 1546623"/>
                  <a:gd name="connsiteX92" fmla="*/ 87698 w 1220122"/>
                  <a:gd name="connsiteY92" fmla="*/ 584312 h 1546623"/>
                  <a:gd name="connsiteX93" fmla="*/ 24261 w 1220122"/>
                  <a:gd name="connsiteY93" fmla="*/ 620603 h 1546623"/>
                  <a:gd name="connsiteX94" fmla="*/ 21785 w 1220122"/>
                  <a:gd name="connsiteY94" fmla="*/ 622127 h 1546623"/>
                  <a:gd name="connsiteX95" fmla="*/ 21594 w 1220122"/>
                  <a:gd name="connsiteY95" fmla="*/ 621841 h 1546623"/>
                  <a:gd name="connsiteX96" fmla="*/ 10641 w 1220122"/>
                  <a:gd name="connsiteY96" fmla="*/ 623746 h 1546623"/>
                  <a:gd name="connsiteX97" fmla="*/ 163 w 1220122"/>
                  <a:gd name="connsiteY97" fmla="*/ 612030 h 1546623"/>
                  <a:gd name="connsiteX98" fmla="*/ 6735 w 1220122"/>
                  <a:gd name="connsiteY98" fmla="*/ 597743 h 1546623"/>
                  <a:gd name="connsiteX99" fmla="*/ 718824 w 1220122"/>
                  <a:gd name="connsiteY99" fmla="*/ 141971 h 1546623"/>
                  <a:gd name="connsiteX100" fmla="*/ 423264 w 1220122"/>
                  <a:gd name="connsiteY100" fmla="*/ 325804 h 1546623"/>
                  <a:gd name="connsiteX101" fmla="*/ 48645 w 1220122"/>
                  <a:gd name="connsiteY101" fmla="*/ 540688 h 1546623"/>
                  <a:gd name="connsiteX102" fmla="*/ 37787 w 1220122"/>
                  <a:gd name="connsiteY102" fmla="*/ 532687 h 1546623"/>
                  <a:gd name="connsiteX103" fmla="*/ 117035 w 1220122"/>
                  <a:gd name="connsiteY103" fmla="*/ 450486 h 1546623"/>
                  <a:gd name="connsiteX104" fmla="*/ 66552 w 1220122"/>
                  <a:gd name="connsiteY104" fmla="*/ 462964 h 1546623"/>
                  <a:gd name="connsiteX105" fmla="*/ 53408 w 1220122"/>
                  <a:gd name="connsiteY105" fmla="*/ 453439 h 1546623"/>
                  <a:gd name="connsiteX106" fmla="*/ 58170 w 1220122"/>
                  <a:gd name="connsiteY106" fmla="*/ 434198 h 1546623"/>
                  <a:gd name="connsiteX107" fmla="*/ 592809 w 1220122"/>
                  <a:gd name="connsiteY107" fmla="*/ 78535 h 1546623"/>
                  <a:gd name="connsiteX108" fmla="*/ 233716 w 1220122"/>
                  <a:gd name="connsiteY108" fmla="*/ 297038 h 1546623"/>
                  <a:gd name="connsiteX109" fmla="*/ 48645 w 1220122"/>
                  <a:gd name="connsiteY109" fmla="*/ 405147 h 1546623"/>
                  <a:gd name="connsiteX110" fmla="*/ 39311 w 1220122"/>
                  <a:gd name="connsiteY110" fmla="*/ 398194 h 1546623"/>
                  <a:gd name="connsiteX111" fmla="*/ 190187 w 1220122"/>
                  <a:gd name="connsiteY111" fmla="*/ 259986 h 1546623"/>
                  <a:gd name="connsiteX112" fmla="*/ 127703 w 1220122"/>
                  <a:gd name="connsiteY112" fmla="*/ 300086 h 1546623"/>
                  <a:gd name="connsiteX113" fmla="*/ 114939 w 1220122"/>
                  <a:gd name="connsiteY113" fmla="*/ 303039 h 1546623"/>
                  <a:gd name="connsiteX114" fmla="*/ 105986 w 1220122"/>
                  <a:gd name="connsiteY114" fmla="*/ 296276 h 1546623"/>
                  <a:gd name="connsiteX115" fmla="*/ 226382 w 1220122"/>
                  <a:gd name="connsiteY115" fmla="*/ 174642 h 1546623"/>
                  <a:gd name="connsiteX116" fmla="*/ 216285 w 1220122"/>
                  <a:gd name="connsiteY116" fmla="*/ 167213 h 1546623"/>
                  <a:gd name="connsiteX117" fmla="*/ 221524 w 1220122"/>
                  <a:gd name="connsiteY117" fmla="*/ 147686 h 1546623"/>
                  <a:gd name="connsiteX118" fmla="*/ 230287 w 1220122"/>
                  <a:gd name="connsiteY118" fmla="*/ 145877 h 1546623"/>
                  <a:gd name="connsiteX119" fmla="*/ 274007 w 1220122"/>
                  <a:gd name="connsiteY119" fmla="*/ 117016 h 1546623"/>
                  <a:gd name="connsiteX120" fmla="*/ 344968 w 1220122"/>
                  <a:gd name="connsiteY120" fmla="*/ 79106 h 1546623"/>
                  <a:gd name="connsiteX121" fmla="*/ 355541 w 1220122"/>
                  <a:gd name="connsiteY121" fmla="*/ 86822 h 1546623"/>
                  <a:gd name="connsiteX122" fmla="*/ 279246 w 1220122"/>
                  <a:gd name="connsiteY122" fmla="*/ 170070 h 1546623"/>
                  <a:gd name="connsiteX123" fmla="*/ 345730 w 1220122"/>
                  <a:gd name="connsiteY123" fmla="*/ 129017 h 1546623"/>
                  <a:gd name="connsiteX124" fmla="*/ 593094 w 1220122"/>
                  <a:gd name="connsiteY124" fmla="*/ 716 h 1546623"/>
                  <a:gd name="connsiteX125" fmla="*/ 604048 w 1220122"/>
                  <a:gd name="connsiteY125" fmla="*/ 8717 h 1546623"/>
                  <a:gd name="connsiteX126" fmla="*/ 599286 w 1220122"/>
                  <a:gd name="connsiteY126" fmla="*/ 27957 h 1546623"/>
                  <a:gd name="connsiteX127" fmla="*/ 286675 w 1220122"/>
                  <a:gd name="connsiteY127" fmla="*/ 229220 h 1546623"/>
                  <a:gd name="connsiteX128" fmla="*/ 637862 w 1220122"/>
                  <a:gd name="connsiteY128" fmla="*/ 36625 h 1546623"/>
                  <a:gd name="connsiteX129" fmla="*/ 650149 w 1220122"/>
                  <a:gd name="connsiteY129" fmla="*/ 45578 h 1546623"/>
                  <a:gd name="connsiteX130" fmla="*/ 365161 w 1220122"/>
                  <a:gd name="connsiteY130" fmla="*/ 270749 h 1546623"/>
                  <a:gd name="connsiteX131" fmla="*/ 321918 w 1220122"/>
                  <a:gd name="connsiteY131" fmla="*/ 299039 h 1546623"/>
                  <a:gd name="connsiteX132" fmla="*/ 493653 w 1220122"/>
                  <a:gd name="connsiteY132" fmla="*/ 188644 h 1546623"/>
                  <a:gd name="connsiteX133" fmla="*/ 732350 w 1220122"/>
                  <a:gd name="connsiteY133" fmla="*/ 48531 h 1546623"/>
                  <a:gd name="connsiteX134" fmla="*/ 742161 w 1220122"/>
                  <a:gd name="connsiteY134" fmla="*/ 55865 h 1546623"/>
                  <a:gd name="connsiteX135" fmla="*/ 737493 w 1220122"/>
                  <a:gd name="connsiteY135" fmla="*/ 75106 h 1546623"/>
                  <a:gd name="connsiteX136" fmla="*/ 143895 w 1220122"/>
                  <a:gd name="connsiteY136" fmla="*/ 466774 h 1546623"/>
                  <a:gd name="connsiteX137" fmla="*/ 408119 w 1220122"/>
                  <a:gd name="connsiteY137" fmla="*/ 301706 h 1546623"/>
                  <a:gd name="connsiteX138" fmla="*/ 809788 w 1220122"/>
                  <a:gd name="connsiteY138" fmla="*/ 72248 h 1546623"/>
                  <a:gd name="connsiteX139" fmla="*/ 821028 w 1220122"/>
                  <a:gd name="connsiteY139" fmla="*/ 80535 h 1546623"/>
                  <a:gd name="connsiteX140" fmla="*/ 667389 w 1220122"/>
                  <a:gd name="connsiteY140" fmla="*/ 211790 h 1546623"/>
                  <a:gd name="connsiteX141" fmla="*/ 911420 w 1220122"/>
                  <a:gd name="connsiteY141" fmla="*/ 80154 h 1546623"/>
                  <a:gd name="connsiteX142" fmla="*/ 920278 w 1220122"/>
                  <a:gd name="connsiteY142" fmla="*/ 86917 h 1546623"/>
                  <a:gd name="connsiteX143" fmla="*/ 498606 w 1220122"/>
                  <a:gd name="connsiteY143" fmla="*/ 395336 h 1546623"/>
                  <a:gd name="connsiteX144" fmla="*/ 403642 w 1220122"/>
                  <a:gd name="connsiteY144" fmla="*/ 455820 h 1546623"/>
                  <a:gd name="connsiteX145" fmla="*/ 940185 w 1220122"/>
                  <a:gd name="connsiteY145" fmla="*/ 129494 h 1546623"/>
                  <a:gd name="connsiteX146" fmla="*/ 951234 w 1220122"/>
                  <a:gd name="connsiteY146" fmla="*/ 127779 h 1546623"/>
                  <a:gd name="connsiteX147" fmla="*/ 960188 w 1220122"/>
                  <a:gd name="connsiteY147" fmla="*/ 134447 h 1546623"/>
                  <a:gd name="connsiteX148" fmla="*/ 946472 w 1220122"/>
                  <a:gd name="connsiteY148" fmla="*/ 160640 h 1546623"/>
                  <a:gd name="connsiteX149" fmla="*/ 918183 w 1220122"/>
                  <a:gd name="connsiteY149" fmla="*/ 179881 h 1546623"/>
                  <a:gd name="connsiteX150" fmla="*/ 817027 w 1220122"/>
                  <a:gd name="connsiteY150" fmla="*/ 246365 h 1546623"/>
                  <a:gd name="connsiteX151" fmla="*/ 509179 w 1220122"/>
                  <a:gd name="connsiteY151" fmla="*/ 445438 h 1546623"/>
                  <a:gd name="connsiteX152" fmla="*/ 171042 w 1220122"/>
                  <a:gd name="connsiteY152" fmla="*/ 662703 h 1546623"/>
                  <a:gd name="connsiteX153" fmla="*/ 936375 w 1220122"/>
                  <a:gd name="connsiteY153" fmla="*/ 197978 h 1546623"/>
                  <a:gd name="connsiteX154" fmla="*/ 1004384 w 1220122"/>
                  <a:gd name="connsiteY154" fmla="*/ 160164 h 1546623"/>
                  <a:gd name="connsiteX155" fmla="*/ 1013337 w 1220122"/>
                  <a:gd name="connsiteY155" fmla="*/ 166927 h 1546623"/>
                  <a:gd name="connsiteX156" fmla="*/ 1007432 w 1220122"/>
                  <a:gd name="connsiteY156" fmla="*/ 186644 h 1546623"/>
                  <a:gd name="connsiteX157" fmla="*/ 1007432 w 1220122"/>
                  <a:gd name="connsiteY157" fmla="*/ 186644 h 1546623"/>
                  <a:gd name="connsiteX158" fmla="*/ 1006956 w 1220122"/>
                  <a:gd name="connsiteY158" fmla="*/ 187025 h 1546623"/>
                  <a:gd name="connsiteX159" fmla="*/ 867414 w 1220122"/>
                  <a:gd name="connsiteY159" fmla="*/ 281417 h 1546623"/>
                  <a:gd name="connsiteX160" fmla="*/ 1008765 w 1220122"/>
                  <a:gd name="connsiteY160" fmla="*/ 218838 h 1546623"/>
                  <a:gd name="connsiteX161" fmla="*/ 1019148 w 1220122"/>
                  <a:gd name="connsiteY161" fmla="*/ 226553 h 1546623"/>
                  <a:gd name="connsiteX162" fmla="*/ 1006479 w 1220122"/>
                  <a:gd name="connsiteY162" fmla="*/ 267606 h 1546623"/>
                  <a:gd name="connsiteX163" fmla="*/ 1029720 w 1220122"/>
                  <a:gd name="connsiteY163" fmla="*/ 265987 h 1546623"/>
                  <a:gd name="connsiteX164" fmla="*/ 1044675 w 1220122"/>
                  <a:gd name="connsiteY164" fmla="*/ 276655 h 1546623"/>
                  <a:gd name="connsiteX165" fmla="*/ 775974 w 1220122"/>
                  <a:gd name="connsiteY165" fmla="*/ 479918 h 1546623"/>
                  <a:gd name="connsiteX166" fmla="*/ 1085727 w 1220122"/>
                  <a:gd name="connsiteY166" fmla="*/ 309040 h 1546623"/>
                  <a:gd name="connsiteX167" fmla="*/ 1094490 w 1220122"/>
                  <a:gd name="connsiteY167" fmla="*/ 315707 h 1546623"/>
                  <a:gd name="connsiteX168" fmla="*/ 1045913 w 1220122"/>
                  <a:gd name="connsiteY168" fmla="*/ 377334 h 1546623"/>
                  <a:gd name="connsiteX169" fmla="*/ 932375 w 1220122"/>
                  <a:gd name="connsiteY169" fmla="*/ 453534 h 1546623"/>
                  <a:gd name="connsiteX170" fmla="*/ 1155450 w 1220122"/>
                  <a:gd name="connsiteY170" fmla="*/ 331805 h 1546623"/>
                  <a:gd name="connsiteX171" fmla="*/ 1165547 w 1220122"/>
                  <a:gd name="connsiteY171" fmla="*/ 339329 h 1546623"/>
                  <a:gd name="connsiteX172" fmla="*/ 1166976 w 1220122"/>
                  <a:gd name="connsiteY172" fmla="*/ 350188 h 1546623"/>
                  <a:gd name="connsiteX173" fmla="*/ 1160213 w 1220122"/>
                  <a:gd name="connsiteY173" fmla="*/ 358856 h 1546623"/>
                  <a:gd name="connsiteX174" fmla="*/ 868843 w 1220122"/>
                  <a:gd name="connsiteY174" fmla="*/ 527067 h 1546623"/>
                  <a:gd name="connsiteX175" fmla="*/ 769974 w 1220122"/>
                  <a:gd name="connsiteY175" fmla="*/ 589551 h 1546623"/>
                  <a:gd name="connsiteX176" fmla="*/ 334205 w 1220122"/>
                  <a:gd name="connsiteY176" fmla="*/ 859013 h 1546623"/>
                  <a:gd name="connsiteX177" fmla="*/ 254100 w 1220122"/>
                  <a:gd name="connsiteY177" fmla="*/ 916354 h 1546623"/>
                  <a:gd name="connsiteX178" fmla="*/ 644148 w 1220122"/>
                  <a:gd name="connsiteY178" fmla="*/ 686801 h 1546623"/>
                  <a:gd name="connsiteX179" fmla="*/ 1136686 w 1220122"/>
                  <a:gd name="connsiteY179" fmla="*/ 412386 h 1546623"/>
                  <a:gd name="connsiteX180" fmla="*/ 1145640 w 1220122"/>
                  <a:gd name="connsiteY180" fmla="*/ 419244 h 1546623"/>
                  <a:gd name="connsiteX181" fmla="*/ 1147449 w 1220122"/>
                  <a:gd name="connsiteY181" fmla="*/ 435437 h 1546623"/>
                  <a:gd name="connsiteX182" fmla="*/ 1131924 w 1220122"/>
                  <a:gd name="connsiteY182" fmla="*/ 459059 h 1546623"/>
                  <a:gd name="connsiteX183" fmla="*/ 1195170 w 1220122"/>
                  <a:gd name="connsiteY183" fmla="*/ 438580 h 1546623"/>
                  <a:gd name="connsiteX184" fmla="*/ 1207076 w 1220122"/>
                  <a:gd name="connsiteY184" fmla="*/ 447248 h 1546623"/>
                  <a:gd name="connsiteX185" fmla="*/ 1180501 w 1220122"/>
                  <a:gd name="connsiteY185" fmla="*/ 483062 h 1546623"/>
                  <a:gd name="connsiteX186" fmla="*/ 1116303 w 1220122"/>
                  <a:gd name="connsiteY186" fmla="*/ 523924 h 1546623"/>
                  <a:gd name="connsiteX187" fmla="*/ 1110683 w 1220122"/>
                  <a:gd name="connsiteY187" fmla="*/ 527448 h 1546623"/>
                  <a:gd name="connsiteX188" fmla="*/ 1201837 w 1220122"/>
                  <a:gd name="connsiteY188" fmla="*/ 500016 h 1546623"/>
                  <a:gd name="connsiteX189" fmla="*/ 1217268 w 1220122"/>
                  <a:gd name="connsiteY189" fmla="*/ 511065 h 1546623"/>
                  <a:gd name="connsiteX190" fmla="*/ 752543 w 1220122"/>
                  <a:gd name="connsiteY190" fmla="*/ 823104 h 1546623"/>
                  <a:gd name="connsiteX191" fmla="*/ 229811 w 1220122"/>
                  <a:gd name="connsiteY191" fmla="*/ 1147621 h 1546623"/>
                  <a:gd name="connsiteX192" fmla="*/ 605096 w 1220122"/>
                  <a:gd name="connsiteY192" fmla="*/ 942167 h 1546623"/>
                  <a:gd name="connsiteX193" fmla="*/ 1119827 w 1220122"/>
                  <a:gd name="connsiteY193" fmla="*/ 619174 h 1546623"/>
                  <a:gd name="connsiteX194" fmla="*/ 1197932 w 1220122"/>
                  <a:gd name="connsiteY194" fmla="*/ 574787 h 1546623"/>
                  <a:gd name="connsiteX195" fmla="*/ 1206885 w 1220122"/>
                  <a:gd name="connsiteY195" fmla="*/ 581550 h 1546623"/>
                  <a:gd name="connsiteX196" fmla="*/ 1140686 w 1220122"/>
                  <a:gd name="connsiteY196" fmla="*/ 660131 h 1546623"/>
                  <a:gd name="connsiteX197" fmla="*/ 1175929 w 1220122"/>
                  <a:gd name="connsiteY197" fmla="*/ 654035 h 1546623"/>
                  <a:gd name="connsiteX198" fmla="*/ 1188788 w 1220122"/>
                  <a:gd name="connsiteY198" fmla="*/ 663370 h 1546623"/>
                  <a:gd name="connsiteX199" fmla="*/ 1043055 w 1220122"/>
                  <a:gd name="connsiteY199" fmla="*/ 778813 h 1546623"/>
                  <a:gd name="connsiteX200" fmla="*/ 727683 w 1220122"/>
                  <a:gd name="connsiteY200" fmla="*/ 982934 h 1546623"/>
                  <a:gd name="connsiteX201" fmla="*/ 380687 w 1220122"/>
                  <a:gd name="connsiteY201" fmla="*/ 1205247 h 1546623"/>
                  <a:gd name="connsiteX202" fmla="*/ 1047342 w 1220122"/>
                  <a:gd name="connsiteY202" fmla="*/ 800053 h 1546623"/>
                  <a:gd name="connsiteX203" fmla="*/ 1187931 w 1220122"/>
                  <a:gd name="connsiteY203" fmla="*/ 717567 h 1546623"/>
                  <a:gd name="connsiteX204" fmla="*/ 1196979 w 1220122"/>
                  <a:gd name="connsiteY204" fmla="*/ 724330 h 1546623"/>
                  <a:gd name="connsiteX205" fmla="*/ 1128209 w 1220122"/>
                  <a:gd name="connsiteY205" fmla="*/ 813674 h 1546623"/>
                  <a:gd name="connsiteX206" fmla="*/ 1133733 w 1220122"/>
                  <a:gd name="connsiteY206" fmla="*/ 814055 h 1546623"/>
                  <a:gd name="connsiteX207" fmla="*/ 1144973 w 1220122"/>
                  <a:gd name="connsiteY207" fmla="*/ 822342 h 1546623"/>
                  <a:gd name="connsiteX208" fmla="*/ 743589 w 1220122"/>
                  <a:gd name="connsiteY208" fmla="*/ 1123999 h 1546623"/>
                  <a:gd name="connsiteX209" fmla="*/ 1093061 w 1220122"/>
                  <a:gd name="connsiteY209" fmla="*/ 903495 h 1546623"/>
                  <a:gd name="connsiteX210" fmla="*/ 1104206 w 1220122"/>
                  <a:gd name="connsiteY210" fmla="*/ 901590 h 1546623"/>
                  <a:gd name="connsiteX211" fmla="*/ 1113255 w 1220122"/>
                  <a:gd name="connsiteY211" fmla="*/ 908353 h 1546623"/>
                  <a:gd name="connsiteX212" fmla="*/ 1094586 w 1220122"/>
                  <a:gd name="connsiteY212" fmla="*/ 938833 h 1546623"/>
                  <a:gd name="connsiteX213" fmla="*/ 1051818 w 1220122"/>
                  <a:gd name="connsiteY213" fmla="*/ 968170 h 1546623"/>
                  <a:gd name="connsiteX214" fmla="*/ 981238 w 1220122"/>
                  <a:gd name="connsiteY214" fmla="*/ 1015033 h 1546623"/>
                  <a:gd name="connsiteX215" fmla="*/ 1057248 w 1220122"/>
                  <a:gd name="connsiteY215" fmla="*/ 989887 h 1546623"/>
                  <a:gd name="connsiteX216" fmla="*/ 1070107 w 1220122"/>
                  <a:gd name="connsiteY216" fmla="*/ 999221 h 1546623"/>
                  <a:gd name="connsiteX217" fmla="*/ 979905 w 1220122"/>
                  <a:gd name="connsiteY217" fmla="*/ 1080565 h 1546623"/>
                  <a:gd name="connsiteX218" fmla="*/ 1023815 w 1220122"/>
                  <a:gd name="connsiteY218" fmla="*/ 1070945 h 1546623"/>
                  <a:gd name="connsiteX219" fmla="*/ 1037721 w 1220122"/>
                  <a:gd name="connsiteY219" fmla="*/ 1080946 h 1546623"/>
                  <a:gd name="connsiteX220" fmla="*/ 782261 w 1220122"/>
                  <a:gd name="connsiteY220" fmla="*/ 1265255 h 1546623"/>
                  <a:gd name="connsiteX221" fmla="*/ 539945 w 1220122"/>
                  <a:gd name="connsiteY221" fmla="*/ 1414892 h 1546623"/>
                  <a:gd name="connsiteX222" fmla="*/ 1046770 w 1220122"/>
                  <a:gd name="connsiteY222" fmla="*/ 1122284 h 1546623"/>
                  <a:gd name="connsiteX223" fmla="*/ 1057629 w 1220122"/>
                  <a:gd name="connsiteY223" fmla="*/ 1120856 h 1546623"/>
                  <a:gd name="connsiteX224" fmla="*/ 1066296 w 1220122"/>
                  <a:gd name="connsiteY224" fmla="*/ 1127523 h 1546623"/>
                  <a:gd name="connsiteX225" fmla="*/ 1046770 w 1220122"/>
                  <a:gd name="connsiteY225" fmla="*/ 1159241 h 1546623"/>
                  <a:gd name="connsiteX226" fmla="*/ 1001907 w 1220122"/>
                  <a:gd name="connsiteY226" fmla="*/ 1190960 h 1546623"/>
                  <a:gd name="connsiteX227" fmla="*/ 856651 w 1220122"/>
                  <a:gd name="connsiteY227" fmla="*/ 1289829 h 1546623"/>
                  <a:gd name="connsiteX228" fmla="*/ 644529 w 1220122"/>
                  <a:gd name="connsiteY228" fmla="*/ 1434704 h 1546623"/>
                  <a:gd name="connsiteX229" fmla="*/ 735207 w 1220122"/>
                  <a:gd name="connsiteY229" fmla="*/ 1373649 h 1546623"/>
                  <a:gd name="connsiteX230" fmla="*/ 969046 w 1220122"/>
                  <a:gd name="connsiteY230" fmla="*/ 1238680 h 1546623"/>
                  <a:gd name="connsiteX231" fmla="*/ 981333 w 1220122"/>
                  <a:gd name="connsiteY231" fmla="*/ 1247538 h 1546623"/>
                  <a:gd name="connsiteX232" fmla="*/ 821028 w 1220122"/>
                  <a:gd name="connsiteY232" fmla="*/ 1385079 h 1546623"/>
                  <a:gd name="connsiteX233" fmla="*/ 1002002 w 1220122"/>
                  <a:gd name="connsiteY233" fmla="*/ 1284400 h 1546623"/>
                  <a:gd name="connsiteX234" fmla="*/ 1013337 w 1220122"/>
                  <a:gd name="connsiteY234" fmla="*/ 1292687 h 1546623"/>
                  <a:gd name="connsiteX235" fmla="*/ 934756 w 1220122"/>
                  <a:gd name="connsiteY235" fmla="*/ 1373935 h 1546623"/>
                  <a:gd name="connsiteX236" fmla="*/ 841125 w 1220122"/>
                  <a:gd name="connsiteY236" fmla="*/ 1450992 h 1546623"/>
                  <a:gd name="connsiteX237" fmla="*/ 923326 w 1220122"/>
                  <a:gd name="connsiteY237" fmla="*/ 1398891 h 1546623"/>
                  <a:gd name="connsiteX238" fmla="*/ 934470 w 1220122"/>
                  <a:gd name="connsiteY238" fmla="*/ 1396985 h 1546623"/>
                  <a:gd name="connsiteX239" fmla="*/ 943519 w 1220122"/>
                  <a:gd name="connsiteY239" fmla="*/ 1403748 h 1546623"/>
                  <a:gd name="connsiteX240" fmla="*/ 927327 w 1220122"/>
                  <a:gd name="connsiteY240" fmla="*/ 1436228 h 1546623"/>
                  <a:gd name="connsiteX241" fmla="*/ 886274 w 1220122"/>
                  <a:gd name="connsiteY241" fmla="*/ 1480996 h 1546623"/>
                  <a:gd name="connsiteX242" fmla="*/ 982000 w 1220122"/>
                  <a:gd name="connsiteY242" fmla="*/ 1431847 h 1546623"/>
                  <a:gd name="connsiteX243" fmla="*/ 990858 w 1220122"/>
                  <a:gd name="connsiteY243" fmla="*/ 1438610 h 1546623"/>
                  <a:gd name="connsiteX244" fmla="*/ 985619 w 1220122"/>
                  <a:gd name="connsiteY244" fmla="*/ 1458136 h 1546623"/>
                  <a:gd name="connsiteX245" fmla="*/ 981048 w 1220122"/>
                  <a:gd name="connsiteY245" fmla="*/ 1459850 h 1546623"/>
                  <a:gd name="connsiteX246" fmla="*/ 835982 w 1220122"/>
                  <a:gd name="connsiteY246" fmla="*/ 1544528 h 1546623"/>
                  <a:gd name="connsiteX247" fmla="*/ 828552 w 1220122"/>
                  <a:gd name="connsiteY247" fmla="*/ 1546623 h 1546623"/>
                  <a:gd name="connsiteX248" fmla="*/ 965331 w 1220122"/>
                  <a:gd name="connsiteY248" fmla="*/ 1452707 h 1546623"/>
                  <a:gd name="connsiteX249" fmla="*/ 971808 w 1220122"/>
                  <a:gd name="connsiteY249" fmla="*/ 1458517 h 1546623"/>
                  <a:gd name="connsiteX250" fmla="*/ 965331 w 1220122"/>
                  <a:gd name="connsiteY250" fmla="*/ 1452707 h 1546623"/>
                  <a:gd name="connsiteX251" fmla="*/ 613668 w 1220122"/>
                  <a:gd name="connsiteY251" fmla="*/ 1307260 h 1546623"/>
                  <a:gd name="connsiteX252" fmla="*/ 397641 w 1220122"/>
                  <a:gd name="connsiteY252" fmla="*/ 1446706 h 1546623"/>
                  <a:gd name="connsiteX253" fmla="*/ 613668 w 1220122"/>
                  <a:gd name="connsiteY253" fmla="*/ 1307260 h 1546623"/>
                  <a:gd name="connsiteX254" fmla="*/ 967903 w 1220122"/>
                  <a:gd name="connsiteY254" fmla="*/ 1053609 h 1546623"/>
                  <a:gd name="connsiteX255" fmla="*/ 608430 w 1220122"/>
                  <a:gd name="connsiteY255" fmla="*/ 1276970 h 1546623"/>
                  <a:gd name="connsiteX256" fmla="*/ 753686 w 1220122"/>
                  <a:gd name="connsiteY256" fmla="*/ 1187054 h 1546623"/>
                  <a:gd name="connsiteX257" fmla="*/ 967903 w 1220122"/>
                  <a:gd name="connsiteY257" fmla="*/ 1053609 h 1546623"/>
                  <a:gd name="connsiteX258" fmla="*/ 961807 w 1220122"/>
                  <a:gd name="connsiteY258" fmla="*/ 1120094 h 1546623"/>
                  <a:gd name="connsiteX259" fmla="*/ 758829 w 1220122"/>
                  <a:gd name="connsiteY259" fmla="*/ 1245347 h 1546623"/>
                  <a:gd name="connsiteX260" fmla="*/ 766735 w 1220122"/>
                  <a:gd name="connsiteY260" fmla="*/ 1240585 h 1546623"/>
                  <a:gd name="connsiteX261" fmla="*/ 961902 w 1220122"/>
                  <a:gd name="connsiteY261" fmla="*/ 1120094 h 1546623"/>
                  <a:gd name="connsiteX262" fmla="*/ 493368 w 1220122"/>
                  <a:gd name="connsiteY262" fmla="*/ 906353 h 1546623"/>
                  <a:gd name="connsiteX263" fmla="*/ 325537 w 1220122"/>
                  <a:gd name="connsiteY263" fmla="*/ 1014176 h 1546623"/>
                  <a:gd name="connsiteX264" fmla="*/ 493368 w 1220122"/>
                  <a:gd name="connsiteY264" fmla="*/ 906353 h 1546623"/>
                  <a:gd name="connsiteX265" fmla="*/ 1171452 w 1220122"/>
                  <a:gd name="connsiteY265" fmla="*/ 531639 h 1546623"/>
                  <a:gd name="connsiteX266" fmla="*/ 961331 w 1220122"/>
                  <a:gd name="connsiteY266" fmla="*/ 642320 h 1546623"/>
                  <a:gd name="connsiteX267" fmla="*/ 553851 w 1220122"/>
                  <a:gd name="connsiteY267" fmla="*/ 901114 h 1546623"/>
                  <a:gd name="connsiteX268" fmla="*/ 405357 w 1220122"/>
                  <a:gd name="connsiteY268" fmla="*/ 997221 h 1546623"/>
                  <a:gd name="connsiteX269" fmla="*/ 737208 w 1220122"/>
                  <a:gd name="connsiteY269" fmla="*/ 798244 h 1546623"/>
                  <a:gd name="connsiteX270" fmla="*/ 1171452 w 1220122"/>
                  <a:gd name="connsiteY270" fmla="*/ 531639 h 1546623"/>
                  <a:gd name="connsiteX271" fmla="*/ 1081917 w 1220122"/>
                  <a:gd name="connsiteY271" fmla="*/ 811198 h 1546623"/>
                  <a:gd name="connsiteX272" fmla="*/ 1061820 w 1220122"/>
                  <a:gd name="connsiteY272" fmla="*/ 823961 h 1546623"/>
                  <a:gd name="connsiteX273" fmla="*/ 872367 w 1220122"/>
                  <a:gd name="connsiteY273" fmla="*/ 943500 h 1546623"/>
                  <a:gd name="connsiteX274" fmla="*/ 1081917 w 1220122"/>
                  <a:gd name="connsiteY274" fmla="*/ 811198 h 1546623"/>
                  <a:gd name="connsiteX275" fmla="*/ 450219 w 1220122"/>
                  <a:gd name="connsiteY275" fmla="*/ 747571 h 1546623"/>
                  <a:gd name="connsiteX276" fmla="*/ 222191 w 1220122"/>
                  <a:gd name="connsiteY276" fmla="*/ 887969 h 1546623"/>
                  <a:gd name="connsiteX277" fmla="*/ 324013 w 1220122"/>
                  <a:gd name="connsiteY277" fmla="*/ 831105 h 1546623"/>
                  <a:gd name="connsiteX278" fmla="*/ 450315 w 1220122"/>
                  <a:gd name="connsiteY278" fmla="*/ 747571 h 1546623"/>
                  <a:gd name="connsiteX279" fmla="*/ 673962 w 1220122"/>
                  <a:gd name="connsiteY279" fmla="*/ 496016 h 1546623"/>
                  <a:gd name="connsiteX280" fmla="*/ 567567 w 1220122"/>
                  <a:gd name="connsiteY280" fmla="*/ 567167 h 1546623"/>
                  <a:gd name="connsiteX281" fmla="*/ 390307 w 1220122"/>
                  <a:gd name="connsiteY281" fmla="*/ 684992 h 1546623"/>
                  <a:gd name="connsiteX282" fmla="*/ 442790 w 1220122"/>
                  <a:gd name="connsiteY282" fmla="*/ 652607 h 1546623"/>
                  <a:gd name="connsiteX283" fmla="*/ 996002 w 1220122"/>
                  <a:gd name="connsiteY283" fmla="*/ 299610 h 1546623"/>
                  <a:gd name="connsiteX284" fmla="*/ 908086 w 1220122"/>
                  <a:gd name="connsiteY284" fmla="*/ 346092 h 1546623"/>
                  <a:gd name="connsiteX285" fmla="*/ 781594 w 1220122"/>
                  <a:gd name="connsiteY285" fmla="*/ 429245 h 1546623"/>
                  <a:gd name="connsiteX286" fmla="*/ 673771 w 1220122"/>
                  <a:gd name="connsiteY286" fmla="*/ 495825 h 1546623"/>
                  <a:gd name="connsiteX287" fmla="*/ 240479 w 1220122"/>
                  <a:gd name="connsiteY287" fmla="*/ 152830 h 1546623"/>
                  <a:gd name="connsiteX288" fmla="*/ 240479 w 1220122"/>
                  <a:gd name="connsiteY288" fmla="*/ 152830 h 1546623"/>
                  <a:gd name="connsiteX289" fmla="*/ 240479 w 1220122"/>
                  <a:gd name="connsiteY289" fmla="*/ 152830 h 1546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</a:cxnLst>
                <a:rect l="l" t="t" r="r" b="b"/>
                <a:pathLst>
                  <a:path w="1220122" h="1546623">
                    <a:moveTo>
                      <a:pt x="827886" y="1546337"/>
                    </a:moveTo>
                    <a:cubicBezTo>
                      <a:pt x="826743" y="1546337"/>
                      <a:pt x="825504" y="1546147"/>
                      <a:pt x="824361" y="1545861"/>
                    </a:cubicBezTo>
                    <a:cubicBezTo>
                      <a:pt x="820647" y="1544909"/>
                      <a:pt x="817503" y="1542527"/>
                      <a:pt x="815598" y="1539194"/>
                    </a:cubicBezTo>
                    <a:cubicBezTo>
                      <a:pt x="810550" y="1530526"/>
                      <a:pt x="807978" y="1525954"/>
                      <a:pt x="848174" y="1479853"/>
                    </a:cubicBezTo>
                    <a:cubicBezTo>
                      <a:pt x="761496" y="1532907"/>
                      <a:pt x="752257" y="1530716"/>
                      <a:pt x="747209" y="1529478"/>
                    </a:cubicBezTo>
                    <a:cubicBezTo>
                      <a:pt x="743399" y="1528526"/>
                      <a:pt x="739303" y="1525573"/>
                      <a:pt x="737398" y="1522239"/>
                    </a:cubicBezTo>
                    <a:cubicBezTo>
                      <a:pt x="729397" y="1508428"/>
                      <a:pt x="727873" y="1505666"/>
                      <a:pt x="888274" y="1374411"/>
                    </a:cubicBezTo>
                    <a:cubicBezTo>
                      <a:pt x="862557" y="1391175"/>
                      <a:pt x="835791" y="1408987"/>
                      <a:pt x="811979" y="1424894"/>
                    </a:cubicBezTo>
                    <a:cubicBezTo>
                      <a:pt x="670723" y="1519096"/>
                      <a:pt x="626908" y="1545861"/>
                      <a:pt x="607477" y="1541289"/>
                    </a:cubicBezTo>
                    <a:cubicBezTo>
                      <a:pt x="602619" y="1540146"/>
                      <a:pt x="598619" y="1537193"/>
                      <a:pt x="596142" y="1533098"/>
                    </a:cubicBezTo>
                    <a:cubicBezTo>
                      <a:pt x="590427" y="1523192"/>
                      <a:pt x="650625" y="1472582"/>
                      <a:pt x="776736" y="1381269"/>
                    </a:cubicBezTo>
                    <a:cubicBezTo>
                      <a:pt x="788928" y="1372506"/>
                      <a:pt x="801501" y="1363362"/>
                      <a:pt x="814170" y="1354123"/>
                    </a:cubicBezTo>
                    <a:cubicBezTo>
                      <a:pt x="792357" y="1368791"/>
                      <a:pt x="770545" y="1383650"/>
                      <a:pt x="750543" y="1397176"/>
                    </a:cubicBezTo>
                    <a:cubicBezTo>
                      <a:pt x="601381" y="1498617"/>
                      <a:pt x="533373" y="1542432"/>
                      <a:pt x="507941" y="1536717"/>
                    </a:cubicBezTo>
                    <a:cubicBezTo>
                      <a:pt x="502512" y="1535479"/>
                      <a:pt x="498035" y="1532241"/>
                      <a:pt x="495368" y="1527668"/>
                    </a:cubicBezTo>
                    <a:cubicBezTo>
                      <a:pt x="486033" y="1511571"/>
                      <a:pt x="484033" y="1507952"/>
                      <a:pt x="759687" y="1320690"/>
                    </a:cubicBezTo>
                    <a:lnTo>
                      <a:pt x="397165" y="1529954"/>
                    </a:lnTo>
                    <a:cubicBezTo>
                      <a:pt x="390307" y="1533955"/>
                      <a:pt x="381639" y="1531574"/>
                      <a:pt x="377639" y="1524716"/>
                    </a:cubicBezTo>
                    <a:cubicBezTo>
                      <a:pt x="371257" y="1513667"/>
                      <a:pt x="376305" y="1500141"/>
                      <a:pt x="402499" y="1476995"/>
                    </a:cubicBezTo>
                    <a:cubicBezTo>
                      <a:pt x="360780" y="1500999"/>
                      <a:pt x="336491" y="1510619"/>
                      <a:pt x="324585" y="1507856"/>
                    </a:cubicBezTo>
                    <a:cubicBezTo>
                      <a:pt x="319441" y="1506618"/>
                      <a:pt x="315155" y="1503570"/>
                      <a:pt x="312583" y="1499189"/>
                    </a:cubicBezTo>
                    <a:cubicBezTo>
                      <a:pt x="304677" y="1485568"/>
                      <a:pt x="307725" y="1472804"/>
                      <a:pt x="408595" y="1404986"/>
                    </a:cubicBezTo>
                    <a:cubicBezTo>
                      <a:pt x="304487" y="1470042"/>
                      <a:pt x="266196" y="1489283"/>
                      <a:pt x="251242" y="1485663"/>
                    </a:cubicBezTo>
                    <a:cubicBezTo>
                      <a:pt x="246575" y="1484520"/>
                      <a:pt x="242860" y="1481758"/>
                      <a:pt x="240574" y="1477758"/>
                    </a:cubicBezTo>
                    <a:cubicBezTo>
                      <a:pt x="233621" y="1465756"/>
                      <a:pt x="240098" y="1461565"/>
                      <a:pt x="264006" y="1445753"/>
                    </a:cubicBezTo>
                    <a:cubicBezTo>
                      <a:pt x="276388" y="1437657"/>
                      <a:pt x="294390" y="1425846"/>
                      <a:pt x="316679" y="1411368"/>
                    </a:cubicBezTo>
                    <a:cubicBezTo>
                      <a:pt x="339444" y="1396604"/>
                      <a:pt x="366685" y="1378983"/>
                      <a:pt x="397165" y="1359266"/>
                    </a:cubicBezTo>
                    <a:cubicBezTo>
                      <a:pt x="308392" y="1405367"/>
                      <a:pt x="295057" y="1402224"/>
                      <a:pt x="287723" y="1400414"/>
                    </a:cubicBezTo>
                    <a:cubicBezTo>
                      <a:pt x="282484" y="1399176"/>
                      <a:pt x="278103" y="1396033"/>
                      <a:pt x="275626" y="1391651"/>
                    </a:cubicBezTo>
                    <a:cubicBezTo>
                      <a:pt x="271721" y="1384889"/>
                      <a:pt x="274007" y="1376221"/>
                      <a:pt x="280674" y="1372220"/>
                    </a:cubicBezTo>
                    <a:cubicBezTo>
                      <a:pt x="560233" y="1206581"/>
                      <a:pt x="991811" y="940643"/>
                      <a:pt x="1095919" y="852727"/>
                    </a:cubicBezTo>
                    <a:cubicBezTo>
                      <a:pt x="992097" y="899876"/>
                      <a:pt x="682058" y="1092566"/>
                      <a:pt x="504988" y="1202580"/>
                    </a:cubicBezTo>
                    <a:cubicBezTo>
                      <a:pt x="277436" y="1343931"/>
                      <a:pt x="276388" y="1343645"/>
                      <a:pt x="266673" y="1341264"/>
                    </a:cubicBezTo>
                    <a:cubicBezTo>
                      <a:pt x="262958" y="1340312"/>
                      <a:pt x="259529" y="1337740"/>
                      <a:pt x="257624" y="1334406"/>
                    </a:cubicBezTo>
                    <a:cubicBezTo>
                      <a:pt x="249909" y="1320976"/>
                      <a:pt x="250290" y="1312499"/>
                      <a:pt x="341349" y="1256016"/>
                    </a:cubicBezTo>
                    <a:cubicBezTo>
                      <a:pt x="299534" y="1275732"/>
                      <a:pt x="271816" y="1284686"/>
                      <a:pt x="259624" y="1281733"/>
                    </a:cubicBezTo>
                    <a:cubicBezTo>
                      <a:pt x="254004" y="1280399"/>
                      <a:pt x="249528" y="1277066"/>
                      <a:pt x="246861" y="1272494"/>
                    </a:cubicBezTo>
                    <a:cubicBezTo>
                      <a:pt x="243051" y="1265826"/>
                      <a:pt x="245146" y="1257444"/>
                      <a:pt x="251528" y="1253253"/>
                    </a:cubicBezTo>
                    <a:cubicBezTo>
                      <a:pt x="533658" y="1073516"/>
                      <a:pt x="930565" y="819103"/>
                      <a:pt x="1092490" y="711471"/>
                    </a:cubicBezTo>
                    <a:cubicBezTo>
                      <a:pt x="1047532" y="734426"/>
                      <a:pt x="986953" y="768907"/>
                      <a:pt x="919707" y="808912"/>
                    </a:cubicBezTo>
                    <a:cubicBezTo>
                      <a:pt x="865319" y="843869"/>
                      <a:pt x="800835" y="884636"/>
                      <a:pt x="724539" y="932070"/>
                    </a:cubicBezTo>
                    <a:cubicBezTo>
                      <a:pt x="623670" y="994840"/>
                      <a:pt x="521847" y="1057038"/>
                      <a:pt x="436980" y="1108473"/>
                    </a:cubicBezTo>
                    <a:cubicBezTo>
                      <a:pt x="232002" y="1237727"/>
                      <a:pt x="229525" y="1237156"/>
                      <a:pt x="219524" y="1234775"/>
                    </a:cubicBezTo>
                    <a:cubicBezTo>
                      <a:pt x="215714" y="1233822"/>
                      <a:pt x="212190" y="1231250"/>
                      <a:pt x="210285" y="1227821"/>
                    </a:cubicBezTo>
                    <a:cubicBezTo>
                      <a:pt x="206379" y="1221059"/>
                      <a:pt x="208665" y="1212391"/>
                      <a:pt x="215333" y="1208391"/>
                    </a:cubicBezTo>
                    <a:cubicBezTo>
                      <a:pt x="277055" y="1171719"/>
                      <a:pt x="345254" y="1130762"/>
                      <a:pt x="415929" y="1087994"/>
                    </a:cubicBezTo>
                    <a:cubicBezTo>
                      <a:pt x="428121" y="1080279"/>
                      <a:pt x="440504" y="1072469"/>
                      <a:pt x="453077" y="1064563"/>
                    </a:cubicBezTo>
                    <a:cubicBezTo>
                      <a:pt x="305058" y="1149240"/>
                      <a:pt x="223239" y="1186292"/>
                      <a:pt x="199140" y="1180387"/>
                    </a:cubicBezTo>
                    <a:cubicBezTo>
                      <a:pt x="191616" y="1178577"/>
                      <a:pt x="187615" y="1174100"/>
                      <a:pt x="185710" y="1170671"/>
                    </a:cubicBezTo>
                    <a:cubicBezTo>
                      <a:pt x="176852" y="1155336"/>
                      <a:pt x="189520" y="1136000"/>
                      <a:pt x="293819" y="1067706"/>
                    </a:cubicBezTo>
                    <a:cubicBezTo>
                      <a:pt x="226477" y="1108759"/>
                      <a:pt x="199807" y="1121046"/>
                      <a:pt x="188472" y="1118189"/>
                    </a:cubicBezTo>
                    <a:cubicBezTo>
                      <a:pt x="183996" y="1117141"/>
                      <a:pt x="180281" y="1114379"/>
                      <a:pt x="178090" y="1110569"/>
                    </a:cubicBezTo>
                    <a:cubicBezTo>
                      <a:pt x="172089" y="1100186"/>
                      <a:pt x="167232" y="1091709"/>
                      <a:pt x="236955" y="1040941"/>
                    </a:cubicBezTo>
                    <a:cubicBezTo>
                      <a:pt x="199426" y="1059800"/>
                      <a:pt x="175709" y="1067706"/>
                      <a:pt x="164279" y="1064944"/>
                    </a:cubicBezTo>
                    <a:cubicBezTo>
                      <a:pt x="158850" y="1063610"/>
                      <a:pt x="154468" y="1060467"/>
                      <a:pt x="151896" y="1055895"/>
                    </a:cubicBezTo>
                    <a:cubicBezTo>
                      <a:pt x="149991" y="1052561"/>
                      <a:pt x="149515" y="1048656"/>
                      <a:pt x="150468" y="1045037"/>
                    </a:cubicBezTo>
                    <a:cubicBezTo>
                      <a:pt x="151420" y="1041322"/>
                      <a:pt x="153897" y="1038274"/>
                      <a:pt x="157230" y="1036369"/>
                    </a:cubicBezTo>
                    <a:cubicBezTo>
                      <a:pt x="466317" y="860633"/>
                      <a:pt x="934280" y="582312"/>
                      <a:pt x="1076869" y="470012"/>
                    </a:cubicBezTo>
                    <a:cubicBezTo>
                      <a:pt x="920564" y="556309"/>
                      <a:pt x="489653" y="809293"/>
                      <a:pt x="188949" y="987601"/>
                    </a:cubicBezTo>
                    <a:cubicBezTo>
                      <a:pt x="185615" y="989506"/>
                      <a:pt x="181710" y="990077"/>
                      <a:pt x="178090" y="989125"/>
                    </a:cubicBezTo>
                    <a:cubicBezTo>
                      <a:pt x="174375" y="988172"/>
                      <a:pt x="171232" y="985791"/>
                      <a:pt x="169327" y="982457"/>
                    </a:cubicBezTo>
                    <a:cubicBezTo>
                      <a:pt x="167327" y="978933"/>
                      <a:pt x="165327" y="973123"/>
                      <a:pt x="167517" y="965122"/>
                    </a:cubicBezTo>
                    <a:cubicBezTo>
                      <a:pt x="169613" y="957407"/>
                      <a:pt x="177804" y="946834"/>
                      <a:pt x="191044" y="933880"/>
                    </a:cubicBezTo>
                    <a:cubicBezTo>
                      <a:pt x="168851" y="942928"/>
                      <a:pt x="153992" y="946262"/>
                      <a:pt x="145515" y="944167"/>
                    </a:cubicBezTo>
                    <a:cubicBezTo>
                      <a:pt x="139990" y="942833"/>
                      <a:pt x="135609" y="939595"/>
                      <a:pt x="132942" y="935023"/>
                    </a:cubicBezTo>
                    <a:cubicBezTo>
                      <a:pt x="124369" y="920259"/>
                      <a:pt x="140752" y="908829"/>
                      <a:pt x="165517" y="891684"/>
                    </a:cubicBezTo>
                    <a:cubicBezTo>
                      <a:pt x="184091" y="878730"/>
                      <a:pt x="211428" y="861014"/>
                      <a:pt x="249242" y="837392"/>
                    </a:cubicBezTo>
                    <a:cubicBezTo>
                      <a:pt x="319632" y="793386"/>
                      <a:pt x="416215" y="735093"/>
                      <a:pt x="518514" y="673371"/>
                    </a:cubicBezTo>
                    <a:cubicBezTo>
                      <a:pt x="633480" y="604029"/>
                      <a:pt x="770069" y="521638"/>
                      <a:pt x="878559" y="453439"/>
                    </a:cubicBezTo>
                    <a:cubicBezTo>
                      <a:pt x="646530" y="587170"/>
                      <a:pt x="280865" y="800339"/>
                      <a:pt x="105319" y="903019"/>
                    </a:cubicBezTo>
                    <a:cubicBezTo>
                      <a:pt x="101985" y="904924"/>
                      <a:pt x="98080" y="905400"/>
                      <a:pt x="94461" y="904543"/>
                    </a:cubicBezTo>
                    <a:cubicBezTo>
                      <a:pt x="90746" y="903590"/>
                      <a:pt x="87603" y="901209"/>
                      <a:pt x="85793" y="897875"/>
                    </a:cubicBezTo>
                    <a:cubicBezTo>
                      <a:pt x="78459" y="885112"/>
                      <a:pt x="76173" y="881302"/>
                      <a:pt x="202474" y="801959"/>
                    </a:cubicBezTo>
                    <a:cubicBezTo>
                      <a:pt x="153039" y="829105"/>
                      <a:pt x="121797" y="840820"/>
                      <a:pt x="105891" y="837106"/>
                    </a:cubicBezTo>
                    <a:cubicBezTo>
                      <a:pt x="97794" y="835201"/>
                      <a:pt x="93508" y="830438"/>
                      <a:pt x="91413" y="826724"/>
                    </a:cubicBezTo>
                    <a:cubicBezTo>
                      <a:pt x="85126" y="815802"/>
                      <a:pt x="158342" y="765986"/>
                      <a:pt x="311059" y="677276"/>
                    </a:cubicBezTo>
                    <a:cubicBezTo>
                      <a:pt x="417072" y="615650"/>
                      <a:pt x="543564" y="542212"/>
                      <a:pt x="659960" y="471536"/>
                    </a:cubicBezTo>
                    <a:cubicBezTo>
                      <a:pt x="757686" y="406576"/>
                      <a:pt x="834172" y="357141"/>
                      <a:pt x="892179" y="322946"/>
                    </a:cubicBezTo>
                    <a:cubicBezTo>
                      <a:pt x="939900" y="289609"/>
                      <a:pt x="965236" y="268749"/>
                      <a:pt x="978571" y="255700"/>
                    </a:cubicBezTo>
                    <a:cubicBezTo>
                      <a:pt x="859604" y="309135"/>
                      <a:pt x="389831" y="593171"/>
                      <a:pt x="92365" y="777956"/>
                    </a:cubicBezTo>
                    <a:cubicBezTo>
                      <a:pt x="85698" y="782051"/>
                      <a:pt x="76935" y="780051"/>
                      <a:pt x="72744" y="773384"/>
                    </a:cubicBezTo>
                    <a:cubicBezTo>
                      <a:pt x="68553" y="766716"/>
                      <a:pt x="70553" y="757953"/>
                      <a:pt x="77220" y="753762"/>
                    </a:cubicBezTo>
                    <a:cubicBezTo>
                      <a:pt x="106843" y="734998"/>
                      <a:pt x="137704" y="715281"/>
                      <a:pt x="169422" y="695088"/>
                    </a:cubicBezTo>
                    <a:cubicBezTo>
                      <a:pt x="92841" y="734236"/>
                      <a:pt x="64933" y="740808"/>
                      <a:pt x="52932" y="737760"/>
                    </a:cubicBezTo>
                    <a:cubicBezTo>
                      <a:pt x="47407" y="736427"/>
                      <a:pt x="42835" y="733188"/>
                      <a:pt x="40263" y="728616"/>
                    </a:cubicBezTo>
                    <a:cubicBezTo>
                      <a:pt x="36453" y="722044"/>
                      <a:pt x="38454" y="713567"/>
                      <a:pt x="44931" y="709471"/>
                    </a:cubicBezTo>
                    <a:cubicBezTo>
                      <a:pt x="97509" y="675848"/>
                      <a:pt x="168565" y="630223"/>
                      <a:pt x="247908" y="579359"/>
                    </a:cubicBezTo>
                    <a:cubicBezTo>
                      <a:pt x="81983" y="673085"/>
                      <a:pt x="68648" y="669752"/>
                      <a:pt x="60361" y="667656"/>
                    </a:cubicBezTo>
                    <a:cubicBezTo>
                      <a:pt x="55884" y="666513"/>
                      <a:pt x="52170" y="663751"/>
                      <a:pt x="49979" y="659941"/>
                    </a:cubicBezTo>
                    <a:cubicBezTo>
                      <a:pt x="46074" y="653273"/>
                      <a:pt x="48264" y="644701"/>
                      <a:pt x="54837" y="640605"/>
                    </a:cubicBezTo>
                    <a:cubicBezTo>
                      <a:pt x="268768" y="508303"/>
                      <a:pt x="572711" y="316374"/>
                      <a:pt x="750447" y="196740"/>
                    </a:cubicBezTo>
                    <a:cubicBezTo>
                      <a:pt x="607096" y="279322"/>
                      <a:pt x="398213" y="402004"/>
                      <a:pt x="250956" y="488491"/>
                    </a:cubicBezTo>
                    <a:cubicBezTo>
                      <a:pt x="185710" y="526781"/>
                      <a:pt x="128560" y="560309"/>
                      <a:pt x="87698" y="584312"/>
                    </a:cubicBezTo>
                    <a:cubicBezTo>
                      <a:pt x="51312" y="605553"/>
                      <a:pt x="33691" y="615840"/>
                      <a:pt x="24261" y="620603"/>
                    </a:cubicBezTo>
                    <a:cubicBezTo>
                      <a:pt x="22737" y="621555"/>
                      <a:pt x="21880" y="622127"/>
                      <a:pt x="21785" y="622127"/>
                    </a:cubicBezTo>
                    <a:lnTo>
                      <a:pt x="21594" y="621841"/>
                    </a:lnTo>
                    <a:cubicBezTo>
                      <a:pt x="15022" y="624889"/>
                      <a:pt x="13403" y="624508"/>
                      <a:pt x="10641" y="623746"/>
                    </a:cubicBezTo>
                    <a:cubicBezTo>
                      <a:pt x="5116" y="622317"/>
                      <a:pt x="1020" y="617650"/>
                      <a:pt x="163" y="612030"/>
                    </a:cubicBezTo>
                    <a:cubicBezTo>
                      <a:pt x="-694" y="606410"/>
                      <a:pt x="1878" y="600791"/>
                      <a:pt x="6735" y="597743"/>
                    </a:cubicBezTo>
                    <a:cubicBezTo>
                      <a:pt x="233621" y="457535"/>
                      <a:pt x="568710" y="245984"/>
                      <a:pt x="718824" y="141971"/>
                    </a:cubicBezTo>
                    <a:cubicBezTo>
                      <a:pt x="638910" y="188168"/>
                      <a:pt x="519561" y="264368"/>
                      <a:pt x="423264" y="325804"/>
                    </a:cubicBezTo>
                    <a:cubicBezTo>
                      <a:pt x="154087" y="497444"/>
                      <a:pt x="72267" y="546593"/>
                      <a:pt x="48645" y="540688"/>
                    </a:cubicBezTo>
                    <a:cubicBezTo>
                      <a:pt x="43978" y="539545"/>
                      <a:pt x="40073" y="536687"/>
                      <a:pt x="37787" y="532687"/>
                    </a:cubicBezTo>
                    <a:cubicBezTo>
                      <a:pt x="31786" y="522400"/>
                      <a:pt x="27595" y="514970"/>
                      <a:pt x="117035" y="450486"/>
                    </a:cubicBezTo>
                    <a:cubicBezTo>
                      <a:pt x="92651" y="461249"/>
                      <a:pt x="76173" y="465345"/>
                      <a:pt x="66552" y="462964"/>
                    </a:cubicBezTo>
                    <a:cubicBezTo>
                      <a:pt x="60837" y="461630"/>
                      <a:pt x="56170" y="458201"/>
                      <a:pt x="53408" y="453439"/>
                    </a:cubicBezTo>
                    <a:cubicBezTo>
                      <a:pt x="49598" y="446771"/>
                      <a:pt x="51693" y="438294"/>
                      <a:pt x="58170" y="434198"/>
                    </a:cubicBezTo>
                    <a:cubicBezTo>
                      <a:pt x="233907" y="323613"/>
                      <a:pt x="500988" y="150258"/>
                      <a:pt x="592809" y="78535"/>
                    </a:cubicBezTo>
                    <a:cubicBezTo>
                      <a:pt x="512418" y="117873"/>
                      <a:pt x="337062" y="230649"/>
                      <a:pt x="233716" y="297038"/>
                    </a:cubicBezTo>
                    <a:cubicBezTo>
                      <a:pt x="65695" y="405052"/>
                      <a:pt x="59218" y="407719"/>
                      <a:pt x="48645" y="405147"/>
                    </a:cubicBezTo>
                    <a:cubicBezTo>
                      <a:pt x="44835" y="404195"/>
                      <a:pt x="41216" y="401528"/>
                      <a:pt x="39311" y="398194"/>
                    </a:cubicBezTo>
                    <a:cubicBezTo>
                      <a:pt x="31786" y="385145"/>
                      <a:pt x="25119" y="373524"/>
                      <a:pt x="190187" y="259986"/>
                    </a:cubicBezTo>
                    <a:cubicBezTo>
                      <a:pt x="169803" y="272940"/>
                      <a:pt x="148944" y="286370"/>
                      <a:pt x="127703" y="300086"/>
                    </a:cubicBezTo>
                    <a:cubicBezTo>
                      <a:pt x="124845" y="301991"/>
                      <a:pt x="120940" y="304468"/>
                      <a:pt x="114939" y="303039"/>
                    </a:cubicBezTo>
                    <a:cubicBezTo>
                      <a:pt x="111129" y="302087"/>
                      <a:pt x="107891" y="299705"/>
                      <a:pt x="105986" y="296276"/>
                    </a:cubicBezTo>
                    <a:cubicBezTo>
                      <a:pt x="95794" y="278655"/>
                      <a:pt x="110463" y="263510"/>
                      <a:pt x="226382" y="174642"/>
                    </a:cubicBezTo>
                    <a:cubicBezTo>
                      <a:pt x="222000" y="173690"/>
                      <a:pt x="218476" y="171023"/>
                      <a:pt x="216285" y="167213"/>
                    </a:cubicBezTo>
                    <a:cubicBezTo>
                      <a:pt x="212380" y="160355"/>
                      <a:pt x="214666" y="151687"/>
                      <a:pt x="221524" y="147686"/>
                    </a:cubicBezTo>
                    <a:cubicBezTo>
                      <a:pt x="224286" y="146067"/>
                      <a:pt x="227334" y="145496"/>
                      <a:pt x="230287" y="145877"/>
                    </a:cubicBezTo>
                    <a:cubicBezTo>
                      <a:pt x="238574" y="141971"/>
                      <a:pt x="259624" y="127112"/>
                      <a:pt x="274007" y="117016"/>
                    </a:cubicBezTo>
                    <a:cubicBezTo>
                      <a:pt x="320394" y="84440"/>
                      <a:pt x="333633" y="76535"/>
                      <a:pt x="344968" y="79106"/>
                    </a:cubicBezTo>
                    <a:cubicBezTo>
                      <a:pt x="349540" y="80154"/>
                      <a:pt x="353255" y="82821"/>
                      <a:pt x="355541" y="86822"/>
                    </a:cubicBezTo>
                    <a:cubicBezTo>
                      <a:pt x="363732" y="101109"/>
                      <a:pt x="357446" y="109682"/>
                      <a:pt x="279246" y="170070"/>
                    </a:cubicBezTo>
                    <a:cubicBezTo>
                      <a:pt x="300867" y="156545"/>
                      <a:pt x="323346" y="142733"/>
                      <a:pt x="345730" y="129017"/>
                    </a:cubicBezTo>
                    <a:cubicBezTo>
                      <a:pt x="565948" y="-5761"/>
                      <a:pt x="582998" y="-1666"/>
                      <a:pt x="593094" y="716"/>
                    </a:cubicBezTo>
                    <a:cubicBezTo>
                      <a:pt x="597857" y="1859"/>
                      <a:pt x="601667" y="4716"/>
                      <a:pt x="604048" y="8717"/>
                    </a:cubicBezTo>
                    <a:cubicBezTo>
                      <a:pt x="607858" y="15384"/>
                      <a:pt x="605763" y="23861"/>
                      <a:pt x="599286" y="27957"/>
                    </a:cubicBezTo>
                    <a:cubicBezTo>
                      <a:pt x="491844" y="95013"/>
                      <a:pt x="380115" y="166927"/>
                      <a:pt x="286675" y="229220"/>
                    </a:cubicBezTo>
                    <a:cubicBezTo>
                      <a:pt x="504036" y="90441"/>
                      <a:pt x="608525" y="29576"/>
                      <a:pt x="637862" y="36625"/>
                    </a:cubicBezTo>
                    <a:cubicBezTo>
                      <a:pt x="643196" y="37958"/>
                      <a:pt x="647577" y="41102"/>
                      <a:pt x="650149" y="45578"/>
                    </a:cubicBezTo>
                    <a:cubicBezTo>
                      <a:pt x="659293" y="61390"/>
                      <a:pt x="665865" y="72725"/>
                      <a:pt x="365161" y="270749"/>
                    </a:cubicBezTo>
                    <a:cubicBezTo>
                      <a:pt x="350778" y="280274"/>
                      <a:pt x="336300" y="289704"/>
                      <a:pt x="321918" y="299039"/>
                    </a:cubicBezTo>
                    <a:cubicBezTo>
                      <a:pt x="382401" y="260843"/>
                      <a:pt x="443838" y="221029"/>
                      <a:pt x="493653" y="188644"/>
                    </a:cubicBezTo>
                    <a:cubicBezTo>
                      <a:pt x="686630" y="63390"/>
                      <a:pt x="717777" y="45102"/>
                      <a:pt x="732350" y="48531"/>
                    </a:cubicBezTo>
                    <a:cubicBezTo>
                      <a:pt x="736541" y="49579"/>
                      <a:pt x="740065" y="52151"/>
                      <a:pt x="742161" y="55865"/>
                    </a:cubicBezTo>
                    <a:cubicBezTo>
                      <a:pt x="745971" y="62533"/>
                      <a:pt x="743875" y="70915"/>
                      <a:pt x="737493" y="75106"/>
                    </a:cubicBezTo>
                    <a:cubicBezTo>
                      <a:pt x="550994" y="193978"/>
                      <a:pt x="278579" y="371333"/>
                      <a:pt x="143895" y="466774"/>
                    </a:cubicBezTo>
                    <a:cubicBezTo>
                      <a:pt x="216190" y="424102"/>
                      <a:pt x="318870" y="358570"/>
                      <a:pt x="408119" y="301706"/>
                    </a:cubicBezTo>
                    <a:cubicBezTo>
                      <a:pt x="691392" y="121112"/>
                      <a:pt x="783690" y="65962"/>
                      <a:pt x="809788" y="72248"/>
                    </a:cubicBezTo>
                    <a:cubicBezTo>
                      <a:pt x="814646" y="73391"/>
                      <a:pt x="818646" y="76344"/>
                      <a:pt x="821028" y="80535"/>
                    </a:cubicBezTo>
                    <a:cubicBezTo>
                      <a:pt x="828076" y="92632"/>
                      <a:pt x="833029" y="101204"/>
                      <a:pt x="667389" y="211790"/>
                    </a:cubicBezTo>
                    <a:cubicBezTo>
                      <a:pt x="899514" y="77106"/>
                      <a:pt x="903990" y="78154"/>
                      <a:pt x="911420" y="80154"/>
                    </a:cubicBezTo>
                    <a:cubicBezTo>
                      <a:pt x="915135" y="81107"/>
                      <a:pt x="918373" y="83583"/>
                      <a:pt x="920278" y="86917"/>
                    </a:cubicBezTo>
                    <a:cubicBezTo>
                      <a:pt x="929803" y="103395"/>
                      <a:pt x="936661" y="115301"/>
                      <a:pt x="498606" y="395336"/>
                    </a:cubicBezTo>
                    <a:cubicBezTo>
                      <a:pt x="466793" y="415625"/>
                      <a:pt x="434884" y="436008"/>
                      <a:pt x="403642" y="455820"/>
                    </a:cubicBezTo>
                    <a:cubicBezTo>
                      <a:pt x="576997" y="353331"/>
                      <a:pt x="783594" y="227030"/>
                      <a:pt x="940185" y="129494"/>
                    </a:cubicBezTo>
                    <a:cubicBezTo>
                      <a:pt x="943519" y="127493"/>
                      <a:pt x="947424" y="126827"/>
                      <a:pt x="951234" y="127779"/>
                    </a:cubicBezTo>
                    <a:cubicBezTo>
                      <a:pt x="954949" y="128732"/>
                      <a:pt x="958188" y="131113"/>
                      <a:pt x="960188" y="134447"/>
                    </a:cubicBezTo>
                    <a:cubicBezTo>
                      <a:pt x="967046" y="146258"/>
                      <a:pt x="957044" y="153211"/>
                      <a:pt x="946472" y="160640"/>
                    </a:cubicBezTo>
                    <a:cubicBezTo>
                      <a:pt x="939995" y="165212"/>
                      <a:pt x="930375" y="171689"/>
                      <a:pt x="918183" y="179881"/>
                    </a:cubicBezTo>
                    <a:cubicBezTo>
                      <a:pt x="895132" y="195216"/>
                      <a:pt x="861128" y="217600"/>
                      <a:pt x="817027" y="246365"/>
                    </a:cubicBezTo>
                    <a:cubicBezTo>
                      <a:pt x="742923" y="294657"/>
                      <a:pt x="639291" y="361618"/>
                      <a:pt x="509179" y="445438"/>
                    </a:cubicBezTo>
                    <a:cubicBezTo>
                      <a:pt x="383830" y="526115"/>
                      <a:pt x="257529" y="607268"/>
                      <a:pt x="171042" y="662703"/>
                    </a:cubicBezTo>
                    <a:cubicBezTo>
                      <a:pt x="284770" y="602505"/>
                      <a:pt x="507179" y="471536"/>
                      <a:pt x="936375" y="197978"/>
                    </a:cubicBezTo>
                    <a:cubicBezTo>
                      <a:pt x="977523" y="171753"/>
                      <a:pt x="1000193" y="159148"/>
                      <a:pt x="1004384" y="160164"/>
                    </a:cubicBezTo>
                    <a:cubicBezTo>
                      <a:pt x="1008194" y="161117"/>
                      <a:pt x="1011432" y="163498"/>
                      <a:pt x="1013337" y="166927"/>
                    </a:cubicBezTo>
                    <a:cubicBezTo>
                      <a:pt x="1016861" y="173023"/>
                      <a:pt x="1018862" y="176547"/>
                      <a:pt x="1007432" y="186644"/>
                    </a:cubicBezTo>
                    <a:lnTo>
                      <a:pt x="1007432" y="186644"/>
                    </a:lnTo>
                    <a:cubicBezTo>
                      <a:pt x="1007432" y="186644"/>
                      <a:pt x="1007146" y="186929"/>
                      <a:pt x="1006956" y="187025"/>
                    </a:cubicBezTo>
                    <a:cubicBezTo>
                      <a:pt x="991716" y="200360"/>
                      <a:pt x="953806" y="225029"/>
                      <a:pt x="867414" y="281417"/>
                    </a:cubicBezTo>
                    <a:cubicBezTo>
                      <a:pt x="989906" y="214171"/>
                      <a:pt x="1001336" y="217028"/>
                      <a:pt x="1008765" y="218838"/>
                    </a:cubicBezTo>
                    <a:cubicBezTo>
                      <a:pt x="1013242" y="219981"/>
                      <a:pt x="1016957" y="222648"/>
                      <a:pt x="1019148" y="226553"/>
                    </a:cubicBezTo>
                    <a:cubicBezTo>
                      <a:pt x="1024291" y="235412"/>
                      <a:pt x="1025529" y="246270"/>
                      <a:pt x="1006479" y="267606"/>
                    </a:cubicBezTo>
                    <a:cubicBezTo>
                      <a:pt x="1016195" y="265130"/>
                      <a:pt x="1023910" y="264558"/>
                      <a:pt x="1029720" y="265987"/>
                    </a:cubicBezTo>
                    <a:cubicBezTo>
                      <a:pt x="1038102" y="267892"/>
                      <a:pt x="1042484" y="272845"/>
                      <a:pt x="1044675" y="276655"/>
                    </a:cubicBezTo>
                    <a:cubicBezTo>
                      <a:pt x="1054200" y="293038"/>
                      <a:pt x="1058962" y="301515"/>
                      <a:pt x="775974" y="479918"/>
                    </a:cubicBezTo>
                    <a:cubicBezTo>
                      <a:pt x="1075631" y="306468"/>
                      <a:pt x="1078488" y="307230"/>
                      <a:pt x="1085727" y="309040"/>
                    </a:cubicBezTo>
                    <a:cubicBezTo>
                      <a:pt x="1089442" y="309992"/>
                      <a:pt x="1092585" y="312469"/>
                      <a:pt x="1094490" y="315707"/>
                    </a:cubicBezTo>
                    <a:cubicBezTo>
                      <a:pt x="1103634" y="331519"/>
                      <a:pt x="1086870" y="347426"/>
                      <a:pt x="1045913" y="377334"/>
                    </a:cubicBezTo>
                    <a:cubicBezTo>
                      <a:pt x="1019529" y="396575"/>
                      <a:pt x="982286" y="421530"/>
                      <a:pt x="932375" y="453534"/>
                    </a:cubicBezTo>
                    <a:cubicBezTo>
                      <a:pt x="1098872" y="349712"/>
                      <a:pt x="1140496" y="328090"/>
                      <a:pt x="1155450" y="331805"/>
                    </a:cubicBezTo>
                    <a:cubicBezTo>
                      <a:pt x="1159832" y="332852"/>
                      <a:pt x="1163356" y="335519"/>
                      <a:pt x="1165547" y="339329"/>
                    </a:cubicBezTo>
                    <a:cubicBezTo>
                      <a:pt x="1167452" y="342663"/>
                      <a:pt x="1167928" y="346568"/>
                      <a:pt x="1166976" y="350188"/>
                    </a:cubicBezTo>
                    <a:cubicBezTo>
                      <a:pt x="1165928" y="353903"/>
                      <a:pt x="1163547" y="356951"/>
                      <a:pt x="1160213" y="358856"/>
                    </a:cubicBezTo>
                    <a:cubicBezTo>
                      <a:pt x="1063058" y="413910"/>
                      <a:pt x="964284" y="470965"/>
                      <a:pt x="868843" y="527067"/>
                    </a:cubicBezTo>
                    <a:cubicBezTo>
                      <a:pt x="835982" y="547832"/>
                      <a:pt x="802549" y="568977"/>
                      <a:pt x="769974" y="589551"/>
                    </a:cubicBezTo>
                    <a:cubicBezTo>
                      <a:pt x="575664" y="712519"/>
                      <a:pt x="433741" y="801101"/>
                      <a:pt x="334205" y="859013"/>
                    </a:cubicBezTo>
                    <a:cubicBezTo>
                      <a:pt x="302677" y="880540"/>
                      <a:pt x="275721" y="899876"/>
                      <a:pt x="254100" y="916354"/>
                    </a:cubicBezTo>
                    <a:cubicBezTo>
                      <a:pt x="342682" y="863966"/>
                      <a:pt x="493558" y="774908"/>
                      <a:pt x="644148" y="686801"/>
                    </a:cubicBezTo>
                    <a:cubicBezTo>
                      <a:pt x="1120398" y="408100"/>
                      <a:pt x="1127637" y="410005"/>
                      <a:pt x="1136686" y="412386"/>
                    </a:cubicBezTo>
                    <a:cubicBezTo>
                      <a:pt x="1140401" y="413339"/>
                      <a:pt x="1143735" y="415910"/>
                      <a:pt x="1145640" y="419244"/>
                    </a:cubicBezTo>
                    <a:cubicBezTo>
                      <a:pt x="1147545" y="422578"/>
                      <a:pt x="1149450" y="428102"/>
                      <a:pt x="1147449" y="435437"/>
                    </a:cubicBezTo>
                    <a:cubicBezTo>
                      <a:pt x="1146307" y="439628"/>
                      <a:pt x="1144592" y="445819"/>
                      <a:pt x="1131924" y="459059"/>
                    </a:cubicBezTo>
                    <a:cubicBezTo>
                      <a:pt x="1164594" y="442771"/>
                      <a:pt x="1185073" y="436103"/>
                      <a:pt x="1195170" y="438580"/>
                    </a:cubicBezTo>
                    <a:cubicBezTo>
                      <a:pt x="1200313" y="439818"/>
                      <a:pt x="1204504" y="442961"/>
                      <a:pt x="1207076" y="447248"/>
                    </a:cubicBezTo>
                    <a:cubicBezTo>
                      <a:pt x="1214696" y="460392"/>
                      <a:pt x="1203933" y="467536"/>
                      <a:pt x="1180501" y="483062"/>
                    </a:cubicBezTo>
                    <a:cubicBezTo>
                      <a:pt x="1166309" y="492491"/>
                      <a:pt x="1145259" y="505826"/>
                      <a:pt x="1116303" y="523924"/>
                    </a:cubicBezTo>
                    <a:cubicBezTo>
                      <a:pt x="1114398" y="525067"/>
                      <a:pt x="1112588" y="526305"/>
                      <a:pt x="1110683" y="527448"/>
                    </a:cubicBezTo>
                    <a:cubicBezTo>
                      <a:pt x="1155165" y="506207"/>
                      <a:pt x="1186216" y="496206"/>
                      <a:pt x="1201837" y="500016"/>
                    </a:cubicBezTo>
                    <a:cubicBezTo>
                      <a:pt x="1210505" y="502112"/>
                      <a:pt x="1214982" y="507160"/>
                      <a:pt x="1217268" y="511065"/>
                    </a:cubicBezTo>
                    <a:cubicBezTo>
                      <a:pt x="1230412" y="533830"/>
                      <a:pt x="1216982" y="548213"/>
                      <a:pt x="752543" y="823104"/>
                    </a:cubicBezTo>
                    <a:cubicBezTo>
                      <a:pt x="557947" y="938261"/>
                      <a:pt x="300010" y="1090947"/>
                      <a:pt x="229811" y="1147621"/>
                    </a:cubicBezTo>
                    <a:cubicBezTo>
                      <a:pt x="268578" y="1134000"/>
                      <a:pt x="365161" y="1087328"/>
                      <a:pt x="605096" y="942167"/>
                    </a:cubicBezTo>
                    <a:cubicBezTo>
                      <a:pt x="800739" y="823771"/>
                      <a:pt x="1016195" y="685563"/>
                      <a:pt x="1119827" y="619174"/>
                    </a:cubicBezTo>
                    <a:cubicBezTo>
                      <a:pt x="1167642" y="588503"/>
                      <a:pt x="1193677" y="573708"/>
                      <a:pt x="1197932" y="574787"/>
                    </a:cubicBezTo>
                    <a:cubicBezTo>
                      <a:pt x="1201742" y="575740"/>
                      <a:pt x="1204980" y="578121"/>
                      <a:pt x="1206885" y="581550"/>
                    </a:cubicBezTo>
                    <a:cubicBezTo>
                      <a:pt x="1212696" y="591647"/>
                      <a:pt x="1218601" y="601838"/>
                      <a:pt x="1140686" y="660131"/>
                    </a:cubicBezTo>
                    <a:cubicBezTo>
                      <a:pt x="1157260" y="654321"/>
                      <a:pt x="1168976" y="652321"/>
                      <a:pt x="1175929" y="654035"/>
                    </a:cubicBezTo>
                    <a:cubicBezTo>
                      <a:pt x="1181549" y="655464"/>
                      <a:pt x="1186121" y="658703"/>
                      <a:pt x="1188788" y="663370"/>
                    </a:cubicBezTo>
                    <a:cubicBezTo>
                      <a:pt x="1194376" y="673022"/>
                      <a:pt x="1145798" y="711503"/>
                      <a:pt x="1043055" y="778813"/>
                    </a:cubicBezTo>
                    <a:cubicBezTo>
                      <a:pt x="967236" y="828533"/>
                      <a:pt x="861128" y="897209"/>
                      <a:pt x="727683" y="982934"/>
                    </a:cubicBezTo>
                    <a:cubicBezTo>
                      <a:pt x="599190" y="1065611"/>
                      <a:pt x="469460" y="1148478"/>
                      <a:pt x="380687" y="1205247"/>
                    </a:cubicBezTo>
                    <a:cubicBezTo>
                      <a:pt x="560424" y="1108854"/>
                      <a:pt x="897513" y="895113"/>
                      <a:pt x="1047342" y="800053"/>
                    </a:cubicBezTo>
                    <a:cubicBezTo>
                      <a:pt x="1135988" y="743856"/>
                      <a:pt x="1182850" y="716361"/>
                      <a:pt x="1187931" y="717567"/>
                    </a:cubicBezTo>
                    <a:cubicBezTo>
                      <a:pt x="1191741" y="718520"/>
                      <a:pt x="1194979" y="720996"/>
                      <a:pt x="1196979" y="724330"/>
                    </a:cubicBezTo>
                    <a:cubicBezTo>
                      <a:pt x="1207171" y="741951"/>
                      <a:pt x="1190979" y="767097"/>
                      <a:pt x="1128209" y="813674"/>
                    </a:cubicBezTo>
                    <a:cubicBezTo>
                      <a:pt x="1130400" y="813579"/>
                      <a:pt x="1132209" y="813674"/>
                      <a:pt x="1133733" y="814055"/>
                    </a:cubicBezTo>
                    <a:cubicBezTo>
                      <a:pt x="1138591" y="815294"/>
                      <a:pt x="1142592" y="818246"/>
                      <a:pt x="1144973" y="822342"/>
                    </a:cubicBezTo>
                    <a:cubicBezTo>
                      <a:pt x="1154974" y="839678"/>
                      <a:pt x="1166309" y="859299"/>
                      <a:pt x="743589" y="1123999"/>
                    </a:cubicBezTo>
                    <a:cubicBezTo>
                      <a:pt x="865128" y="1049133"/>
                      <a:pt x="991049" y="969408"/>
                      <a:pt x="1093061" y="903495"/>
                    </a:cubicBezTo>
                    <a:cubicBezTo>
                      <a:pt x="1096395" y="901400"/>
                      <a:pt x="1100396" y="900733"/>
                      <a:pt x="1104206" y="901590"/>
                    </a:cubicBezTo>
                    <a:cubicBezTo>
                      <a:pt x="1108016" y="902543"/>
                      <a:pt x="1111254" y="904924"/>
                      <a:pt x="1113255" y="908353"/>
                    </a:cubicBezTo>
                    <a:cubicBezTo>
                      <a:pt x="1120208" y="920545"/>
                      <a:pt x="1110588" y="927403"/>
                      <a:pt x="1094586" y="938833"/>
                    </a:cubicBezTo>
                    <a:cubicBezTo>
                      <a:pt x="1085061" y="945595"/>
                      <a:pt x="1070678" y="955502"/>
                      <a:pt x="1051818" y="968170"/>
                    </a:cubicBezTo>
                    <a:cubicBezTo>
                      <a:pt x="1032864" y="980933"/>
                      <a:pt x="1009432" y="996459"/>
                      <a:pt x="981238" y="1015033"/>
                    </a:cubicBezTo>
                    <a:cubicBezTo>
                      <a:pt x="1020672" y="994935"/>
                      <a:pt x="1045056" y="986934"/>
                      <a:pt x="1057248" y="989887"/>
                    </a:cubicBezTo>
                    <a:cubicBezTo>
                      <a:pt x="1062867" y="991220"/>
                      <a:pt x="1067440" y="994554"/>
                      <a:pt x="1070107" y="999221"/>
                    </a:cubicBezTo>
                    <a:cubicBezTo>
                      <a:pt x="1078107" y="1013128"/>
                      <a:pt x="1076298" y="1018748"/>
                      <a:pt x="979905" y="1080565"/>
                    </a:cubicBezTo>
                    <a:cubicBezTo>
                      <a:pt x="1000193" y="1071992"/>
                      <a:pt x="1014576" y="1068754"/>
                      <a:pt x="1023815" y="1070945"/>
                    </a:cubicBezTo>
                    <a:cubicBezTo>
                      <a:pt x="1029816" y="1072374"/>
                      <a:pt x="1034769" y="1075898"/>
                      <a:pt x="1037721" y="1080946"/>
                    </a:cubicBezTo>
                    <a:cubicBezTo>
                      <a:pt x="1048961" y="1100377"/>
                      <a:pt x="1040484" y="1108854"/>
                      <a:pt x="782261" y="1265255"/>
                    </a:cubicBezTo>
                    <a:cubicBezTo>
                      <a:pt x="708347" y="1310022"/>
                      <a:pt x="615288" y="1366315"/>
                      <a:pt x="539945" y="1414892"/>
                    </a:cubicBezTo>
                    <a:lnTo>
                      <a:pt x="1046770" y="1122284"/>
                    </a:lnTo>
                    <a:cubicBezTo>
                      <a:pt x="1050009" y="1120379"/>
                      <a:pt x="1053914" y="1119903"/>
                      <a:pt x="1057629" y="1120856"/>
                    </a:cubicBezTo>
                    <a:cubicBezTo>
                      <a:pt x="1061248" y="1121808"/>
                      <a:pt x="1064391" y="1124285"/>
                      <a:pt x="1066296" y="1127523"/>
                    </a:cubicBezTo>
                    <a:cubicBezTo>
                      <a:pt x="1073345" y="1139715"/>
                      <a:pt x="1063344" y="1147049"/>
                      <a:pt x="1046770" y="1159241"/>
                    </a:cubicBezTo>
                    <a:cubicBezTo>
                      <a:pt x="1036769" y="1166576"/>
                      <a:pt x="1022100" y="1176958"/>
                      <a:pt x="1001907" y="1190960"/>
                    </a:cubicBezTo>
                    <a:cubicBezTo>
                      <a:pt x="964284" y="1216963"/>
                      <a:pt x="911991" y="1252396"/>
                      <a:pt x="856651" y="1289829"/>
                    </a:cubicBezTo>
                    <a:cubicBezTo>
                      <a:pt x="792072" y="1333549"/>
                      <a:pt x="710919" y="1388508"/>
                      <a:pt x="644529" y="1434704"/>
                    </a:cubicBezTo>
                    <a:cubicBezTo>
                      <a:pt x="675105" y="1414511"/>
                      <a:pt x="706918" y="1392890"/>
                      <a:pt x="735207" y="1373649"/>
                    </a:cubicBezTo>
                    <a:cubicBezTo>
                      <a:pt x="882559" y="1273446"/>
                      <a:pt x="945043" y="1233346"/>
                      <a:pt x="969046" y="1238680"/>
                    </a:cubicBezTo>
                    <a:cubicBezTo>
                      <a:pt x="974380" y="1239918"/>
                      <a:pt x="978761" y="1243061"/>
                      <a:pt x="981333" y="1247538"/>
                    </a:cubicBezTo>
                    <a:cubicBezTo>
                      <a:pt x="989620" y="1261921"/>
                      <a:pt x="990001" y="1262588"/>
                      <a:pt x="821028" y="1385079"/>
                    </a:cubicBezTo>
                    <a:cubicBezTo>
                      <a:pt x="943710" y="1303545"/>
                      <a:pt x="983715" y="1280304"/>
                      <a:pt x="1002002" y="1284400"/>
                    </a:cubicBezTo>
                    <a:cubicBezTo>
                      <a:pt x="1006860" y="1285543"/>
                      <a:pt x="1010861" y="1288496"/>
                      <a:pt x="1013337" y="1292687"/>
                    </a:cubicBezTo>
                    <a:cubicBezTo>
                      <a:pt x="1017846" y="1300497"/>
                      <a:pt x="991652" y="1327580"/>
                      <a:pt x="934756" y="1373935"/>
                    </a:cubicBezTo>
                    <a:cubicBezTo>
                      <a:pt x="909039" y="1394890"/>
                      <a:pt x="873320" y="1424036"/>
                      <a:pt x="841125" y="1450992"/>
                    </a:cubicBezTo>
                    <a:cubicBezTo>
                      <a:pt x="867224" y="1434895"/>
                      <a:pt x="896085" y="1416702"/>
                      <a:pt x="923326" y="1398891"/>
                    </a:cubicBezTo>
                    <a:cubicBezTo>
                      <a:pt x="926660" y="1396700"/>
                      <a:pt x="930660" y="1396033"/>
                      <a:pt x="934470" y="1396985"/>
                    </a:cubicBezTo>
                    <a:cubicBezTo>
                      <a:pt x="938280" y="1397938"/>
                      <a:pt x="941519" y="1400319"/>
                      <a:pt x="943519" y="1403748"/>
                    </a:cubicBezTo>
                    <a:cubicBezTo>
                      <a:pt x="948853" y="1413083"/>
                      <a:pt x="946853" y="1415274"/>
                      <a:pt x="927327" y="1436228"/>
                    </a:cubicBezTo>
                    <a:cubicBezTo>
                      <a:pt x="911420" y="1453278"/>
                      <a:pt x="897704" y="1468233"/>
                      <a:pt x="886274" y="1480996"/>
                    </a:cubicBezTo>
                    <a:cubicBezTo>
                      <a:pt x="972761" y="1429466"/>
                      <a:pt x="975904" y="1430323"/>
                      <a:pt x="982000" y="1431847"/>
                    </a:cubicBezTo>
                    <a:cubicBezTo>
                      <a:pt x="985715" y="1432799"/>
                      <a:pt x="988953" y="1435276"/>
                      <a:pt x="990858" y="1438610"/>
                    </a:cubicBezTo>
                    <a:cubicBezTo>
                      <a:pt x="994764" y="1445468"/>
                      <a:pt x="992477" y="1454135"/>
                      <a:pt x="985619" y="1458136"/>
                    </a:cubicBezTo>
                    <a:cubicBezTo>
                      <a:pt x="984191" y="1458993"/>
                      <a:pt x="982667" y="1459565"/>
                      <a:pt x="981048" y="1459850"/>
                    </a:cubicBezTo>
                    <a:cubicBezTo>
                      <a:pt x="968379" y="1465566"/>
                      <a:pt x="897990" y="1506999"/>
                      <a:pt x="835982" y="1544528"/>
                    </a:cubicBezTo>
                    <a:cubicBezTo>
                      <a:pt x="833696" y="1545861"/>
                      <a:pt x="831219" y="1546623"/>
                      <a:pt x="828552" y="1546623"/>
                    </a:cubicBezTo>
                    <a:close/>
                    <a:moveTo>
                      <a:pt x="965331" y="1452707"/>
                    </a:moveTo>
                    <a:cubicBezTo>
                      <a:pt x="967046" y="1455564"/>
                      <a:pt x="969332" y="1457469"/>
                      <a:pt x="971808" y="1458517"/>
                    </a:cubicBezTo>
                    <a:cubicBezTo>
                      <a:pt x="969236" y="1457374"/>
                      <a:pt x="966951" y="1455374"/>
                      <a:pt x="965331" y="1452707"/>
                    </a:cubicBezTo>
                    <a:close/>
                    <a:moveTo>
                      <a:pt x="613668" y="1307260"/>
                    </a:moveTo>
                    <a:cubicBezTo>
                      <a:pt x="531372" y="1358600"/>
                      <a:pt x="450410" y="1410035"/>
                      <a:pt x="397641" y="1446706"/>
                    </a:cubicBezTo>
                    <a:cubicBezTo>
                      <a:pt x="455077" y="1412606"/>
                      <a:pt x="538516" y="1357361"/>
                      <a:pt x="613668" y="1307260"/>
                    </a:cubicBezTo>
                    <a:close/>
                    <a:moveTo>
                      <a:pt x="967903" y="1053609"/>
                    </a:moveTo>
                    <a:cubicBezTo>
                      <a:pt x="874463" y="1105425"/>
                      <a:pt x="723301" y="1202771"/>
                      <a:pt x="608430" y="1276970"/>
                    </a:cubicBezTo>
                    <a:cubicBezTo>
                      <a:pt x="650816" y="1250586"/>
                      <a:pt x="698917" y="1220773"/>
                      <a:pt x="753686" y="1187054"/>
                    </a:cubicBezTo>
                    <a:cubicBezTo>
                      <a:pt x="829124" y="1140572"/>
                      <a:pt x="910372" y="1090566"/>
                      <a:pt x="967903" y="1053609"/>
                    </a:cubicBezTo>
                    <a:close/>
                    <a:moveTo>
                      <a:pt x="961807" y="1120094"/>
                    </a:moveTo>
                    <a:cubicBezTo>
                      <a:pt x="910944" y="1147145"/>
                      <a:pt x="833982" y="1196103"/>
                      <a:pt x="758829" y="1245347"/>
                    </a:cubicBezTo>
                    <a:cubicBezTo>
                      <a:pt x="761401" y="1243728"/>
                      <a:pt x="764068" y="1242204"/>
                      <a:pt x="766735" y="1240585"/>
                    </a:cubicBezTo>
                    <a:cubicBezTo>
                      <a:pt x="836934" y="1198008"/>
                      <a:pt x="913230" y="1151907"/>
                      <a:pt x="961902" y="1120094"/>
                    </a:cubicBezTo>
                    <a:close/>
                    <a:moveTo>
                      <a:pt x="493368" y="906353"/>
                    </a:moveTo>
                    <a:cubicBezTo>
                      <a:pt x="430884" y="945595"/>
                      <a:pt x="372972" y="982743"/>
                      <a:pt x="325537" y="1014176"/>
                    </a:cubicBezTo>
                    <a:cubicBezTo>
                      <a:pt x="375067" y="983029"/>
                      <a:pt x="433551" y="945119"/>
                      <a:pt x="493368" y="906353"/>
                    </a:cubicBezTo>
                    <a:close/>
                    <a:moveTo>
                      <a:pt x="1171452" y="531639"/>
                    </a:moveTo>
                    <a:cubicBezTo>
                      <a:pt x="1143830" y="540878"/>
                      <a:pt x="1085251" y="567929"/>
                      <a:pt x="961331" y="642320"/>
                    </a:cubicBezTo>
                    <a:cubicBezTo>
                      <a:pt x="838458" y="716043"/>
                      <a:pt x="687201" y="814436"/>
                      <a:pt x="553851" y="901114"/>
                    </a:cubicBezTo>
                    <a:cubicBezTo>
                      <a:pt x="495654" y="938928"/>
                      <a:pt x="446695" y="970646"/>
                      <a:pt x="405357" y="997221"/>
                    </a:cubicBezTo>
                    <a:cubicBezTo>
                      <a:pt x="485557" y="947882"/>
                      <a:pt x="593380" y="883397"/>
                      <a:pt x="737208" y="798244"/>
                    </a:cubicBezTo>
                    <a:cubicBezTo>
                      <a:pt x="912944" y="694231"/>
                      <a:pt x="1108683" y="578407"/>
                      <a:pt x="1171452" y="531639"/>
                    </a:cubicBezTo>
                    <a:close/>
                    <a:moveTo>
                      <a:pt x="1081917" y="811198"/>
                    </a:moveTo>
                    <a:cubicBezTo>
                      <a:pt x="1075345" y="815389"/>
                      <a:pt x="1068582" y="819675"/>
                      <a:pt x="1061820" y="823961"/>
                    </a:cubicBezTo>
                    <a:cubicBezTo>
                      <a:pt x="995144" y="866252"/>
                      <a:pt x="931899" y="906162"/>
                      <a:pt x="872367" y="943500"/>
                    </a:cubicBezTo>
                    <a:cubicBezTo>
                      <a:pt x="951901" y="895685"/>
                      <a:pt x="1026958" y="849012"/>
                      <a:pt x="1081917" y="811198"/>
                    </a:cubicBezTo>
                    <a:close/>
                    <a:moveTo>
                      <a:pt x="450219" y="747571"/>
                    </a:moveTo>
                    <a:cubicBezTo>
                      <a:pt x="362875" y="800339"/>
                      <a:pt x="278007" y="852060"/>
                      <a:pt x="222191" y="887969"/>
                    </a:cubicBezTo>
                    <a:cubicBezTo>
                      <a:pt x="250290" y="873396"/>
                      <a:pt x="285056" y="853870"/>
                      <a:pt x="324013" y="831105"/>
                    </a:cubicBezTo>
                    <a:cubicBezTo>
                      <a:pt x="361732" y="805102"/>
                      <a:pt x="404499" y="776908"/>
                      <a:pt x="450315" y="747571"/>
                    </a:cubicBezTo>
                    <a:close/>
                    <a:moveTo>
                      <a:pt x="673962" y="496016"/>
                    </a:moveTo>
                    <a:cubicBezTo>
                      <a:pt x="637386" y="520304"/>
                      <a:pt x="601286" y="544498"/>
                      <a:pt x="567567" y="567167"/>
                    </a:cubicBezTo>
                    <a:cubicBezTo>
                      <a:pt x="500607" y="612125"/>
                      <a:pt x="441742" y="651368"/>
                      <a:pt x="390307" y="684992"/>
                    </a:cubicBezTo>
                    <a:cubicBezTo>
                      <a:pt x="406881" y="674705"/>
                      <a:pt x="424407" y="663941"/>
                      <a:pt x="442790" y="652607"/>
                    </a:cubicBezTo>
                    <a:cubicBezTo>
                      <a:pt x="635671" y="533735"/>
                      <a:pt x="914182" y="361999"/>
                      <a:pt x="996002" y="299610"/>
                    </a:cubicBezTo>
                    <a:cubicBezTo>
                      <a:pt x="975047" y="308183"/>
                      <a:pt x="944472" y="324566"/>
                      <a:pt x="908086" y="346092"/>
                    </a:cubicBezTo>
                    <a:cubicBezTo>
                      <a:pt x="875510" y="368857"/>
                      <a:pt x="834077" y="396194"/>
                      <a:pt x="781594" y="429245"/>
                    </a:cubicBezTo>
                    <a:cubicBezTo>
                      <a:pt x="747304" y="450867"/>
                      <a:pt x="711109" y="473251"/>
                      <a:pt x="673771" y="495825"/>
                    </a:cubicBezTo>
                    <a:close/>
                    <a:moveTo>
                      <a:pt x="240479" y="152830"/>
                    </a:moveTo>
                    <a:lnTo>
                      <a:pt x="240479" y="152830"/>
                    </a:lnTo>
                    <a:cubicBezTo>
                      <a:pt x="240479" y="152830"/>
                      <a:pt x="240479" y="152830"/>
                      <a:pt x="240479" y="15283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3" name="Полилиния: фигура 262">
                <a:extLst>
                  <a:ext uri="{FF2B5EF4-FFF2-40B4-BE49-F238E27FC236}">
                    <a16:creationId xmlns:a16="http://schemas.microsoft.com/office/drawing/2014/main" id="{8484EE28-D74C-4440-AF63-1FBC03DAF4F7}"/>
                  </a:ext>
                </a:extLst>
              </p:cNvPr>
              <p:cNvSpPr/>
              <p:nvPr/>
            </p:nvSpPr>
            <p:spPr>
              <a:xfrm>
                <a:off x="2770378" y="3148671"/>
                <a:ext cx="1195482" cy="1511183"/>
              </a:xfrm>
              <a:custGeom>
                <a:avLst/>
                <a:gdLst>
                  <a:gd name="connsiteX0" fmla="*/ 612076 w 1195482"/>
                  <a:gd name="connsiteY0" fmla="*/ 42 h 1511183"/>
                  <a:gd name="connsiteX1" fmla="*/ 612076 w 1195482"/>
                  <a:gd name="connsiteY1" fmla="*/ 42 h 1511183"/>
                  <a:gd name="connsiteX2" fmla="*/ 608743 w 1195482"/>
                  <a:gd name="connsiteY2" fmla="*/ 42 h 1511183"/>
                  <a:gd name="connsiteX3" fmla="*/ 605695 w 1195482"/>
                  <a:gd name="connsiteY3" fmla="*/ 42 h 1511183"/>
                  <a:gd name="connsiteX4" fmla="*/ 605695 w 1195482"/>
                  <a:gd name="connsiteY4" fmla="*/ 42 h 1511183"/>
                  <a:gd name="connsiteX5" fmla="*/ 0 w 1195482"/>
                  <a:gd name="connsiteY5" fmla="*/ 595926 h 1511183"/>
                  <a:gd name="connsiteX6" fmla="*/ 68961 w 1195482"/>
                  <a:gd name="connsiteY6" fmla="*/ 874437 h 1511183"/>
                  <a:gd name="connsiteX7" fmla="*/ 179737 w 1195482"/>
                  <a:gd name="connsiteY7" fmla="*/ 1173713 h 1511183"/>
                  <a:gd name="connsiteX8" fmla="*/ 244030 w 1195482"/>
                  <a:gd name="connsiteY8" fmla="*/ 1458987 h 1511183"/>
                  <a:gd name="connsiteX9" fmla="*/ 243935 w 1195482"/>
                  <a:gd name="connsiteY9" fmla="*/ 1465083 h 1511183"/>
                  <a:gd name="connsiteX10" fmla="*/ 288417 w 1195482"/>
                  <a:gd name="connsiteY10" fmla="*/ 1511184 h 1511183"/>
                  <a:gd name="connsiteX11" fmla="*/ 907066 w 1195482"/>
                  <a:gd name="connsiteY11" fmla="*/ 1511184 h 1511183"/>
                  <a:gd name="connsiteX12" fmla="*/ 951548 w 1195482"/>
                  <a:gd name="connsiteY12" fmla="*/ 1465083 h 1511183"/>
                  <a:gd name="connsiteX13" fmla="*/ 951452 w 1195482"/>
                  <a:gd name="connsiteY13" fmla="*/ 1458987 h 1511183"/>
                  <a:gd name="connsiteX14" fmla="*/ 1015746 w 1195482"/>
                  <a:gd name="connsiteY14" fmla="*/ 1173713 h 1511183"/>
                  <a:gd name="connsiteX15" fmla="*/ 1126522 w 1195482"/>
                  <a:gd name="connsiteY15" fmla="*/ 874437 h 1511183"/>
                  <a:gd name="connsiteX16" fmla="*/ 1195483 w 1195482"/>
                  <a:gd name="connsiteY16" fmla="*/ 595926 h 1511183"/>
                  <a:gd name="connsiteX17" fmla="*/ 611886 w 1195482"/>
                  <a:gd name="connsiteY17" fmla="*/ 233 h 1511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95482" h="1511183">
                    <a:moveTo>
                      <a:pt x="612076" y="42"/>
                    </a:moveTo>
                    <a:lnTo>
                      <a:pt x="612076" y="42"/>
                    </a:lnTo>
                    <a:cubicBezTo>
                      <a:pt x="610934" y="-53"/>
                      <a:pt x="609886" y="42"/>
                      <a:pt x="608743" y="42"/>
                    </a:cubicBezTo>
                    <a:cubicBezTo>
                      <a:pt x="607695" y="42"/>
                      <a:pt x="606647" y="42"/>
                      <a:pt x="605695" y="42"/>
                    </a:cubicBezTo>
                    <a:lnTo>
                      <a:pt x="605695" y="42"/>
                    </a:lnTo>
                    <a:cubicBezTo>
                      <a:pt x="260413" y="6519"/>
                      <a:pt x="0" y="270743"/>
                      <a:pt x="0" y="595926"/>
                    </a:cubicBezTo>
                    <a:cubicBezTo>
                      <a:pt x="0" y="696510"/>
                      <a:pt x="24955" y="791284"/>
                      <a:pt x="68961" y="874437"/>
                    </a:cubicBezTo>
                    <a:cubicBezTo>
                      <a:pt x="88392" y="919681"/>
                      <a:pt x="134112" y="1030457"/>
                      <a:pt x="179737" y="1173713"/>
                    </a:cubicBezTo>
                    <a:cubicBezTo>
                      <a:pt x="221933" y="1305920"/>
                      <a:pt x="244030" y="1438889"/>
                      <a:pt x="244030" y="1458987"/>
                    </a:cubicBezTo>
                    <a:cubicBezTo>
                      <a:pt x="244030" y="1460892"/>
                      <a:pt x="244030" y="1462987"/>
                      <a:pt x="243935" y="1465083"/>
                    </a:cubicBezTo>
                    <a:cubicBezTo>
                      <a:pt x="243173" y="1490324"/>
                      <a:pt x="263271" y="1511184"/>
                      <a:pt x="288417" y="1511184"/>
                    </a:cubicBezTo>
                    <a:lnTo>
                      <a:pt x="907066" y="1511184"/>
                    </a:lnTo>
                    <a:cubicBezTo>
                      <a:pt x="932307" y="1511184"/>
                      <a:pt x="952405" y="1490229"/>
                      <a:pt x="951548" y="1465083"/>
                    </a:cubicBezTo>
                    <a:cubicBezTo>
                      <a:pt x="951548" y="1462987"/>
                      <a:pt x="951452" y="1460892"/>
                      <a:pt x="951452" y="1458987"/>
                    </a:cubicBezTo>
                    <a:cubicBezTo>
                      <a:pt x="951452" y="1438889"/>
                      <a:pt x="973550" y="1305920"/>
                      <a:pt x="1015746" y="1173713"/>
                    </a:cubicBezTo>
                    <a:cubicBezTo>
                      <a:pt x="1061466" y="1030457"/>
                      <a:pt x="1107186" y="919681"/>
                      <a:pt x="1126522" y="874437"/>
                    </a:cubicBezTo>
                    <a:cubicBezTo>
                      <a:pt x="1170527" y="791284"/>
                      <a:pt x="1195483" y="696510"/>
                      <a:pt x="1195483" y="595926"/>
                    </a:cubicBezTo>
                    <a:cubicBezTo>
                      <a:pt x="1195483" y="270933"/>
                      <a:pt x="935355" y="6805"/>
                      <a:pt x="611886" y="233"/>
                    </a:cubicBezTo>
                    <a:close/>
                  </a:path>
                </a:pathLst>
              </a:custGeom>
              <a:noFill/>
              <a:ln w="1905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264" name="Рисунок 2">
                <a:extLst>
                  <a:ext uri="{FF2B5EF4-FFF2-40B4-BE49-F238E27FC236}">
                    <a16:creationId xmlns:a16="http://schemas.microsoft.com/office/drawing/2014/main" id="{845BBD1B-8567-467A-A75B-539233F5AE2A}"/>
                  </a:ext>
                </a:extLst>
              </p:cNvPr>
              <p:cNvGrpSpPr/>
              <p:nvPr/>
            </p:nvGrpSpPr>
            <p:grpSpPr>
              <a:xfrm>
                <a:off x="3538092" y="3224056"/>
                <a:ext cx="251555" cy="171545"/>
                <a:chOff x="3538092" y="3224056"/>
                <a:chExt cx="251555" cy="171545"/>
              </a:xfrm>
              <a:noFill/>
            </p:grpSpPr>
            <p:sp>
              <p:nvSpPr>
                <p:cNvPr id="265" name="Полилиния: фигура 264">
                  <a:extLst>
                    <a:ext uri="{FF2B5EF4-FFF2-40B4-BE49-F238E27FC236}">
                      <a16:creationId xmlns:a16="http://schemas.microsoft.com/office/drawing/2014/main" id="{EBF5B866-A38C-436C-A330-6650AC24B406}"/>
                    </a:ext>
                  </a:extLst>
                </p:cNvPr>
                <p:cNvSpPr/>
                <p:nvPr/>
              </p:nvSpPr>
              <p:spPr>
                <a:xfrm>
                  <a:off x="3538092" y="3224056"/>
                  <a:ext cx="53054" cy="20288"/>
                </a:xfrm>
                <a:custGeom>
                  <a:avLst/>
                  <a:gdLst>
                    <a:gd name="connsiteX0" fmla="*/ 53054 w 53054"/>
                    <a:gd name="connsiteY0" fmla="*/ 20288 h 20288"/>
                    <a:gd name="connsiteX1" fmla="*/ 0 w 53054"/>
                    <a:gd name="connsiteY1" fmla="*/ 0 h 202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3054" h="20288">
                      <a:moveTo>
                        <a:pt x="53054" y="20288"/>
                      </a:moveTo>
                      <a:cubicBezTo>
                        <a:pt x="36004" y="12668"/>
                        <a:pt x="18288" y="5715"/>
                        <a:pt x="0" y="0"/>
                      </a:cubicBezTo>
                    </a:path>
                  </a:pathLst>
                </a:custGeom>
                <a:noFill/>
                <a:ln w="2857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66" name="Полилиния: фигура 265">
                  <a:extLst>
                    <a:ext uri="{FF2B5EF4-FFF2-40B4-BE49-F238E27FC236}">
                      <a16:creationId xmlns:a16="http://schemas.microsoft.com/office/drawing/2014/main" id="{B0BE5C8A-B3B9-43BD-9FDA-5F668FE7BC48}"/>
                    </a:ext>
                  </a:extLst>
                </p:cNvPr>
                <p:cNvSpPr/>
                <p:nvPr/>
              </p:nvSpPr>
              <p:spPr>
                <a:xfrm>
                  <a:off x="3634295" y="3265966"/>
                  <a:ext cx="155352" cy="129635"/>
                </a:xfrm>
                <a:custGeom>
                  <a:avLst/>
                  <a:gdLst>
                    <a:gd name="connsiteX0" fmla="*/ 155353 w 155352"/>
                    <a:gd name="connsiteY0" fmla="*/ 129635 h 129635"/>
                    <a:gd name="connsiteX1" fmla="*/ 0 w 155352"/>
                    <a:gd name="connsiteY1" fmla="*/ 0 h 129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5352" h="129635">
                      <a:moveTo>
                        <a:pt x="155353" y="129635"/>
                      </a:moveTo>
                      <a:cubicBezTo>
                        <a:pt x="155353" y="129635"/>
                        <a:pt x="106775" y="52483"/>
                        <a:pt x="0" y="0"/>
                      </a:cubicBezTo>
                    </a:path>
                  </a:pathLst>
                </a:custGeom>
                <a:noFill/>
                <a:ln w="2857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267" name="Полилиния: фигура 266">
                <a:extLst>
                  <a:ext uri="{FF2B5EF4-FFF2-40B4-BE49-F238E27FC236}">
                    <a16:creationId xmlns:a16="http://schemas.microsoft.com/office/drawing/2014/main" id="{1D70CCE7-044D-417A-8226-34F7128474D6}"/>
                  </a:ext>
                </a:extLst>
              </p:cNvPr>
              <p:cNvSpPr/>
              <p:nvPr/>
            </p:nvSpPr>
            <p:spPr>
              <a:xfrm>
                <a:off x="3220934" y="3935097"/>
                <a:ext cx="320116" cy="721042"/>
              </a:xfrm>
              <a:custGeom>
                <a:avLst/>
                <a:gdLst>
                  <a:gd name="connsiteX0" fmla="*/ 107989 w 320116"/>
                  <a:gd name="connsiteY0" fmla="*/ 454914 h 721042"/>
                  <a:gd name="connsiteX1" fmla="*/ 107989 w 320116"/>
                  <a:gd name="connsiteY1" fmla="*/ 148971 h 721042"/>
                  <a:gd name="connsiteX2" fmla="*/ 53982 w 320116"/>
                  <a:gd name="connsiteY2" fmla="*/ 0 h 721042"/>
                  <a:gd name="connsiteX3" fmla="*/ 71889 w 320116"/>
                  <a:gd name="connsiteY3" fmla="*/ 160877 h 721042"/>
                  <a:gd name="connsiteX4" fmla="*/ 316206 w 320116"/>
                  <a:gd name="connsiteY4" fmla="*/ 101251 h 721042"/>
                  <a:gd name="connsiteX5" fmla="*/ 256579 w 320116"/>
                  <a:gd name="connsiteY5" fmla="*/ 59531 h 721042"/>
                  <a:gd name="connsiteX6" fmla="*/ 256579 w 320116"/>
                  <a:gd name="connsiteY6" fmla="*/ 721043 h 72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0116" h="721042">
                    <a:moveTo>
                      <a:pt x="107989" y="454914"/>
                    </a:moveTo>
                    <a:lnTo>
                      <a:pt x="107989" y="148971"/>
                    </a:lnTo>
                    <a:cubicBezTo>
                      <a:pt x="107989" y="148971"/>
                      <a:pt x="131516" y="0"/>
                      <a:pt x="53982" y="0"/>
                    </a:cubicBezTo>
                    <a:cubicBezTo>
                      <a:pt x="-23551" y="0"/>
                      <a:pt x="-17550" y="77438"/>
                      <a:pt x="71889" y="160877"/>
                    </a:cubicBezTo>
                    <a:cubicBezTo>
                      <a:pt x="161234" y="244316"/>
                      <a:pt x="298299" y="166878"/>
                      <a:pt x="316206" y="101251"/>
                    </a:cubicBezTo>
                    <a:cubicBezTo>
                      <a:pt x="334113" y="35719"/>
                      <a:pt x="286392" y="5905"/>
                      <a:pt x="256579" y="59531"/>
                    </a:cubicBezTo>
                    <a:cubicBezTo>
                      <a:pt x="226766" y="113157"/>
                      <a:pt x="256579" y="721043"/>
                      <a:pt x="256579" y="721043"/>
                    </a:cubicBezTo>
                  </a:path>
                </a:pathLst>
              </a:custGeom>
              <a:noFill/>
              <a:ln w="2857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68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3026505" y="2918208"/>
              <a:ext cx="944213" cy="2209799"/>
              <a:chOff x="3026505" y="2918208"/>
              <a:chExt cx="944213" cy="2209799"/>
            </a:xfrm>
            <a:solidFill>
              <a:srgbClr val="263238"/>
            </a:solidFill>
          </p:grpSpPr>
          <p:sp>
            <p:nvSpPr>
              <p:cNvPr id="269" name="Полилиния: фигура 268">
                <a:extLst>
                  <a:ext uri="{FF2B5EF4-FFF2-40B4-BE49-F238E27FC236}">
                    <a16:creationId xmlns:a16="http://schemas.microsoft.com/office/drawing/2014/main" id="{F02CFF98-8946-469E-AAAE-5A16F29E2872}"/>
                  </a:ext>
                </a:extLst>
              </p:cNvPr>
              <p:cNvSpPr/>
              <p:nvPr/>
            </p:nvSpPr>
            <p:spPr>
              <a:xfrm>
                <a:off x="3163189" y="2993932"/>
                <a:ext cx="33051" cy="103727"/>
              </a:xfrm>
              <a:custGeom>
                <a:avLst/>
                <a:gdLst>
                  <a:gd name="connsiteX0" fmla="*/ 0 w 33051"/>
                  <a:gd name="connsiteY0" fmla="*/ 0 h 103727"/>
                  <a:gd name="connsiteX1" fmla="*/ 33052 w 33051"/>
                  <a:gd name="connsiteY1" fmla="*/ 103727 h 103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051" h="103727">
                    <a:moveTo>
                      <a:pt x="0" y="0"/>
                    </a:moveTo>
                    <a:lnTo>
                      <a:pt x="33052" y="103727"/>
                    </a:lnTo>
                  </a:path>
                </a:pathLst>
              </a:custGeom>
              <a:ln w="2857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270" name="Рисунок 2">
                <a:extLst>
                  <a:ext uri="{FF2B5EF4-FFF2-40B4-BE49-F238E27FC236}">
                    <a16:creationId xmlns:a16="http://schemas.microsoft.com/office/drawing/2014/main" id="{845BBD1B-8567-467A-A75B-539233F5AE2A}"/>
                  </a:ext>
                </a:extLst>
              </p:cNvPr>
              <p:cNvGrpSpPr/>
              <p:nvPr/>
            </p:nvGrpSpPr>
            <p:grpSpPr>
              <a:xfrm>
                <a:off x="3527615" y="2918208"/>
                <a:ext cx="443103" cy="386810"/>
                <a:chOff x="3527615" y="2918208"/>
                <a:chExt cx="443103" cy="386810"/>
              </a:xfrm>
            </p:grpSpPr>
            <p:sp>
              <p:nvSpPr>
                <p:cNvPr id="271" name="Полилиния: фигура 270">
                  <a:extLst>
                    <a:ext uri="{FF2B5EF4-FFF2-40B4-BE49-F238E27FC236}">
                      <a16:creationId xmlns:a16="http://schemas.microsoft.com/office/drawing/2014/main" id="{378CBB63-CD28-4A26-8B52-161A3A7C3F99}"/>
                    </a:ext>
                  </a:extLst>
                </p:cNvPr>
                <p:cNvSpPr/>
                <p:nvPr/>
              </p:nvSpPr>
              <p:spPr>
                <a:xfrm>
                  <a:off x="3862324" y="3220151"/>
                  <a:ext cx="108394" cy="84867"/>
                </a:xfrm>
                <a:custGeom>
                  <a:avLst/>
                  <a:gdLst>
                    <a:gd name="connsiteX0" fmla="*/ 108395 w 108394"/>
                    <a:gd name="connsiteY0" fmla="*/ 0 h 84867"/>
                    <a:gd name="connsiteX1" fmla="*/ 0 w 108394"/>
                    <a:gd name="connsiteY1" fmla="*/ 84868 h 84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394" h="84867">
                      <a:moveTo>
                        <a:pt x="108395" y="0"/>
                      </a:moveTo>
                      <a:lnTo>
                        <a:pt x="0" y="84868"/>
                      </a:lnTo>
                    </a:path>
                  </a:pathLst>
                </a:custGeom>
                <a:ln w="2857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72" name="Полилиния: фигура 271">
                  <a:extLst>
                    <a:ext uri="{FF2B5EF4-FFF2-40B4-BE49-F238E27FC236}">
                      <a16:creationId xmlns:a16="http://schemas.microsoft.com/office/drawing/2014/main" id="{BF010C31-D1A2-4019-9B07-8EC57970DFBD}"/>
                    </a:ext>
                  </a:extLst>
                </p:cNvPr>
                <p:cNvSpPr/>
                <p:nvPr/>
              </p:nvSpPr>
              <p:spPr>
                <a:xfrm>
                  <a:off x="3527615" y="2918208"/>
                  <a:ext cx="40862" cy="179451"/>
                </a:xfrm>
                <a:custGeom>
                  <a:avLst/>
                  <a:gdLst>
                    <a:gd name="connsiteX0" fmla="*/ 40862 w 40862"/>
                    <a:gd name="connsiteY0" fmla="*/ 0 h 179451"/>
                    <a:gd name="connsiteX1" fmla="*/ 0 w 40862"/>
                    <a:gd name="connsiteY1" fmla="*/ 179451 h 1794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862" h="179451">
                      <a:moveTo>
                        <a:pt x="40862" y="0"/>
                      </a:moveTo>
                      <a:lnTo>
                        <a:pt x="0" y="179451"/>
                      </a:lnTo>
                    </a:path>
                  </a:pathLst>
                </a:custGeom>
                <a:ln w="2857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273" name="Рисунок 2">
                <a:extLst>
                  <a:ext uri="{FF2B5EF4-FFF2-40B4-BE49-F238E27FC236}">
                    <a16:creationId xmlns:a16="http://schemas.microsoft.com/office/drawing/2014/main" id="{845BBD1B-8567-467A-A75B-539233F5AE2A}"/>
                  </a:ext>
                </a:extLst>
              </p:cNvPr>
              <p:cNvGrpSpPr/>
              <p:nvPr/>
            </p:nvGrpSpPr>
            <p:grpSpPr>
              <a:xfrm>
                <a:off x="3026505" y="4704717"/>
                <a:ext cx="683609" cy="423291"/>
                <a:chOff x="3026505" y="4704717"/>
                <a:chExt cx="683609" cy="423291"/>
              </a:xfrm>
              <a:solidFill>
                <a:srgbClr val="263238"/>
              </a:solidFill>
            </p:grpSpPr>
            <p:sp>
              <p:nvSpPr>
                <p:cNvPr id="274" name="Полилиния: фигура 273">
                  <a:extLst>
                    <a:ext uri="{FF2B5EF4-FFF2-40B4-BE49-F238E27FC236}">
                      <a16:creationId xmlns:a16="http://schemas.microsoft.com/office/drawing/2014/main" id="{7FB48276-6C46-41E9-82F1-2CCB8CEA32F7}"/>
                    </a:ext>
                  </a:extLst>
                </p:cNvPr>
                <p:cNvSpPr/>
                <p:nvPr/>
              </p:nvSpPr>
              <p:spPr>
                <a:xfrm>
                  <a:off x="3026505" y="4704717"/>
                  <a:ext cx="683609" cy="37719"/>
                </a:xfrm>
                <a:custGeom>
                  <a:avLst/>
                  <a:gdLst>
                    <a:gd name="connsiteX0" fmla="*/ 15145 w 683609"/>
                    <a:gd name="connsiteY0" fmla="*/ 0 h 37719"/>
                    <a:gd name="connsiteX1" fmla="*/ 668464 w 683609"/>
                    <a:gd name="connsiteY1" fmla="*/ 0 h 37719"/>
                    <a:gd name="connsiteX2" fmla="*/ 683609 w 683609"/>
                    <a:gd name="connsiteY2" fmla="*/ 15145 h 37719"/>
                    <a:gd name="connsiteX3" fmla="*/ 683609 w 683609"/>
                    <a:gd name="connsiteY3" fmla="*/ 22574 h 37719"/>
                    <a:gd name="connsiteX4" fmla="*/ 668464 w 683609"/>
                    <a:gd name="connsiteY4" fmla="*/ 37719 h 37719"/>
                    <a:gd name="connsiteX5" fmla="*/ 15145 w 683609"/>
                    <a:gd name="connsiteY5" fmla="*/ 37719 h 37719"/>
                    <a:gd name="connsiteX6" fmla="*/ 0 w 683609"/>
                    <a:gd name="connsiteY6" fmla="*/ 22574 h 37719"/>
                    <a:gd name="connsiteX7" fmla="*/ 0 w 683609"/>
                    <a:gd name="connsiteY7" fmla="*/ 15145 h 37719"/>
                    <a:gd name="connsiteX8" fmla="*/ 15145 w 683609"/>
                    <a:gd name="connsiteY8" fmla="*/ 0 h 37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3609" h="37719">
                      <a:moveTo>
                        <a:pt x="15145" y="0"/>
                      </a:moveTo>
                      <a:lnTo>
                        <a:pt x="668464" y="0"/>
                      </a:lnTo>
                      <a:cubicBezTo>
                        <a:pt x="676847" y="0"/>
                        <a:pt x="683609" y="6763"/>
                        <a:pt x="683609" y="15145"/>
                      </a:cubicBezTo>
                      <a:lnTo>
                        <a:pt x="683609" y="22574"/>
                      </a:lnTo>
                      <a:cubicBezTo>
                        <a:pt x="683609" y="30956"/>
                        <a:pt x="676847" y="37719"/>
                        <a:pt x="668464" y="37719"/>
                      </a:cubicBezTo>
                      <a:lnTo>
                        <a:pt x="15145" y="37719"/>
                      </a:lnTo>
                      <a:cubicBezTo>
                        <a:pt x="6763" y="37719"/>
                        <a:pt x="0" y="30956"/>
                        <a:pt x="0" y="22574"/>
                      </a:cubicBezTo>
                      <a:lnTo>
                        <a:pt x="0" y="15145"/>
                      </a:lnTo>
                      <a:cubicBezTo>
                        <a:pt x="0" y="6763"/>
                        <a:pt x="6763" y="0"/>
                        <a:pt x="15145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75" name="Полилиния: фигура 274">
                  <a:extLst>
                    <a:ext uri="{FF2B5EF4-FFF2-40B4-BE49-F238E27FC236}">
                      <a16:creationId xmlns:a16="http://schemas.microsoft.com/office/drawing/2014/main" id="{60673D46-97D7-44DA-A560-929BA3722E7D}"/>
                    </a:ext>
                  </a:extLst>
                </p:cNvPr>
                <p:cNvSpPr/>
                <p:nvPr/>
              </p:nvSpPr>
              <p:spPr>
                <a:xfrm>
                  <a:off x="3026505" y="4789871"/>
                  <a:ext cx="683609" cy="37814"/>
                </a:xfrm>
                <a:custGeom>
                  <a:avLst/>
                  <a:gdLst>
                    <a:gd name="connsiteX0" fmla="*/ 668464 w 683609"/>
                    <a:gd name="connsiteY0" fmla="*/ 0 h 37814"/>
                    <a:gd name="connsiteX1" fmla="*/ 683609 w 683609"/>
                    <a:gd name="connsiteY1" fmla="*/ 15145 h 37814"/>
                    <a:gd name="connsiteX2" fmla="*/ 683609 w 683609"/>
                    <a:gd name="connsiteY2" fmla="*/ 22669 h 37814"/>
                    <a:gd name="connsiteX3" fmla="*/ 668464 w 683609"/>
                    <a:gd name="connsiteY3" fmla="*/ 37814 h 37814"/>
                    <a:gd name="connsiteX4" fmla="*/ 15145 w 683609"/>
                    <a:gd name="connsiteY4" fmla="*/ 37814 h 37814"/>
                    <a:gd name="connsiteX5" fmla="*/ 0 w 683609"/>
                    <a:gd name="connsiteY5" fmla="*/ 22669 h 37814"/>
                    <a:gd name="connsiteX6" fmla="*/ 0 w 683609"/>
                    <a:gd name="connsiteY6" fmla="*/ 15145 h 37814"/>
                    <a:gd name="connsiteX7" fmla="*/ 15145 w 683609"/>
                    <a:gd name="connsiteY7" fmla="*/ 0 h 3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3609" h="37814">
                      <a:moveTo>
                        <a:pt x="668464" y="0"/>
                      </a:moveTo>
                      <a:cubicBezTo>
                        <a:pt x="676829" y="0"/>
                        <a:pt x="683609" y="6780"/>
                        <a:pt x="683609" y="15145"/>
                      </a:cubicBezTo>
                      <a:lnTo>
                        <a:pt x="683609" y="22669"/>
                      </a:lnTo>
                      <a:cubicBezTo>
                        <a:pt x="683609" y="31034"/>
                        <a:pt x="676829" y="37814"/>
                        <a:pt x="668464" y="37814"/>
                      </a:cubicBezTo>
                      <a:lnTo>
                        <a:pt x="15145" y="37814"/>
                      </a:lnTo>
                      <a:cubicBezTo>
                        <a:pt x="6781" y="37814"/>
                        <a:pt x="0" y="31034"/>
                        <a:pt x="0" y="22669"/>
                      </a:cubicBezTo>
                      <a:lnTo>
                        <a:pt x="0" y="15145"/>
                      </a:lnTo>
                      <a:cubicBezTo>
                        <a:pt x="0" y="6780"/>
                        <a:pt x="6781" y="0"/>
                        <a:pt x="15145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76" name="Полилиния: фигура 275">
                  <a:extLst>
                    <a:ext uri="{FF2B5EF4-FFF2-40B4-BE49-F238E27FC236}">
                      <a16:creationId xmlns:a16="http://schemas.microsoft.com/office/drawing/2014/main" id="{72563C08-B483-46FE-8391-9914A83745AC}"/>
                    </a:ext>
                  </a:extLst>
                </p:cNvPr>
                <p:cNvSpPr/>
                <p:nvPr/>
              </p:nvSpPr>
              <p:spPr>
                <a:xfrm>
                  <a:off x="3026505" y="4875024"/>
                  <a:ext cx="683609" cy="37814"/>
                </a:xfrm>
                <a:custGeom>
                  <a:avLst/>
                  <a:gdLst>
                    <a:gd name="connsiteX0" fmla="*/ 668464 w 683609"/>
                    <a:gd name="connsiteY0" fmla="*/ 0 h 37814"/>
                    <a:gd name="connsiteX1" fmla="*/ 683609 w 683609"/>
                    <a:gd name="connsiteY1" fmla="*/ 15145 h 37814"/>
                    <a:gd name="connsiteX2" fmla="*/ 683609 w 683609"/>
                    <a:gd name="connsiteY2" fmla="*/ 22670 h 37814"/>
                    <a:gd name="connsiteX3" fmla="*/ 668464 w 683609"/>
                    <a:gd name="connsiteY3" fmla="*/ 37814 h 37814"/>
                    <a:gd name="connsiteX4" fmla="*/ 15145 w 683609"/>
                    <a:gd name="connsiteY4" fmla="*/ 37814 h 37814"/>
                    <a:gd name="connsiteX5" fmla="*/ 0 w 683609"/>
                    <a:gd name="connsiteY5" fmla="*/ 22670 h 37814"/>
                    <a:gd name="connsiteX6" fmla="*/ 0 w 683609"/>
                    <a:gd name="connsiteY6" fmla="*/ 15145 h 37814"/>
                    <a:gd name="connsiteX7" fmla="*/ 15145 w 683609"/>
                    <a:gd name="connsiteY7" fmla="*/ 0 h 3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3609" h="37814">
                      <a:moveTo>
                        <a:pt x="668464" y="0"/>
                      </a:moveTo>
                      <a:cubicBezTo>
                        <a:pt x="676829" y="0"/>
                        <a:pt x="683609" y="6780"/>
                        <a:pt x="683609" y="15145"/>
                      </a:cubicBezTo>
                      <a:lnTo>
                        <a:pt x="683609" y="22670"/>
                      </a:lnTo>
                      <a:cubicBezTo>
                        <a:pt x="683609" y="31034"/>
                        <a:pt x="676829" y="37814"/>
                        <a:pt x="668464" y="37814"/>
                      </a:cubicBezTo>
                      <a:lnTo>
                        <a:pt x="15145" y="37814"/>
                      </a:lnTo>
                      <a:cubicBezTo>
                        <a:pt x="6781" y="37814"/>
                        <a:pt x="0" y="31034"/>
                        <a:pt x="0" y="22670"/>
                      </a:cubicBezTo>
                      <a:lnTo>
                        <a:pt x="0" y="15145"/>
                      </a:lnTo>
                      <a:cubicBezTo>
                        <a:pt x="0" y="6780"/>
                        <a:pt x="6781" y="0"/>
                        <a:pt x="15145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77" name="Полилиния: фигура 276">
                  <a:extLst>
                    <a:ext uri="{FF2B5EF4-FFF2-40B4-BE49-F238E27FC236}">
                      <a16:creationId xmlns:a16="http://schemas.microsoft.com/office/drawing/2014/main" id="{F71AB46B-4520-4B18-9B87-7ED86C2DC500}"/>
                    </a:ext>
                  </a:extLst>
                </p:cNvPr>
                <p:cNvSpPr/>
                <p:nvPr/>
              </p:nvSpPr>
              <p:spPr>
                <a:xfrm>
                  <a:off x="3052794" y="4958177"/>
                  <a:ext cx="632269" cy="169830"/>
                </a:xfrm>
                <a:custGeom>
                  <a:avLst/>
                  <a:gdLst>
                    <a:gd name="connsiteX0" fmla="*/ 335471 w 632269"/>
                    <a:gd name="connsiteY0" fmla="*/ 0 h 169830"/>
                    <a:gd name="connsiteX1" fmla="*/ 0 w 632269"/>
                    <a:gd name="connsiteY1" fmla="*/ 0 h 169830"/>
                    <a:gd name="connsiteX2" fmla="*/ 96488 w 632269"/>
                    <a:gd name="connsiteY2" fmla="*/ 132969 h 169830"/>
                    <a:gd name="connsiteX3" fmla="*/ 168878 w 632269"/>
                    <a:gd name="connsiteY3" fmla="*/ 169831 h 169830"/>
                    <a:gd name="connsiteX4" fmla="*/ 463963 w 632269"/>
                    <a:gd name="connsiteY4" fmla="*/ 169831 h 169830"/>
                    <a:gd name="connsiteX5" fmla="*/ 536448 w 632269"/>
                    <a:gd name="connsiteY5" fmla="*/ 132779 h 169830"/>
                    <a:gd name="connsiteX6" fmla="*/ 632269 w 632269"/>
                    <a:gd name="connsiteY6" fmla="*/ 0 h 169830"/>
                    <a:gd name="connsiteX7" fmla="*/ 335375 w 632269"/>
                    <a:gd name="connsiteY7" fmla="*/ 0 h 169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2269" h="169830">
                      <a:moveTo>
                        <a:pt x="335471" y="0"/>
                      </a:moveTo>
                      <a:lnTo>
                        <a:pt x="0" y="0"/>
                      </a:lnTo>
                      <a:lnTo>
                        <a:pt x="96488" y="132969"/>
                      </a:lnTo>
                      <a:cubicBezTo>
                        <a:pt x="113348" y="156115"/>
                        <a:pt x="140208" y="169831"/>
                        <a:pt x="168878" y="169831"/>
                      </a:cubicBezTo>
                      <a:lnTo>
                        <a:pt x="463963" y="169831"/>
                      </a:lnTo>
                      <a:cubicBezTo>
                        <a:pt x="492728" y="169831"/>
                        <a:pt x="519684" y="156020"/>
                        <a:pt x="536448" y="132779"/>
                      </a:cubicBezTo>
                      <a:lnTo>
                        <a:pt x="632269" y="0"/>
                      </a:lnTo>
                      <a:lnTo>
                        <a:pt x="335375" y="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278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3796856" y="3394775"/>
            <a:ext cx="1714721" cy="2204625"/>
            <a:chOff x="3796856" y="3394775"/>
            <a:chExt cx="1714721" cy="2204625"/>
          </a:xfrm>
        </p:grpSpPr>
        <p:grpSp>
          <p:nvGrpSpPr>
            <p:cNvPr id="279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3937333" y="3466997"/>
              <a:ext cx="577611" cy="525100"/>
              <a:chOff x="3937333" y="3466997"/>
              <a:chExt cx="577611" cy="525100"/>
            </a:xfrm>
          </p:grpSpPr>
          <p:sp>
            <p:nvSpPr>
              <p:cNvPr id="280" name="Полилиния: фигура 279">
                <a:extLst>
                  <a:ext uri="{FF2B5EF4-FFF2-40B4-BE49-F238E27FC236}">
                    <a16:creationId xmlns:a16="http://schemas.microsoft.com/office/drawing/2014/main" id="{791F38EC-0905-4AAF-97E3-EDE2A0074D50}"/>
                  </a:ext>
                </a:extLst>
              </p:cNvPr>
              <p:cNvSpPr/>
              <p:nvPr/>
            </p:nvSpPr>
            <p:spPr>
              <a:xfrm>
                <a:off x="3937333" y="3466997"/>
                <a:ext cx="577611" cy="525100"/>
              </a:xfrm>
              <a:custGeom>
                <a:avLst/>
                <a:gdLst>
                  <a:gd name="connsiteX0" fmla="*/ 171116 w 577611"/>
                  <a:gd name="connsiteY0" fmla="*/ 66811 h 525100"/>
                  <a:gd name="connsiteX1" fmla="*/ 60245 w 577611"/>
                  <a:gd name="connsiteY1" fmla="*/ 166633 h 525100"/>
                  <a:gd name="connsiteX2" fmla="*/ 21383 w 577611"/>
                  <a:gd name="connsiteY2" fmla="*/ 266455 h 525100"/>
                  <a:gd name="connsiteX3" fmla="*/ 87963 w 577611"/>
                  <a:gd name="connsiteY3" fmla="*/ 260931 h 525100"/>
                  <a:gd name="connsiteX4" fmla="*/ 15859 w 577611"/>
                  <a:gd name="connsiteY4" fmla="*/ 333035 h 525100"/>
                  <a:gd name="connsiteX5" fmla="*/ 126730 w 577611"/>
                  <a:gd name="connsiteY5" fmla="*/ 366277 h 525100"/>
                  <a:gd name="connsiteX6" fmla="*/ 65770 w 577611"/>
                  <a:gd name="connsiteY6" fmla="*/ 449431 h 525100"/>
                  <a:gd name="connsiteX7" fmla="*/ 176641 w 577611"/>
                  <a:gd name="connsiteY7" fmla="*/ 454955 h 525100"/>
                  <a:gd name="connsiteX8" fmla="*/ 376285 w 577611"/>
                  <a:gd name="connsiteY8" fmla="*/ 366277 h 525100"/>
                  <a:gd name="connsiteX9" fmla="*/ 476107 w 577611"/>
                  <a:gd name="connsiteY9" fmla="*/ 493817 h 525100"/>
                  <a:gd name="connsiteX10" fmla="*/ 575929 w 577611"/>
                  <a:gd name="connsiteY10" fmla="*/ 371802 h 525100"/>
                  <a:gd name="connsiteX11" fmla="*/ 470583 w 577611"/>
                  <a:gd name="connsiteY11" fmla="*/ 11376 h 525100"/>
                  <a:gd name="connsiteX12" fmla="*/ 171116 w 577611"/>
                  <a:gd name="connsiteY12" fmla="*/ 66811 h 52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7611" h="525100">
                    <a:moveTo>
                      <a:pt x="171116" y="66811"/>
                    </a:moveTo>
                    <a:cubicBezTo>
                      <a:pt x="171116" y="66811"/>
                      <a:pt x="110157" y="133391"/>
                      <a:pt x="60245" y="166633"/>
                    </a:cubicBezTo>
                    <a:cubicBezTo>
                      <a:pt x="10334" y="199876"/>
                      <a:pt x="-24432" y="243881"/>
                      <a:pt x="21383" y="266455"/>
                    </a:cubicBezTo>
                    <a:cubicBezTo>
                      <a:pt x="48911" y="279981"/>
                      <a:pt x="87963" y="260931"/>
                      <a:pt x="87963" y="260931"/>
                    </a:cubicBezTo>
                    <a:cubicBezTo>
                      <a:pt x="87963" y="260931"/>
                      <a:pt x="27003" y="277600"/>
                      <a:pt x="15859" y="333035"/>
                    </a:cubicBezTo>
                    <a:cubicBezTo>
                      <a:pt x="4810" y="388471"/>
                      <a:pt x="126730" y="366277"/>
                      <a:pt x="126730" y="366277"/>
                    </a:cubicBezTo>
                    <a:cubicBezTo>
                      <a:pt x="126730" y="366277"/>
                      <a:pt x="38052" y="427237"/>
                      <a:pt x="65770" y="449431"/>
                    </a:cubicBezTo>
                    <a:cubicBezTo>
                      <a:pt x="93488" y="471624"/>
                      <a:pt x="148923" y="454955"/>
                      <a:pt x="176641" y="454955"/>
                    </a:cubicBezTo>
                    <a:cubicBezTo>
                      <a:pt x="204359" y="454955"/>
                      <a:pt x="342948" y="366277"/>
                      <a:pt x="376285" y="366277"/>
                    </a:cubicBezTo>
                    <a:cubicBezTo>
                      <a:pt x="409623" y="366277"/>
                      <a:pt x="476107" y="438382"/>
                      <a:pt x="476107" y="493817"/>
                    </a:cubicBezTo>
                    <a:cubicBezTo>
                      <a:pt x="476107" y="549253"/>
                      <a:pt x="564785" y="543728"/>
                      <a:pt x="575929" y="371802"/>
                    </a:cubicBezTo>
                    <a:cubicBezTo>
                      <a:pt x="586978" y="199876"/>
                      <a:pt x="542687" y="55762"/>
                      <a:pt x="470583" y="11376"/>
                    </a:cubicBezTo>
                    <a:cubicBezTo>
                      <a:pt x="398478" y="-33011"/>
                      <a:pt x="171116" y="66811"/>
                      <a:pt x="171116" y="668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1" name="Полилиния: фигура 280">
                <a:extLst>
                  <a:ext uri="{FF2B5EF4-FFF2-40B4-BE49-F238E27FC236}">
                    <a16:creationId xmlns:a16="http://schemas.microsoft.com/office/drawing/2014/main" id="{D65AB0A2-6EBB-4AC8-8C47-583D3462FB87}"/>
                  </a:ext>
                </a:extLst>
              </p:cNvPr>
              <p:cNvSpPr/>
              <p:nvPr/>
            </p:nvSpPr>
            <p:spPr>
              <a:xfrm>
                <a:off x="4075207" y="3638102"/>
                <a:ext cx="388238" cy="95350"/>
              </a:xfrm>
              <a:custGeom>
                <a:avLst/>
                <a:gdLst>
                  <a:gd name="connsiteX0" fmla="*/ 0 w 388238"/>
                  <a:gd name="connsiteY0" fmla="*/ 84206 h 95350"/>
                  <a:gd name="connsiteX1" fmla="*/ 221361 w 388238"/>
                  <a:gd name="connsiteY1" fmla="*/ 1529 h 95350"/>
                  <a:gd name="connsiteX2" fmla="*/ 388239 w 388238"/>
                  <a:gd name="connsiteY2" fmla="*/ 95351 h 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238" h="95350">
                    <a:moveTo>
                      <a:pt x="0" y="84206"/>
                    </a:moveTo>
                    <a:lnTo>
                      <a:pt x="221361" y="1529"/>
                    </a:lnTo>
                    <a:cubicBezTo>
                      <a:pt x="221361" y="1529"/>
                      <a:pt x="318516" y="-19616"/>
                      <a:pt x="388239" y="95351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2" name="Полилиния: фигура 281">
                <a:extLst>
                  <a:ext uri="{FF2B5EF4-FFF2-40B4-BE49-F238E27FC236}">
                    <a16:creationId xmlns:a16="http://schemas.microsoft.com/office/drawing/2014/main" id="{918E3193-3358-4C44-B8F1-4C5A72BFDC88}"/>
                  </a:ext>
                </a:extLst>
              </p:cNvPr>
              <p:cNvSpPr/>
              <p:nvPr/>
            </p:nvSpPr>
            <p:spPr>
              <a:xfrm>
                <a:off x="4114069" y="3755596"/>
                <a:ext cx="343852" cy="99871"/>
              </a:xfrm>
              <a:custGeom>
                <a:avLst/>
                <a:gdLst>
                  <a:gd name="connsiteX0" fmla="*/ 0 w 343852"/>
                  <a:gd name="connsiteY0" fmla="*/ 33292 h 99871"/>
                  <a:gd name="connsiteX1" fmla="*/ 199644 w 343852"/>
                  <a:gd name="connsiteY1" fmla="*/ 50 h 99871"/>
                  <a:gd name="connsiteX2" fmla="*/ 343853 w 343852"/>
                  <a:gd name="connsiteY2" fmla="*/ 99872 h 99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3852" h="99871">
                    <a:moveTo>
                      <a:pt x="0" y="33292"/>
                    </a:moveTo>
                    <a:lnTo>
                      <a:pt x="199644" y="50"/>
                    </a:lnTo>
                    <a:cubicBezTo>
                      <a:pt x="199644" y="50"/>
                      <a:pt x="288322" y="-5475"/>
                      <a:pt x="343853" y="99872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83" name="Полилиния: фигура 282">
              <a:extLst>
                <a:ext uri="{FF2B5EF4-FFF2-40B4-BE49-F238E27FC236}">
                  <a16:creationId xmlns:a16="http://schemas.microsoft.com/office/drawing/2014/main" id="{8373AA3F-83BF-4654-9E13-451EED3780B7}"/>
                </a:ext>
              </a:extLst>
            </p:cNvPr>
            <p:cNvSpPr/>
            <p:nvPr/>
          </p:nvSpPr>
          <p:spPr>
            <a:xfrm>
              <a:off x="4046816" y="3394775"/>
              <a:ext cx="865639" cy="1425480"/>
            </a:xfrm>
            <a:custGeom>
              <a:avLst/>
              <a:gdLst>
                <a:gd name="connsiteX0" fmla="*/ 311189 w 865639"/>
                <a:gd name="connsiteY0" fmla="*/ 527178 h 1425480"/>
                <a:gd name="connsiteX1" fmla="*/ 161456 w 865639"/>
                <a:gd name="connsiteY1" fmla="*/ 560420 h 1425480"/>
                <a:gd name="connsiteX2" fmla="*/ 250134 w 865639"/>
                <a:gd name="connsiteY2" fmla="*/ 915322 h 1425480"/>
                <a:gd name="connsiteX3" fmla="*/ 349956 w 865639"/>
                <a:gd name="connsiteY3" fmla="*/ 1137159 h 1425480"/>
                <a:gd name="connsiteX4" fmla="*/ 599511 w 865639"/>
                <a:gd name="connsiteY4" fmla="*/ 1425481 h 1425480"/>
                <a:gd name="connsiteX5" fmla="*/ 865639 w 865639"/>
                <a:gd name="connsiteY5" fmla="*/ 1170401 h 1425480"/>
                <a:gd name="connsiteX6" fmla="*/ 738099 w 865639"/>
                <a:gd name="connsiteY6" fmla="*/ 992950 h 1425480"/>
                <a:gd name="connsiteX7" fmla="*/ 710382 w 865639"/>
                <a:gd name="connsiteY7" fmla="*/ 516034 h 1425480"/>
                <a:gd name="connsiteX8" fmla="*/ 599511 w 865639"/>
                <a:gd name="connsiteY8" fmla="*/ 327534 h 1425480"/>
                <a:gd name="connsiteX9" fmla="*/ 531788 w 865639"/>
                <a:gd name="connsiteY9" fmla="*/ 151417 h 1425480"/>
                <a:gd name="connsiteX10" fmla="*/ 352337 w 865639"/>
                <a:gd name="connsiteY10" fmla="*/ 445 h 1425480"/>
                <a:gd name="connsiteX11" fmla="*/ 83827 w 865639"/>
                <a:gd name="connsiteY11" fmla="*/ 66930 h 1425480"/>
                <a:gd name="connsiteX12" fmla="*/ 22867 w 865639"/>
                <a:gd name="connsiteY12" fmla="*/ 183421 h 1425480"/>
                <a:gd name="connsiteX13" fmla="*/ 338335 w 865639"/>
                <a:gd name="connsiteY13" fmla="*/ 173134 h 1425480"/>
                <a:gd name="connsiteX14" fmla="*/ 416536 w 865639"/>
                <a:gd name="connsiteY14" fmla="*/ 405258 h 1425480"/>
                <a:gd name="connsiteX15" fmla="*/ 311189 w 865639"/>
                <a:gd name="connsiteY15" fmla="*/ 527273 h 1425480"/>
                <a:gd name="connsiteX16" fmla="*/ 311189 w 865639"/>
                <a:gd name="connsiteY16" fmla="*/ 527273 h 1425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65639" h="1425480">
                  <a:moveTo>
                    <a:pt x="311189" y="527178"/>
                  </a:moveTo>
                  <a:lnTo>
                    <a:pt x="161456" y="560420"/>
                  </a:lnTo>
                  <a:lnTo>
                    <a:pt x="250134" y="915322"/>
                  </a:lnTo>
                  <a:cubicBezTo>
                    <a:pt x="250134" y="915322"/>
                    <a:pt x="327763" y="1070579"/>
                    <a:pt x="349956" y="1137159"/>
                  </a:cubicBezTo>
                  <a:cubicBezTo>
                    <a:pt x="372149" y="1203739"/>
                    <a:pt x="599511" y="1425481"/>
                    <a:pt x="599511" y="1425481"/>
                  </a:cubicBezTo>
                  <a:lnTo>
                    <a:pt x="865639" y="1170401"/>
                  </a:lnTo>
                  <a:cubicBezTo>
                    <a:pt x="865639" y="1170401"/>
                    <a:pt x="743624" y="1026193"/>
                    <a:pt x="738099" y="992950"/>
                  </a:cubicBezTo>
                  <a:cubicBezTo>
                    <a:pt x="732575" y="959708"/>
                    <a:pt x="710382" y="571564"/>
                    <a:pt x="710382" y="516034"/>
                  </a:cubicBezTo>
                  <a:cubicBezTo>
                    <a:pt x="710382" y="460503"/>
                    <a:pt x="599511" y="327534"/>
                    <a:pt x="599511" y="327534"/>
                  </a:cubicBezTo>
                  <a:cubicBezTo>
                    <a:pt x="599511" y="327534"/>
                    <a:pt x="553981" y="262288"/>
                    <a:pt x="531788" y="151417"/>
                  </a:cubicBezTo>
                  <a:cubicBezTo>
                    <a:pt x="509595" y="40546"/>
                    <a:pt x="407772" y="-5079"/>
                    <a:pt x="352337" y="445"/>
                  </a:cubicBezTo>
                  <a:cubicBezTo>
                    <a:pt x="296902" y="5970"/>
                    <a:pt x="144787" y="22543"/>
                    <a:pt x="83827" y="66930"/>
                  </a:cubicBezTo>
                  <a:cubicBezTo>
                    <a:pt x="22867" y="111316"/>
                    <a:pt x="-32663" y="166752"/>
                    <a:pt x="22867" y="183421"/>
                  </a:cubicBezTo>
                  <a:cubicBezTo>
                    <a:pt x="114974" y="211043"/>
                    <a:pt x="265660" y="88266"/>
                    <a:pt x="338335" y="173134"/>
                  </a:cubicBezTo>
                  <a:cubicBezTo>
                    <a:pt x="371578" y="211996"/>
                    <a:pt x="410916" y="383065"/>
                    <a:pt x="416536" y="405258"/>
                  </a:cubicBezTo>
                  <a:cubicBezTo>
                    <a:pt x="416536" y="405258"/>
                    <a:pt x="388818" y="510604"/>
                    <a:pt x="311189" y="527273"/>
                  </a:cubicBezTo>
                  <a:cubicBezTo>
                    <a:pt x="233560" y="543942"/>
                    <a:pt x="311189" y="527273"/>
                    <a:pt x="311189" y="527273"/>
                  </a:cubicBezTo>
                </a:path>
              </a:pathLst>
            </a:custGeom>
            <a:solidFill>
              <a:srgbClr val="FFFFFF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84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3796856" y="3403308"/>
              <a:ext cx="851846" cy="614460"/>
              <a:chOff x="3796856" y="3403308"/>
              <a:chExt cx="851846" cy="614460"/>
            </a:xfrm>
          </p:grpSpPr>
          <p:sp>
            <p:nvSpPr>
              <p:cNvPr id="285" name="Полилиния: фигура 284">
                <a:extLst>
                  <a:ext uri="{FF2B5EF4-FFF2-40B4-BE49-F238E27FC236}">
                    <a16:creationId xmlns:a16="http://schemas.microsoft.com/office/drawing/2014/main" id="{33A30526-393C-41C5-8263-E93B11825785}"/>
                  </a:ext>
                </a:extLst>
              </p:cNvPr>
              <p:cNvSpPr/>
              <p:nvPr/>
            </p:nvSpPr>
            <p:spPr>
              <a:xfrm>
                <a:off x="3796856" y="3403308"/>
                <a:ext cx="43210" cy="36329"/>
              </a:xfrm>
              <a:custGeom>
                <a:avLst/>
                <a:gdLst>
                  <a:gd name="connsiteX0" fmla="*/ 2793 w 43210"/>
                  <a:gd name="connsiteY0" fmla="*/ 3247 h 36329"/>
                  <a:gd name="connsiteX1" fmla="*/ 16129 w 43210"/>
                  <a:gd name="connsiteY1" fmla="*/ 1818 h 36329"/>
                  <a:gd name="connsiteX2" fmla="*/ 38798 w 43210"/>
                  <a:gd name="connsiteY2" fmla="*/ 17630 h 36329"/>
                  <a:gd name="connsiteX3" fmla="*/ 41370 w 43210"/>
                  <a:gd name="connsiteY3" fmla="*/ 31917 h 36329"/>
                  <a:gd name="connsiteX4" fmla="*/ 27082 w 43210"/>
                  <a:gd name="connsiteY4" fmla="*/ 34489 h 36329"/>
                  <a:gd name="connsiteX5" fmla="*/ 4413 w 43210"/>
                  <a:gd name="connsiteY5" fmla="*/ 18677 h 36329"/>
                  <a:gd name="connsiteX6" fmla="*/ 1841 w 43210"/>
                  <a:gd name="connsiteY6" fmla="*/ 4390 h 36329"/>
                  <a:gd name="connsiteX7" fmla="*/ 2793 w 43210"/>
                  <a:gd name="connsiteY7" fmla="*/ 3247 h 36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210" h="36329">
                    <a:moveTo>
                      <a:pt x="2793" y="3247"/>
                    </a:moveTo>
                    <a:cubicBezTo>
                      <a:pt x="6222" y="-373"/>
                      <a:pt x="11938" y="-1135"/>
                      <a:pt x="16129" y="1818"/>
                    </a:cubicBezTo>
                    <a:lnTo>
                      <a:pt x="38798" y="17630"/>
                    </a:lnTo>
                    <a:cubicBezTo>
                      <a:pt x="43465" y="20868"/>
                      <a:pt x="44608" y="27250"/>
                      <a:pt x="41370" y="31917"/>
                    </a:cubicBezTo>
                    <a:cubicBezTo>
                      <a:pt x="38131" y="36584"/>
                      <a:pt x="31749" y="37727"/>
                      <a:pt x="27082" y="34489"/>
                    </a:cubicBezTo>
                    <a:lnTo>
                      <a:pt x="4413" y="18677"/>
                    </a:lnTo>
                    <a:cubicBezTo>
                      <a:pt x="-254" y="15439"/>
                      <a:pt x="-1397" y="9057"/>
                      <a:pt x="1841" y="4390"/>
                    </a:cubicBezTo>
                    <a:cubicBezTo>
                      <a:pt x="2127" y="4009"/>
                      <a:pt x="2413" y="3628"/>
                      <a:pt x="2793" y="3247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6" name="Полилиния: фигура 285">
                <a:extLst>
                  <a:ext uri="{FF2B5EF4-FFF2-40B4-BE49-F238E27FC236}">
                    <a16:creationId xmlns:a16="http://schemas.microsoft.com/office/drawing/2014/main" id="{7ACA6FC6-A232-47A4-BD4C-D77BA47E8892}"/>
                  </a:ext>
                </a:extLst>
              </p:cNvPr>
              <p:cNvSpPr/>
              <p:nvPr/>
            </p:nvSpPr>
            <p:spPr>
              <a:xfrm>
                <a:off x="3819483" y="3417439"/>
                <a:ext cx="829177" cy="600192"/>
              </a:xfrm>
              <a:custGeom>
                <a:avLst/>
                <a:gdLst>
                  <a:gd name="connsiteX0" fmla="*/ 6265 w 829177"/>
                  <a:gd name="connsiteY0" fmla="*/ 7403 h 600192"/>
                  <a:gd name="connsiteX1" fmla="*/ 36840 w 829177"/>
                  <a:gd name="connsiteY1" fmla="*/ 4165 h 600192"/>
                  <a:gd name="connsiteX2" fmla="*/ 107897 w 829177"/>
                  <a:gd name="connsiteY2" fmla="*/ 40836 h 600192"/>
                  <a:gd name="connsiteX3" fmla="*/ 805508 w 829177"/>
                  <a:gd name="connsiteY3" fmla="*/ 499751 h 600192"/>
                  <a:gd name="connsiteX4" fmla="*/ 819319 w 829177"/>
                  <a:gd name="connsiteY4" fmla="*/ 576522 h 600192"/>
                  <a:gd name="connsiteX5" fmla="*/ 742547 w 829177"/>
                  <a:gd name="connsiteY5" fmla="*/ 590334 h 600192"/>
                  <a:gd name="connsiteX6" fmla="*/ 65511 w 829177"/>
                  <a:gd name="connsiteY6" fmla="*/ 90842 h 600192"/>
                  <a:gd name="connsiteX7" fmla="*/ 10075 w 829177"/>
                  <a:gd name="connsiteY7" fmla="*/ 42741 h 600192"/>
                  <a:gd name="connsiteX8" fmla="*/ 4170 w 829177"/>
                  <a:gd name="connsiteY8" fmla="*/ 10070 h 600192"/>
                  <a:gd name="connsiteX9" fmla="*/ 6360 w 829177"/>
                  <a:gd name="connsiteY9" fmla="*/ 7403 h 600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9177" h="600192">
                    <a:moveTo>
                      <a:pt x="6265" y="7403"/>
                    </a:moveTo>
                    <a:cubicBezTo>
                      <a:pt x="14076" y="-979"/>
                      <a:pt x="27125" y="-2503"/>
                      <a:pt x="36840" y="4165"/>
                    </a:cubicBezTo>
                    <a:lnTo>
                      <a:pt x="107897" y="40836"/>
                    </a:lnTo>
                    <a:lnTo>
                      <a:pt x="805508" y="499751"/>
                    </a:lnTo>
                    <a:cubicBezTo>
                      <a:pt x="830558" y="517182"/>
                      <a:pt x="836654" y="551471"/>
                      <a:pt x="819319" y="576522"/>
                    </a:cubicBezTo>
                    <a:cubicBezTo>
                      <a:pt x="801983" y="601573"/>
                      <a:pt x="767598" y="607669"/>
                      <a:pt x="742547" y="590334"/>
                    </a:cubicBezTo>
                    <a:lnTo>
                      <a:pt x="65511" y="90842"/>
                    </a:lnTo>
                    <a:lnTo>
                      <a:pt x="10075" y="42741"/>
                    </a:lnTo>
                    <a:cubicBezTo>
                      <a:pt x="-593" y="35312"/>
                      <a:pt x="-3165" y="20738"/>
                      <a:pt x="4170" y="10070"/>
                    </a:cubicBezTo>
                    <a:cubicBezTo>
                      <a:pt x="4836" y="9118"/>
                      <a:pt x="5598" y="8261"/>
                      <a:pt x="6360" y="7403"/>
                    </a:cubicBezTo>
                    <a:close/>
                  </a:path>
                </a:pathLst>
              </a:custGeom>
              <a:solidFill>
                <a:srgbClr val="006D3F"/>
              </a:solidFill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7" name="Полилиния: фигура 286">
                <a:extLst>
                  <a:ext uri="{FF2B5EF4-FFF2-40B4-BE49-F238E27FC236}">
                    <a16:creationId xmlns:a16="http://schemas.microsoft.com/office/drawing/2014/main" id="{70DF5EA6-CD22-4F9B-8B90-533DA7FD9DF6}"/>
                  </a:ext>
                </a:extLst>
              </p:cNvPr>
              <p:cNvSpPr/>
              <p:nvPr/>
            </p:nvSpPr>
            <p:spPr>
              <a:xfrm>
                <a:off x="4368673" y="3784793"/>
                <a:ext cx="280029" cy="232975"/>
              </a:xfrm>
              <a:custGeom>
                <a:avLst/>
                <a:gdLst>
                  <a:gd name="connsiteX0" fmla="*/ 256222 w 280029"/>
                  <a:gd name="connsiteY0" fmla="*/ 132397 h 232975"/>
                  <a:gd name="connsiteX1" fmla="*/ 54959 w 280029"/>
                  <a:gd name="connsiteY1" fmla="*/ 0 h 232975"/>
                  <a:gd name="connsiteX2" fmla="*/ 0 w 280029"/>
                  <a:gd name="connsiteY2" fmla="*/ 71342 h 232975"/>
                  <a:gd name="connsiteX3" fmla="*/ 762 w 280029"/>
                  <a:gd name="connsiteY3" fmla="*/ 80963 h 232975"/>
                  <a:gd name="connsiteX4" fmla="*/ 193357 w 280029"/>
                  <a:gd name="connsiteY4" fmla="*/ 223075 h 232975"/>
                  <a:gd name="connsiteX5" fmla="*/ 270129 w 280029"/>
                  <a:gd name="connsiteY5" fmla="*/ 209264 h 232975"/>
                  <a:gd name="connsiteX6" fmla="*/ 256318 w 280029"/>
                  <a:gd name="connsiteY6" fmla="*/ 132493 h 232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0029" h="232975">
                    <a:moveTo>
                      <a:pt x="256222" y="132397"/>
                    </a:moveTo>
                    <a:lnTo>
                      <a:pt x="54959" y="0"/>
                    </a:lnTo>
                    <a:cubicBezTo>
                      <a:pt x="22955" y="10477"/>
                      <a:pt x="0" y="38386"/>
                      <a:pt x="0" y="71342"/>
                    </a:cubicBezTo>
                    <a:cubicBezTo>
                      <a:pt x="0" y="74581"/>
                      <a:pt x="286" y="77819"/>
                      <a:pt x="762" y="80963"/>
                    </a:cubicBezTo>
                    <a:lnTo>
                      <a:pt x="193357" y="223075"/>
                    </a:lnTo>
                    <a:cubicBezTo>
                      <a:pt x="218313" y="240506"/>
                      <a:pt x="252698" y="234315"/>
                      <a:pt x="270129" y="209264"/>
                    </a:cubicBezTo>
                    <a:cubicBezTo>
                      <a:pt x="287560" y="184213"/>
                      <a:pt x="281368" y="149923"/>
                      <a:pt x="256318" y="132493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88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4011675" y="3597714"/>
              <a:ext cx="385191" cy="934219"/>
              <a:chOff x="4011675" y="3597714"/>
              <a:chExt cx="385191" cy="934219"/>
            </a:xfrm>
            <a:solidFill>
              <a:srgbClr val="FFFFFF"/>
            </a:solidFill>
          </p:grpSpPr>
          <p:sp>
            <p:nvSpPr>
              <p:cNvPr id="289" name="Полилиния: фигура 288">
                <a:extLst>
                  <a:ext uri="{FF2B5EF4-FFF2-40B4-BE49-F238E27FC236}">
                    <a16:creationId xmlns:a16="http://schemas.microsoft.com/office/drawing/2014/main" id="{590BEE41-FD87-4EBC-9C46-5BA98E316864}"/>
                  </a:ext>
                </a:extLst>
              </p:cNvPr>
              <p:cNvSpPr/>
              <p:nvPr/>
            </p:nvSpPr>
            <p:spPr>
              <a:xfrm>
                <a:off x="4014247" y="3597714"/>
                <a:ext cx="382619" cy="934219"/>
              </a:xfrm>
              <a:custGeom>
                <a:avLst/>
                <a:gdLst>
                  <a:gd name="connsiteX0" fmla="*/ 382619 w 382619"/>
                  <a:gd name="connsiteY0" fmla="*/ 934220 h 934219"/>
                  <a:gd name="connsiteX1" fmla="*/ 210693 w 382619"/>
                  <a:gd name="connsiteY1" fmla="*/ 573794 h 934219"/>
                  <a:gd name="connsiteX2" fmla="*/ 54959 w 382619"/>
                  <a:gd name="connsiteY2" fmla="*/ 331478 h 934219"/>
                  <a:gd name="connsiteX3" fmla="*/ 0 w 382619"/>
                  <a:gd name="connsiteY3" fmla="*/ 69159 h 934219"/>
                  <a:gd name="connsiteX4" fmla="*/ 126873 w 382619"/>
                  <a:gd name="connsiteY4" fmla="*/ 60301 h 934219"/>
                  <a:gd name="connsiteX5" fmla="*/ 249460 w 382619"/>
                  <a:gd name="connsiteY5" fmla="*/ 285377 h 934219"/>
                  <a:gd name="connsiteX6" fmla="*/ 382524 w 382619"/>
                  <a:gd name="connsiteY6" fmla="*/ 324239 h 934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2619" h="934219">
                    <a:moveTo>
                      <a:pt x="382619" y="934220"/>
                    </a:moveTo>
                    <a:cubicBezTo>
                      <a:pt x="321659" y="845542"/>
                      <a:pt x="244031" y="618180"/>
                      <a:pt x="210693" y="573794"/>
                    </a:cubicBezTo>
                    <a:cubicBezTo>
                      <a:pt x="177356" y="529407"/>
                      <a:pt x="88202" y="431300"/>
                      <a:pt x="54959" y="331478"/>
                    </a:cubicBezTo>
                    <a:cubicBezTo>
                      <a:pt x="21717" y="231656"/>
                      <a:pt x="0" y="152312"/>
                      <a:pt x="0" y="69159"/>
                    </a:cubicBezTo>
                    <a:cubicBezTo>
                      <a:pt x="0" y="-13994"/>
                      <a:pt x="71438" y="-28377"/>
                      <a:pt x="126873" y="60301"/>
                    </a:cubicBezTo>
                    <a:cubicBezTo>
                      <a:pt x="182309" y="148979"/>
                      <a:pt x="249460" y="285377"/>
                      <a:pt x="249460" y="285377"/>
                    </a:cubicBezTo>
                    <a:cubicBezTo>
                      <a:pt x="249460" y="285377"/>
                      <a:pt x="293846" y="340812"/>
                      <a:pt x="382524" y="324239"/>
                    </a:cubicBez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0" name="Полилиния: фигура 289">
                <a:extLst>
                  <a:ext uri="{FF2B5EF4-FFF2-40B4-BE49-F238E27FC236}">
                    <a16:creationId xmlns:a16="http://schemas.microsoft.com/office/drawing/2014/main" id="{6743CAA4-B38F-4542-B634-F9BDFBE25763}"/>
                  </a:ext>
                </a:extLst>
              </p:cNvPr>
              <p:cNvSpPr/>
              <p:nvPr/>
            </p:nvSpPr>
            <p:spPr>
              <a:xfrm>
                <a:off x="4011675" y="3610332"/>
                <a:ext cx="90678" cy="117596"/>
              </a:xfrm>
              <a:custGeom>
                <a:avLst/>
                <a:gdLst>
                  <a:gd name="connsiteX0" fmla="*/ 72105 w 90678"/>
                  <a:gd name="connsiteY0" fmla="*/ 21870 h 117596"/>
                  <a:gd name="connsiteX1" fmla="*/ 90679 w 90678"/>
                  <a:gd name="connsiteY1" fmla="*/ 58923 h 117596"/>
                  <a:gd name="connsiteX2" fmla="*/ 56865 w 90678"/>
                  <a:gd name="connsiteY2" fmla="*/ 75782 h 117596"/>
                  <a:gd name="connsiteX3" fmla="*/ 13717 w 90678"/>
                  <a:gd name="connsiteY3" fmla="*/ 117597 h 117596"/>
                  <a:gd name="connsiteX4" fmla="*/ 10478 w 90678"/>
                  <a:gd name="connsiteY4" fmla="*/ 12440 h 117596"/>
                  <a:gd name="connsiteX5" fmla="*/ 33529 w 90678"/>
                  <a:gd name="connsiteY5" fmla="*/ 344 h 117596"/>
                  <a:gd name="connsiteX6" fmla="*/ 72200 w 90678"/>
                  <a:gd name="connsiteY6" fmla="*/ 21775 h 117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678" h="117596">
                    <a:moveTo>
                      <a:pt x="72105" y="21870"/>
                    </a:moveTo>
                    <a:lnTo>
                      <a:pt x="90679" y="58923"/>
                    </a:lnTo>
                    <a:cubicBezTo>
                      <a:pt x="90679" y="58923"/>
                      <a:pt x="86488" y="58923"/>
                      <a:pt x="56865" y="75782"/>
                    </a:cubicBezTo>
                    <a:cubicBezTo>
                      <a:pt x="27337" y="92641"/>
                      <a:pt x="13717" y="117597"/>
                      <a:pt x="13717" y="117597"/>
                    </a:cubicBezTo>
                    <a:cubicBezTo>
                      <a:pt x="13717" y="117597"/>
                      <a:pt x="-14858" y="37777"/>
                      <a:pt x="10478" y="12440"/>
                    </a:cubicBezTo>
                    <a:cubicBezTo>
                      <a:pt x="18098" y="4821"/>
                      <a:pt x="26099" y="1392"/>
                      <a:pt x="33529" y="344"/>
                    </a:cubicBezTo>
                    <a:cubicBezTo>
                      <a:pt x="49531" y="-1942"/>
                      <a:pt x="64961" y="7392"/>
                      <a:pt x="72200" y="217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91" name="Полилиния: фигура 290">
              <a:extLst>
                <a:ext uri="{FF2B5EF4-FFF2-40B4-BE49-F238E27FC236}">
                  <a16:creationId xmlns:a16="http://schemas.microsoft.com/office/drawing/2014/main" id="{4DD0741E-BEE5-4DDC-8952-3779EDDC154C}"/>
                </a:ext>
              </a:extLst>
            </p:cNvPr>
            <p:cNvSpPr/>
            <p:nvPr/>
          </p:nvSpPr>
          <p:spPr>
            <a:xfrm>
              <a:off x="4490307" y="4451733"/>
              <a:ext cx="489584" cy="440626"/>
            </a:xfrm>
            <a:custGeom>
              <a:avLst/>
              <a:gdLst>
                <a:gd name="connsiteX0" fmla="*/ 364427 w 489584"/>
                <a:gd name="connsiteY0" fmla="*/ 95 h 440626"/>
                <a:gd name="connsiteX1" fmla="*/ 141446 w 489584"/>
                <a:gd name="connsiteY1" fmla="*/ 119729 h 440626"/>
                <a:gd name="connsiteX2" fmla="*/ 0 w 489584"/>
                <a:gd name="connsiteY2" fmla="*/ 282893 h 440626"/>
                <a:gd name="connsiteX3" fmla="*/ 136017 w 489584"/>
                <a:gd name="connsiteY3" fmla="*/ 440627 h 440626"/>
                <a:gd name="connsiteX4" fmla="*/ 326422 w 489584"/>
                <a:gd name="connsiteY4" fmla="*/ 250222 h 440626"/>
                <a:gd name="connsiteX5" fmla="*/ 489585 w 489584"/>
                <a:gd name="connsiteY5" fmla="*/ 141446 h 440626"/>
                <a:gd name="connsiteX6" fmla="*/ 364522 w 489584"/>
                <a:gd name="connsiteY6" fmla="*/ 0 h 44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9584" h="440626">
                  <a:moveTo>
                    <a:pt x="364427" y="95"/>
                  </a:moveTo>
                  <a:cubicBezTo>
                    <a:pt x="364427" y="95"/>
                    <a:pt x="217551" y="43625"/>
                    <a:pt x="141446" y="119729"/>
                  </a:cubicBezTo>
                  <a:cubicBezTo>
                    <a:pt x="65342" y="195834"/>
                    <a:pt x="0" y="282893"/>
                    <a:pt x="0" y="282893"/>
                  </a:cubicBezTo>
                  <a:lnTo>
                    <a:pt x="136017" y="440627"/>
                  </a:lnTo>
                  <a:cubicBezTo>
                    <a:pt x="136017" y="440627"/>
                    <a:pt x="250222" y="310134"/>
                    <a:pt x="326422" y="250222"/>
                  </a:cubicBezTo>
                  <a:cubicBezTo>
                    <a:pt x="402527" y="190405"/>
                    <a:pt x="489585" y="141446"/>
                    <a:pt x="489585" y="141446"/>
                  </a:cubicBezTo>
                  <a:lnTo>
                    <a:pt x="364522" y="0"/>
                  </a:lnTo>
                  <a:close/>
                </a:path>
              </a:pathLst>
            </a:custGeom>
            <a:solidFill>
              <a:srgbClr val="FFFFFF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2" name="Полилиния: фигура 291">
              <a:extLst>
                <a:ext uri="{FF2B5EF4-FFF2-40B4-BE49-F238E27FC236}">
                  <a16:creationId xmlns:a16="http://schemas.microsoft.com/office/drawing/2014/main" id="{5BE8FAD3-4AE6-4FDE-920B-E2DB749D9ABA}"/>
                </a:ext>
              </a:extLst>
            </p:cNvPr>
            <p:cNvSpPr/>
            <p:nvPr/>
          </p:nvSpPr>
          <p:spPr>
            <a:xfrm>
              <a:off x="4560982" y="4560509"/>
              <a:ext cx="950594" cy="1038891"/>
            </a:xfrm>
            <a:custGeom>
              <a:avLst/>
              <a:gdLst>
                <a:gd name="connsiteX0" fmla="*/ 429673 w 950594"/>
                <a:gd name="connsiteY0" fmla="*/ 1038892 h 1038891"/>
                <a:gd name="connsiteX1" fmla="*/ 0 w 950594"/>
                <a:gd name="connsiteY1" fmla="*/ 348139 h 1038891"/>
                <a:gd name="connsiteX2" fmla="*/ 201263 w 950594"/>
                <a:gd name="connsiteY2" fmla="*/ 103346 h 1038891"/>
                <a:gd name="connsiteX3" fmla="*/ 413385 w 950594"/>
                <a:gd name="connsiteY3" fmla="*/ 0 h 1038891"/>
                <a:gd name="connsiteX4" fmla="*/ 950595 w 950594"/>
                <a:gd name="connsiteY4" fmla="*/ 515588 h 1038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0594" h="1038891">
                  <a:moveTo>
                    <a:pt x="429673" y="1038892"/>
                  </a:moveTo>
                  <a:lnTo>
                    <a:pt x="0" y="348139"/>
                  </a:lnTo>
                  <a:cubicBezTo>
                    <a:pt x="0" y="348139"/>
                    <a:pt x="108775" y="184975"/>
                    <a:pt x="201263" y="103346"/>
                  </a:cubicBezTo>
                  <a:cubicBezTo>
                    <a:pt x="293751" y="21717"/>
                    <a:pt x="413385" y="0"/>
                    <a:pt x="413385" y="0"/>
                  </a:cubicBezTo>
                  <a:lnTo>
                    <a:pt x="950595" y="515588"/>
                  </a:lnTo>
                </a:path>
              </a:pathLst>
            </a:custGeom>
            <a:solidFill>
              <a:srgbClr val="263238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93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4079875" y="3817939"/>
              <a:ext cx="92011" cy="70675"/>
              <a:chOff x="4079875" y="3817939"/>
              <a:chExt cx="92011" cy="70675"/>
            </a:xfrm>
            <a:noFill/>
          </p:grpSpPr>
          <p:sp>
            <p:nvSpPr>
              <p:cNvPr id="294" name="Полилиния: фигура 293">
                <a:extLst>
                  <a:ext uri="{FF2B5EF4-FFF2-40B4-BE49-F238E27FC236}">
                    <a16:creationId xmlns:a16="http://schemas.microsoft.com/office/drawing/2014/main" id="{F1C07932-7B02-453A-9D28-D5468600D13D}"/>
                  </a:ext>
                </a:extLst>
              </p:cNvPr>
              <p:cNvSpPr/>
              <p:nvPr/>
            </p:nvSpPr>
            <p:spPr>
              <a:xfrm>
                <a:off x="4162933" y="3832894"/>
                <a:ext cx="8953" cy="1047"/>
              </a:xfrm>
              <a:custGeom>
                <a:avLst/>
                <a:gdLst>
                  <a:gd name="connsiteX0" fmla="*/ 0 w 8953"/>
                  <a:gd name="connsiteY0" fmla="*/ 1048 h 1047"/>
                  <a:gd name="connsiteX1" fmla="*/ 8954 w 8953"/>
                  <a:gd name="connsiteY1" fmla="*/ 0 h 1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953" h="1047">
                    <a:moveTo>
                      <a:pt x="0" y="1048"/>
                    </a:moveTo>
                    <a:cubicBezTo>
                      <a:pt x="2857" y="667"/>
                      <a:pt x="5905" y="286"/>
                      <a:pt x="8954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5" name="Полилиния: фигура 294">
                <a:extLst>
                  <a:ext uri="{FF2B5EF4-FFF2-40B4-BE49-F238E27FC236}">
                    <a16:creationId xmlns:a16="http://schemas.microsoft.com/office/drawing/2014/main" id="{466D02EA-0437-46E5-A17F-7E44AAD90052}"/>
                  </a:ext>
                </a:extLst>
              </p:cNvPr>
              <p:cNvSpPr/>
              <p:nvPr/>
            </p:nvSpPr>
            <p:spPr>
              <a:xfrm>
                <a:off x="4079875" y="3836894"/>
                <a:ext cx="66103" cy="43148"/>
              </a:xfrm>
              <a:custGeom>
                <a:avLst/>
                <a:gdLst>
                  <a:gd name="connsiteX0" fmla="*/ 0 w 66103"/>
                  <a:gd name="connsiteY0" fmla="*/ 43148 h 43148"/>
                  <a:gd name="connsiteX1" fmla="*/ 66104 w 66103"/>
                  <a:gd name="connsiteY1" fmla="*/ 0 h 4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103" h="43148">
                    <a:moveTo>
                      <a:pt x="0" y="43148"/>
                    </a:moveTo>
                    <a:cubicBezTo>
                      <a:pt x="0" y="43148"/>
                      <a:pt x="5048" y="12763"/>
                      <a:pt x="66104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6" name="Полилиния: фигура 295">
                <a:extLst>
                  <a:ext uri="{FF2B5EF4-FFF2-40B4-BE49-F238E27FC236}">
                    <a16:creationId xmlns:a16="http://schemas.microsoft.com/office/drawing/2014/main" id="{B9E87D96-580E-4C94-A611-8EB17F949EAF}"/>
                  </a:ext>
                </a:extLst>
              </p:cNvPr>
              <p:cNvSpPr/>
              <p:nvPr/>
            </p:nvSpPr>
            <p:spPr>
              <a:xfrm>
                <a:off x="4099210" y="3858611"/>
                <a:ext cx="47053" cy="30003"/>
              </a:xfrm>
              <a:custGeom>
                <a:avLst/>
                <a:gdLst>
                  <a:gd name="connsiteX0" fmla="*/ 47054 w 47053"/>
                  <a:gd name="connsiteY0" fmla="*/ 0 h 30003"/>
                  <a:gd name="connsiteX1" fmla="*/ 0 w 47053"/>
                  <a:gd name="connsiteY1" fmla="*/ 30004 h 30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053" h="30003">
                    <a:moveTo>
                      <a:pt x="47054" y="0"/>
                    </a:moveTo>
                    <a:cubicBezTo>
                      <a:pt x="47054" y="0"/>
                      <a:pt x="42767" y="12859"/>
                      <a:pt x="0" y="30004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7" name="Полилиния: фигура 296">
                <a:extLst>
                  <a:ext uri="{FF2B5EF4-FFF2-40B4-BE49-F238E27FC236}">
                    <a16:creationId xmlns:a16="http://schemas.microsoft.com/office/drawing/2014/main" id="{767A5878-BCCA-4DB0-B2A9-2F09B5C3C421}"/>
                  </a:ext>
                </a:extLst>
              </p:cNvPr>
              <p:cNvSpPr/>
              <p:nvPr/>
            </p:nvSpPr>
            <p:spPr>
              <a:xfrm>
                <a:off x="4085113" y="3817939"/>
                <a:ext cx="59340" cy="24098"/>
              </a:xfrm>
              <a:custGeom>
                <a:avLst/>
                <a:gdLst>
                  <a:gd name="connsiteX0" fmla="*/ 59341 w 59340"/>
                  <a:gd name="connsiteY0" fmla="*/ 0 h 24098"/>
                  <a:gd name="connsiteX1" fmla="*/ 0 w 59340"/>
                  <a:gd name="connsiteY1" fmla="*/ 24098 h 24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9340" h="24098">
                    <a:moveTo>
                      <a:pt x="59341" y="0"/>
                    </a:moveTo>
                    <a:cubicBezTo>
                      <a:pt x="59341" y="0"/>
                      <a:pt x="22193" y="5525"/>
                      <a:pt x="0" y="24098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98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2485565" y="1397256"/>
            <a:ext cx="1348468" cy="1795271"/>
            <a:chOff x="2485565" y="1397256"/>
            <a:chExt cx="1348468" cy="1795271"/>
          </a:xfrm>
        </p:grpSpPr>
        <p:grpSp>
          <p:nvGrpSpPr>
            <p:cNvPr id="299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575871" y="2313378"/>
              <a:ext cx="594941" cy="595337"/>
              <a:chOff x="2575871" y="2313378"/>
              <a:chExt cx="594941" cy="595337"/>
            </a:xfrm>
          </p:grpSpPr>
          <p:sp>
            <p:nvSpPr>
              <p:cNvPr id="300" name="Полилиния: фигура 299">
                <a:extLst>
                  <a:ext uri="{FF2B5EF4-FFF2-40B4-BE49-F238E27FC236}">
                    <a16:creationId xmlns:a16="http://schemas.microsoft.com/office/drawing/2014/main" id="{566C4361-F129-4131-B963-635C0B60F3D1}"/>
                  </a:ext>
                </a:extLst>
              </p:cNvPr>
              <p:cNvSpPr/>
              <p:nvPr/>
            </p:nvSpPr>
            <p:spPr>
              <a:xfrm>
                <a:off x="2575871" y="2313378"/>
                <a:ext cx="594941" cy="595337"/>
              </a:xfrm>
              <a:custGeom>
                <a:avLst/>
                <a:gdLst>
                  <a:gd name="connsiteX0" fmla="*/ 228320 w 594941"/>
                  <a:gd name="connsiteY0" fmla="*/ 557205 h 595337"/>
                  <a:gd name="connsiteX1" fmla="*/ 375196 w 594941"/>
                  <a:gd name="connsiteY1" fmla="*/ 583494 h 595337"/>
                  <a:gd name="connsiteX2" fmla="*/ 477780 w 594941"/>
                  <a:gd name="connsiteY2" fmla="*/ 552823 h 595337"/>
                  <a:gd name="connsiteX3" fmla="*/ 432536 w 594941"/>
                  <a:gd name="connsiteY3" fmla="*/ 503674 h 595337"/>
                  <a:gd name="connsiteX4" fmla="*/ 533692 w 594941"/>
                  <a:gd name="connsiteY4" fmla="*/ 516342 h 595337"/>
                  <a:gd name="connsiteX5" fmla="*/ 491877 w 594941"/>
                  <a:gd name="connsiteY5" fmla="*/ 408329 h 595337"/>
                  <a:gd name="connsiteX6" fmla="*/ 594937 w 594941"/>
                  <a:gd name="connsiteY6" fmla="*/ 405376 h 595337"/>
                  <a:gd name="connsiteX7" fmla="*/ 531215 w 594941"/>
                  <a:gd name="connsiteY7" fmla="*/ 314412 h 595337"/>
                  <a:gd name="connsiteX8" fmla="*/ 338620 w 594941"/>
                  <a:gd name="connsiteY8" fmla="*/ 211257 h 595337"/>
                  <a:gd name="connsiteX9" fmla="*/ 378053 w 594941"/>
                  <a:gd name="connsiteY9" fmla="*/ 54189 h 595337"/>
                  <a:gd name="connsiteX10" fmla="*/ 220510 w 594941"/>
                  <a:gd name="connsiteY10" fmla="*/ 50284 h 595337"/>
                  <a:gd name="connsiteX11" fmla="*/ 673 w 594941"/>
                  <a:gd name="connsiteY11" fmla="*/ 354703 h 595337"/>
                  <a:gd name="connsiteX12" fmla="*/ 228225 w 594941"/>
                  <a:gd name="connsiteY12" fmla="*/ 557014 h 59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94941" h="595337">
                    <a:moveTo>
                      <a:pt x="228320" y="557205"/>
                    </a:moveTo>
                    <a:cubicBezTo>
                      <a:pt x="228320" y="557205"/>
                      <a:pt x="318332" y="564539"/>
                      <a:pt x="375196" y="583494"/>
                    </a:cubicBezTo>
                    <a:cubicBezTo>
                      <a:pt x="432060" y="602448"/>
                      <a:pt x="488162" y="602925"/>
                      <a:pt x="477780" y="552823"/>
                    </a:cubicBezTo>
                    <a:cubicBezTo>
                      <a:pt x="471589" y="522819"/>
                      <a:pt x="432536" y="503674"/>
                      <a:pt x="432536" y="503674"/>
                    </a:cubicBezTo>
                    <a:cubicBezTo>
                      <a:pt x="432536" y="503674"/>
                      <a:pt x="483114" y="541584"/>
                      <a:pt x="533692" y="516342"/>
                    </a:cubicBezTo>
                    <a:cubicBezTo>
                      <a:pt x="584270" y="491101"/>
                      <a:pt x="491877" y="408329"/>
                      <a:pt x="491877" y="408329"/>
                    </a:cubicBezTo>
                    <a:cubicBezTo>
                      <a:pt x="491877" y="408329"/>
                      <a:pt x="594461" y="440904"/>
                      <a:pt x="594937" y="405376"/>
                    </a:cubicBezTo>
                    <a:cubicBezTo>
                      <a:pt x="595414" y="369848"/>
                      <a:pt x="548265" y="336320"/>
                      <a:pt x="531215" y="314412"/>
                    </a:cubicBezTo>
                    <a:cubicBezTo>
                      <a:pt x="514165" y="292505"/>
                      <a:pt x="359099" y="237546"/>
                      <a:pt x="338620" y="211257"/>
                    </a:cubicBezTo>
                    <a:cubicBezTo>
                      <a:pt x="318141" y="184968"/>
                      <a:pt x="334238" y="88194"/>
                      <a:pt x="378053" y="54189"/>
                    </a:cubicBezTo>
                    <a:cubicBezTo>
                      <a:pt x="421868" y="20185"/>
                      <a:pt x="363004" y="-46490"/>
                      <a:pt x="220510" y="50284"/>
                    </a:cubicBezTo>
                    <a:cubicBezTo>
                      <a:pt x="78016" y="147058"/>
                      <a:pt x="-8567" y="270597"/>
                      <a:pt x="673" y="354703"/>
                    </a:cubicBezTo>
                    <a:cubicBezTo>
                      <a:pt x="9912" y="438809"/>
                      <a:pt x="228225" y="557014"/>
                      <a:pt x="228225" y="5570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1" name="Полилиния: фигура 300">
                <a:extLst>
                  <a:ext uri="{FF2B5EF4-FFF2-40B4-BE49-F238E27FC236}">
                    <a16:creationId xmlns:a16="http://schemas.microsoft.com/office/drawing/2014/main" id="{99E435BD-3743-45D3-8891-CF5744DEB137}"/>
                  </a:ext>
                </a:extLst>
              </p:cNvPr>
              <p:cNvSpPr/>
              <p:nvPr/>
            </p:nvSpPr>
            <p:spPr>
              <a:xfrm>
                <a:off x="2728093" y="2467866"/>
                <a:ext cx="245357" cy="313181"/>
              </a:xfrm>
              <a:custGeom>
                <a:avLst/>
                <a:gdLst>
                  <a:gd name="connsiteX0" fmla="*/ 245357 w 245357"/>
                  <a:gd name="connsiteY0" fmla="*/ 313182 h 313181"/>
                  <a:gd name="connsiteX1" fmla="*/ 44189 w 245357"/>
                  <a:gd name="connsiteY1" fmla="*/ 189262 h 313181"/>
                  <a:gd name="connsiteX2" fmla="*/ 15805 w 245357"/>
                  <a:gd name="connsiteY2" fmla="*/ 0 h 313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5357" h="313181">
                    <a:moveTo>
                      <a:pt x="245357" y="313182"/>
                    </a:moveTo>
                    <a:lnTo>
                      <a:pt x="44189" y="189262"/>
                    </a:lnTo>
                    <a:cubicBezTo>
                      <a:pt x="44189" y="189262"/>
                      <a:pt x="-32106" y="125540"/>
                      <a:pt x="15805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2" name="Полилиния: фигура 301">
                <a:extLst>
                  <a:ext uri="{FF2B5EF4-FFF2-40B4-BE49-F238E27FC236}">
                    <a16:creationId xmlns:a16="http://schemas.microsoft.com/office/drawing/2014/main" id="{C7A2FC82-4F5C-48F6-A14D-F2D1F7628B3F}"/>
                  </a:ext>
                </a:extLst>
              </p:cNvPr>
              <p:cNvSpPr/>
              <p:nvPr/>
            </p:nvSpPr>
            <p:spPr>
              <a:xfrm>
                <a:off x="2824043" y="2397381"/>
                <a:ext cx="178077" cy="312229"/>
              </a:xfrm>
              <a:custGeom>
                <a:avLst/>
                <a:gdLst>
                  <a:gd name="connsiteX0" fmla="*/ 178077 w 178077"/>
                  <a:gd name="connsiteY0" fmla="*/ 312230 h 312229"/>
                  <a:gd name="connsiteX1" fmla="*/ 29297 w 178077"/>
                  <a:gd name="connsiteY1" fmla="*/ 175069 h 312229"/>
                  <a:gd name="connsiteX2" fmla="*/ 19581 w 178077"/>
                  <a:gd name="connsiteY2" fmla="*/ 0 h 312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8077" h="312229">
                    <a:moveTo>
                      <a:pt x="178077" y="312230"/>
                    </a:moveTo>
                    <a:lnTo>
                      <a:pt x="29297" y="175069"/>
                    </a:lnTo>
                    <a:cubicBezTo>
                      <a:pt x="29297" y="175069"/>
                      <a:pt x="-29568" y="108394"/>
                      <a:pt x="19581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03" name="Полилиния: фигура 302">
              <a:extLst>
                <a:ext uri="{FF2B5EF4-FFF2-40B4-BE49-F238E27FC236}">
                  <a16:creationId xmlns:a16="http://schemas.microsoft.com/office/drawing/2014/main" id="{275ACB9B-E3B2-47E1-94B6-A8FB2569FC80}"/>
                </a:ext>
              </a:extLst>
            </p:cNvPr>
            <p:cNvSpPr/>
            <p:nvPr/>
          </p:nvSpPr>
          <p:spPr>
            <a:xfrm>
              <a:off x="2485565" y="1696055"/>
              <a:ext cx="1071005" cy="1222206"/>
            </a:xfrm>
            <a:custGeom>
              <a:avLst/>
              <a:gdLst>
                <a:gd name="connsiteX0" fmla="*/ 471883 w 1071005"/>
                <a:gd name="connsiteY0" fmla="*/ 739235 h 1222206"/>
                <a:gd name="connsiteX1" fmla="*/ 590088 w 1071005"/>
                <a:gd name="connsiteY1" fmla="*/ 836962 h 1222206"/>
                <a:gd name="connsiteX2" fmla="*/ 815736 w 1071005"/>
                <a:gd name="connsiteY2" fmla="*/ 549116 h 1222206"/>
                <a:gd name="connsiteX3" fmla="*/ 999854 w 1071005"/>
                <a:gd name="connsiteY3" fmla="*/ 424910 h 1222206"/>
                <a:gd name="connsiteX4" fmla="*/ 1071006 w 1071005"/>
                <a:gd name="connsiteY4" fmla="*/ 50292 h 1222206"/>
                <a:gd name="connsiteX5" fmla="*/ 705817 w 1071005"/>
                <a:gd name="connsiteY5" fmla="*/ 0 h 1222206"/>
                <a:gd name="connsiteX6" fmla="*/ 645905 w 1071005"/>
                <a:gd name="connsiteY6" fmla="*/ 210122 h 1222206"/>
                <a:gd name="connsiteX7" fmla="*/ 218042 w 1071005"/>
                <a:gd name="connsiteY7" fmla="*/ 430816 h 1222206"/>
                <a:gd name="connsiteX8" fmla="*/ 137270 w 1071005"/>
                <a:gd name="connsiteY8" fmla="*/ 634079 h 1222206"/>
                <a:gd name="connsiteX9" fmla="*/ 60879 w 1071005"/>
                <a:gd name="connsiteY9" fmla="*/ 833819 h 1222206"/>
                <a:gd name="connsiteX10" fmla="*/ 30780 w 1071005"/>
                <a:gd name="connsiteY10" fmla="*/ 1030033 h 1222206"/>
                <a:gd name="connsiteX11" fmla="*/ 235092 w 1071005"/>
                <a:gd name="connsiteY11" fmla="*/ 1173480 h 1222206"/>
                <a:gd name="connsiteX12" fmla="*/ 377490 w 1071005"/>
                <a:gd name="connsiteY12" fmla="*/ 1177766 h 1222206"/>
                <a:gd name="connsiteX13" fmla="*/ 175656 w 1071005"/>
                <a:gd name="connsiteY13" fmla="*/ 935069 h 1222206"/>
                <a:gd name="connsiteX14" fmla="*/ 310910 w 1071005"/>
                <a:gd name="connsiteY14" fmla="*/ 730853 h 1222206"/>
                <a:gd name="connsiteX15" fmla="*/ 471883 w 1071005"/>
                <a:gd name="connsiteY15" fmla="*/ 739140 h 1222206"/>
                <a:gd name="connsiteX16" fmla="*/ 471883 w 1071005"/>
                <a:gd name="connsiteY16" fmla="*/ 739140 h 122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71005" h="1222206">
                  <a:moveTo>
                    <a:pt x="471883" y="739235"/>
                  </a:moveTo>
                  <a:lnTo>
                    <a:pt x="590088" y="836962"/>
                  </a:lnTo>
                  <a:lnTo>
                    <a:pt x="815736" y="549116"/>
                  </a:lnTo>
                  <a:cubicBezTo>
                    <a:pt x="815736" y="549116"/>
                    <a:pt x="961468" y="483584"/>
                    <a:pt x="999854" y="424910"/>
                  </a:cubicBezTo>
                  <a:cubicBezTo>
                    <a:pt x="1038240" y="366236"/>
                    <a:pt x="1071006" y="50292"/>
                    <a:pt x="1071006" y="50292"/>
                  </a:cubicBezTo>
                  <a:lnTo>
                    <a:pt x="705817" y="0"/>
                  </a:lnTo>
                  <a:cubicBezTo>
                    <a:pt x="705817" y="0"/>
                    <a:pt x="668574" y="185166"/>
                    <a:pt x="645905" y="210122"/>
                  </a:cubicBezTo>
                  <a:cubicBezTo>
                    <a:pt x="623235" y="235077"/>
                    <a:pt x="261857" y="396811"/>
                    <a:pt x="218042" y="430816"/>
                  </a:cubicBezTo>
                  <a:cubicBezTo>
                    <a:pt x="174227" y="464820"/>
                    <a:pt x="137270" y="634079"/>
                    <a:pt x="137270" y="634079"/>
                  </a:cubicBezTo>
                  <a:cubicBezTo>
                    <a:pt x="137270" y="634079"/>
                    <a:pt x="110981" y="732377"/>
                    <a:pt x="60879" y="833819"/>
                  </a:cubicBezTo>
                  <a:cubicBezTo>
                    <a:pt x="-22465" y="1002602"/>
                    <a:pt x="-7605" y="989648"/>
                    <a:pt x="30780" y="1030033"/>
                  </a:cubicBezTo>
                  <a:cubicBezTo>
                    <a:pt x="69166" y="1070420"/>
                    <a:pt x="162606" y="1152620"/>
                    <a:pt x="235092" y="1173480"/>
                  </a:cubicBezTo>
                  <a:cubicBezTo>
                    <a:pt x="307577" y="1194435"/>
                    <a:pt x="397683" y="1269302"/>
                    <a:pt x="377490" y="1177766"/>
                  </a:cubicBezTo>
                  <a:cubicBezTo>
                    <a:pt x="356726" y="1083945"/>
                    <a:pt x="153367" y="1044512"/>
                    <a:pt x="175656" y="935069"/>
                  </a:cubicBezTo>
                  <a:cubicBezTo>
                    <a:pt x="185847" y="884968"/>
                    <a:pt x="296814" y="748856"/>
                    <a:pt x="310910" y="730853"/>
                  </a:cubicBezTo>
                  <a:cubicBezTo>
                    <a:pt x="310910" y="730853"/>
                    <a:pt x="411114" y="688086"/>
                    <a:pt x="471883" y="739140"/>
                  </a:cubicBezTo>
                  <a:cubicBezTo>
                    <a:pt x="532652" y="790194"/>
                    <a:pt x="471883" y="739140"/>
                    <a:pt x="471883" y="739140"/>
                  </a:cubicBezTo>
                </a:path>
              </a:pathLst>
            </a:custGeom>
            <a:solidFill>
              <a:srgbClr val="FFFFFF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04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789729" y="2169455"/>
              <a:ext cx="131524" cy="1023073"/>
              <a:chOff x="2789729" y="2169455"/>
              <a:chExt cx="131524" cy="1023073"/>
            </a:xfrm>
          </p:grpSpPr>
          <p:sp>
            <p:nvSpPr>
              <p:cNvPr id="305" name="Полилиния: фигура 304">
                <a:extLst>
                  <a:ext uri="{FF2B5EF4-FFF2-40B4-BE49-F238E27FC236}">
                    <a16:creationId xmlns:a16="http://schemas.microsoft.com/office/drawing/2014/main" id="{DDAF06B5-AA6F-45F0-AB74-9EAA00E0A35C}"/>
                  </a:ext>
                </a:extLst>
              </p:cNvPr>
              <p:cNvSpPr/>
              <p:nvPr/>
            </p:nvSpPr>
            <p:spPr>
              <a:xfrm>
                <a:off x="2882569" y="3144318"/>
                <a:ext cx="22029" cy="48209"/>
              </a:xfrm>
              <a:custGeom>
                <a:avLst/>
                <a:gdLst>
                  <a:gd name="connsiteX0" fmla="*/ 10777 w 22029"/>
                  <a:gd name="connsiteY0" fmla="*/ 48210 h 48209"/>
                  <a:gd name="connsiteX1" fmla="*/ 1442 w 22029"/>
                  <a:gd name="connsiteY1" fmla="*/ 38495 h 48209"/>
                  <a:gd name="connsiteX2" fmla="*/ 13 w 22029"/>
                  <a:gd name="connsiteY2" fmla="*/ 10872 h 48209"/>
                  <a:gd name="connsiteX3" fmla="*/ 9729 w 22029"/>
                  <a:gd name="connsiteY3" fmla="*/ 13 h 48209"/>
                  <a:gd name="connsiteX4" fmla="*/ 20588 w 22029"/>
                  <a:gd name="connsiteY4" fmla="*/ 9729 h 48209"/>
                  <a:gd name="connsiteX5" fmla="*/ 22016 w 22029"/>
                  <a:gd name="connsiteY5" fmla="*/ 37351 h 48209"/>
                  <a:gd name="connsiteX6" fmla="*/ 12301 w 22029"/>
                  <a:gd name="connsiteY6" fmla="*/ 48210 h 48209"/>
                  <a:gd name="connsiteX7" fmla="*/ 10777 w 22029"/>
                  <a:gd name="connsiteY7" fmla="*/ 48210 h 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029" h="48209">
                    <a:moveTo>
                      <a:pt x="10777" y="48210"/>
                    </a:moveTo>
                    <a:cubicBezTo>
                      <a:pt x="5824" y="47734"/>
                      <a:pt x="1728" y="43638"/>
                      <a:pt x="1442" y="38495"/>
                    </a:cubicBezTo>
                    <a:lnTo>
                      <a:pt x="13" y="10872"/>
                    </a:lnTo>
                    <a:cubicBezTo>
                      <a:pt x="-272" y="5157"/>
                      <a:pt x="4014" y="395"/>
                      <a:pt x="9729" y="13"/>
                    </a:cubicBezTo>
                    <a:cubicBezTo>
                      <a:pt x="15349" y="-272"/>
                      <a:pt x="20206" y="4014"/>
                      <a:pt x="20588" y="9729"/>
                    </a:cubicBezTo>
                    <a:lnTo>
                      <a:pt x="22016" y="37351"/>
                    </a:lnTo>
                    <a:cubicBezTo>
                      <a:pt x="22302" y="43067"/>
                      <a:pt x="18016" y="47829"/>
                      <a:pt x="12301" y="48210"/>
                    </a:cubicBezTo>
                    <a:cubicBezTo>
                      <a:pt x="11824" y="48210"/>
                      <a:pt x="11253" y="48210"/>
                      <a:pt x="10777" y="482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6" name="Полилиния: фигура 305">
                <a:extLst>
                  <a:ext uri="{FF2B5EF4-FFF2-40B4-BE49-F238E27FC236}">
                    <a16:creationId xmlns:a16="http://schemas.microsoft.com/office/drawing/2014/main" id="{57D73426-FD0F-4F67-A662-A9009076B9BD}"/>
                  </a:ext>
                </a:extLst>
              </p:cNvPr>
              <p:cNvSpPr/>
              <p:nvPr/>
            </p:nvSpPr>
            <p:spPr>
              <a:xfrm>
                <a:off x="2789729" y="2169464"/>
                <a:ext cx="131524" cy="991250"/>
              </a:xfrm>
              <a:custGeom>
                <a:avLst/>
                <a:gdLst>
                  <a:gd name="connsiteX0" fmla="*/ 101997 w 131524"/>
                  <a:gd name="connsiteY0" fmla="*/ 991156 h 991250"/>
                  <a:gd name="connsiteX1" fmla="*/ 80756 w 131524"/>
                  <a:gd name="connsiteY1" fmla="*/ 969058 h 991250"/>
                  <a:gd name="connsiteX2" fmla="*/ 66088 w 131524"/>
                  <a:gd name="connsiteY2" fmla="*/ 890476 h 991250"/>
                  <a:gd name="connsiteX3" fmla="*/ 79 w 131524"/>
                  <a:gd name="connsiteY3" fmla="*/ 58087 h 991250"/>
                  <a:gd name="connsiteX4" fmla="*/ 52181 w 131524"/>
                  <a:gd name="connsiteY4" fmla="*/ 79 h 991250"/>
                  <a:gd name="connsiteX5" fmla="*/ 110188 w 131524"/>
                  <a:gd name="connsiteY5" fmla="*/ 52181 h 991250"/>
                  <a:gd name="connsiteX6" fmla="*/ 131524 w 131524"/>
                  <a:gd name="connsiteY6" fmla="*/ 893239 h 991250"/>
                  <a:gd name="connsiteX7" fmla="*/ 127619 w 131524"/>
                  <a:gd name="connsiteY7" fmla="*/ 966486 h 991250"/>
                  <a:gd name="connsiteX8" fmla="*/ 105426 w 131524"/>
                  <a:gd name="connsiteY8" fmla="*/ 991251 h 991250"/>
                  <a:gd name="connsiteX9" fmla="*/ 101997 w 131524"/>
                  <a:gd name="connsiteY9" fmla="*/ 991251 h 991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524" h="991250">
                    <a:moveTo>
                      <a:pt x="101997" y="991156"/>
                    </a:moveTo>
                    <a:cubicBezTo>
                      <a:pt x="90567" y="990108"/>
                      <a:pt x="81328" y="980773"/>
                      <a:pt x="80756" y="969058"/>
                    </a:cubicBezTo>
                    <a:lnTo>
                      <a:pt x="66088" y="890476"/>
                    </a:lnTo>
                    <a:lnTo>
                      <a:pt x="79" y="58087"/>
                    </a:lnTo>
                    <a:cubicBezTo>
                      <a:pt x="-1540" y="27702"/>
                      <a:pt x="21796" y="1699"/>
                      <a:pt x="52181" y="79"/>
                    </a:cubicBezTo>
                    <a:cubicBezTo>
                      <a:pt x="82661" y="-1540"/>
                      <a:pt x="108569" y="21796"/>
                      <a:pt x="110188" y="52181"/>
                    </a:cubicBezTo>
                    <a:lnTo>
                      <a:pt x="131524" y="893239"/>
                    </a:lnTo>
                    <a:lnTo>
                      <a:pt x="127619" y="966486"/>
                    </a:lnTo>
                    <a:cubicBezTo>
                      <a:pt x="128286" y="979440"/>
                      <a:pt x="118380" y="990489"/>
                      <a:pt x="105426" y="991251"/>
                    </a:cubicBezTo>
                    <a:cubicBezTo>
                      <a:pt x="104283" y="991251"/>
                      <a:pt x="103140" y="991251"/>
                      <a:pt x="101997" y="991251"/>
                    </a:cubicBezTo>
                    <a:close/>
                  </a:path>
                </a:pathLst>
              </a:custGeom>
              <a:solidFill>
                <a:srgbClr val="006D3F"/>
              </a:solidFill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7" name="Полилиния: фигура 306">
                <a:extLst>
                  <a:ext uri="{FF2B5EF4-FFF2-40B4-BE49-F238E27FC236}">
                    <a16:creationId xmlns:a16="http://schemas.microsoft.com/office/drawing/2014/main" id="{F10D3285-4615-4161-9F34-14BEC94D9899}"/>
                  </a:ext>
                </a:extLst>
              </p:cNvPr>
              <p:cNvSpPr/>
              <p:nvPr/>
            </p:nvSpPr>
            <p:spPr>
              <a:xfrm>
                <a:off x="2789729" y="2169455"/>
                <a:ext cx="116284" cy="312771"/>
              </a:xfrm>
              <a:custGeom>
                <a:avLst/>
                <a:gdLst>
                  <a:gd name="connsiteX0" fmla="*/ 79 w 116284"/>
                  <a:gd name="connsiteY0" fmla="*/ 58096 h 312771"/>
                  <a:gd name="connsiteX1" fmla="*/ 19129 w 116284"/>
                  <a:gd name="connsiteY1" fmla="*/ 298316 h 312771"/>
                  <a:gd name="connsiteX2" fmla="*/ 109141 w 116284"/>
                  <a:gd name="connsiteY2" fmla="*/ 297935 h 312771"/>
                  <a:gd name="connsiteX3" fmla="*/ 116284 w 116284"/>
                  <a:gd name="connsiteY3" fmla="*/ 291458 h 312771"/>
                  <a:gd name="connsiteX4" fmla="*/ 110188 w 116284"/>
                  <a:gd name="connsiteY4" fmla="*/ 52190 h 312771"/>
                  <a:gd name="connsiteX5" fmla="*/ 52181 w 116284"/>
                  <a:gd name="connsiteY5" fmla="*/ 88 h 312771"/>
                  <a:gd name="connsiteX6" fmla="*/ 79 w 116284"/>
                  <a:gd name="connsiteY6" fmla="*/ 58096 h 312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6284" h="312771">
                    <a:moveTo>
                      <a:pt x="79" y="58096"/>
                    </a:moveTo>
                    <a:lnTo>
                      <a:pt x="19129" y="298316"/>
                    </a:lnTo>
                    <a:cubicBezTo>
                      <a:pt x="47038" y="317176"/>
                      <a:pt x="83137" y="318128"/>
                      <a:pt x="109141" y="297935"/>
                    </a:cubicBezTo>
                    <a:cubicBezTo>
                      <a:pt x="111712" y="295935"/>
                      <a:pt x="114094" y="293744"/>
                      <a:pt x="116284" y="291458"/>
                    </a:cubicBezTo>
                    <a:lnTo>
                      <a:pt x="110188" y="52190"/>
                    </a:lnTo>
                    <a:cubicBezTo>
                      <a:pt x="108569" y="21805"/>
                      <a:pt x="82661" y="-1626"/>
                      <a:pt x="52181" y="88"/>
                    </a:cubicBezTo>
                    <a:cubicBezTo>
                      <a:pt x="21796" y="1708"/>
                      <a:pt x="-1540" y="27711"/>
                      <a:pt x="79" y="5809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08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870826" y="2120966"/>
              <a:ext cx="614593" cy="763526"/>
              <a:chOff x="2870826" y="2120966"/>
              <a:chExt cx="614593" cy="763526"/>
            </a:xfrm>
            <a:solidFill>
              <a:srgbClr val="FFFFFF"/>
            </a:solidFill>
          </p:grpSpPr>
          <p:sp>
            <p:nvSpPr>
              <p:cNvPr id="309" name="Полилиния: фигура 308">
                <a:extLst>
                  <a:ext uri="{FF2B5EF4-FFF2-40B4-BE49-F238E27FC236}">
                    <a16:creationId xmlns:a16="http://schemas.microsoft.com/office/drawing/2014/main" id="{824FF857-3161-41F3-921D-A80AD7C7DC54}"/>
                  </a:ext>
                </a:extLst>
              </p:cNvPr>
              <p:cNvSpPr/>
              <p:nvPr/>
            </p:nvSpPr>
            <p:spPr>
              <a:xfrm>
                <a:off x="2870826" y="2120966"/>
                <a:ext cx="614593" cy="763016"/>
              </a:xfrm>
              <a:custGeom>
                <a:avLst/>
                <a:gdLst>
                  <a:gd name="connsiteX0" fmla="*/ 614593 w 614593"/>
                  <a:gd name="connsiteY0" fmla="*/ 0 h 763016"/>
                  <a:gd name="connsiteX1" fmla="*/ 421141 w 614593"/>
                  <a:gd name="connsiteY1" fmla="*/ 294322 h 763016"/>
                  <a:gd name="connsiteX2" fmla="*/ 234832 w 614593"/>
                  <a:gd name="connsiteY2" fmla="*/ 619982 h 763016"/>
                  <a:gd name="connsiteX3" fmla="*/ 169871 w 614593"/>
                  <a:gd name="connsiteY3" fmla="*/ 673322 h 763016"/>
                  <a:gd name="connsiteX4" fmla="*/ 96243 w 614593"/>
                  <a:gd name="connsiteY4" fmla="*/ 742283 h 763016"/>
                  <a:gd name="connsiteX5" fmla="*/ 11375 w 614593"/>
                  <a:gd name="connsiteY5" fmla="*/ 647510 h 763016"/>
                  <a:gd name="connsiteX6" fmla="*/ 113769 w 614593"/>
                  <a:gd name="connsiteY6" fmla="*/ 412528 h 763016"/>
                  <a:gd name="connsiteX7" fmla="*/ 62715 w 614593"/>
                  <a:gd name="connsiteY7" fmla="*/ 283655 h 76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14593" h="763016">
                    <a:moveTo>
                      <a:pt x="614593" y="0"/>
                    </a:moveTo>
                    <a:cubicBezTo>
                      <a:pt x="582875" y="102870"/>
                      <a:pt x="445429" y="244507"/>
                      <a:pt x="421141" y="294322"/>
                    </a:cubicBezTo>
                    <a:cubicBezTo>
                      <a:pt x="346084" y="448437"/>
                      <a:pt x="293220" y="532448"/>
                      <a:pt x="234832" y="619982"/>
                    </a:cubicBezTo>
                    <a:cubicBezTo>
                      <a:pt x="211114" y="655511"/>
                      <a:pt x="185492" y="660559"/>
                      <a:pt x="169871" y="673322"/>
                    </a:cubicBezTo>
                    <a:cubicBezTo>
                      <a:pt x="147011" y="691991"/>
                      <a:pt x="135296" y="711899"/>
                      <a:pt x="96243" y="742283"/>
                    </a:cubicBezTo>
                    <a:cubicBezTo>
                      <a:pt x="30616" y="793337"/>
                      <a:pt x="-24629" y="745712"/>
                      <a:pt x="11375" y="647510"/>
                    </a:cubicBezTo>
                    <a:cubicBezTo>
                      <a:pt x="47380" y="549307"/>
                      <a:pt x="113769" y="412528"/>
                      <a:pt x="113769" y="412528"/>
                    </a:cubicBezTo>
                    <a:cubicBezTo>
                      <a:pt x="113769" y="412528"/>
                      <a:pt x="130342" y="343471"/>
                      <a:pt x="62715" y="283655"/>
                    </a:cubicBez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0" name="Полилиния: фигура 309">
                <a:extLst>
                  <a:ext uri="{FF2B5EF4-FFF2-40B4-BE49-F238E27FC236}">
                    <a16:creationId xmlns:a16="http://schemas.microsoft.com/office/drawing/2014/main" id="{26E5A2D9-4149-4D63-90C9-CE96D5DBDBCE}"/>
                  </a:ext>
                </a:extLst>
              </p:cNvPr>
              <p:cNvSpPr/>
              <p:nvPr/>
            </p:nvSpPr>
            <p:spPr>
              <a:xfrm>
                <a:off x="2893175" y="2792383"/>
                <a:ext cx="115423" cy="92109"/>
              </a:xfrm>
              <a:custGeom>
                <a:avLst/>
                <a:gdLst>
                  <a:gd name="connsiteX0" fmla="*/ 3885 w 115423"/>
                  <a:gd name="connsiteY0" fmla="*/ 37338 h 92109"/>
                  <a:gd name="connsiteX1" fmla="*/ 21792 w 115423"/>
                  <a:gd name="connsiteY1" fmla="*/ 0 h 92109"/>
                  <a:gd name="connsiteX2" fmla="*/ 55892 w 115423"/>
                  <a:gd name="connsiteY2" fmla="*/ 16288 h 92109"/>
                  <a:gd name="connsiteX3" fmla="*/ 115423 w 115423"/>
                  <a:gd name="connsiteY3" fmla="*/ 24765 h 92109"/>
                  <a:gd name="connsiteX4" fmla="*/ 34461 w 115423"/>
                  <a:gd name="connsiteY4" fmla="*/ 91916 h 92109"/>
                  <a:gd name="connsiteX5" fmla="*/ 10743 w 115423"/>
                  <a:gd name="connsiteY5" fmla="*/ 81153 h 92109"/>
                  <a:gd name="connsiteX6" fmla="*/ 3981 w 115423"/>
                  <a:gd name="connsiteY6" fmla="*/ 37433 h 92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423" h="92109">
                    <a:moveTo>
                      <a:pt x="3885" y="37338"/>
                    </a:moveTo>
                    <a:lnTo>
                      <a:pt x="21792" y="0"/>
                    </a:lnTo>
                    <a:cubicBezTo>
                      <a:pt x="21792" y="0"/>
                      <a:pt x="24364" y="3334"/>
                      <a:pt x="55892" y="16288"/>
                    </a:cubicBezTo>
                    <a:cubicBezTo>
                      <a:pt x="87420" y="29242"/>
                      <a:pt x="115423" y="24765"/>
                      <a:pt x="115423" y="24765"/>
                    </a:cubicBezTo>
                    <a:cubicBezTo>
                      <a:pt x="115423" y="24765"/>
                      <a:pt x="69989" y="96298"/>
                      <a:pt x="34461" y="91916"/>
                    </a:cubicBezTo>
                    <a:cubicBezTo>
                      <a:pt x="23793" y="90583"/>
                      <a:pt x="16173" y="86392"/>
                      <a:pt x="10743" y="81153"/>
                    </a:cubicBezTo>
                    <a:cubicBezTo>
                      <a:pt x="-877" y="69913"/>
                      <a:pt x="-2973" y="52006"/>
                      <a:pt x="3981" y="374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11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3084703" y="1397256"/>
              <a:ext cx="749331" cy="648271"/>
              <a:chOff x="3084703" y="1397256"/>
              <a:chExt cx="749331" cy="648271"/>
            </a:xfrm>
          </p:grpSpPr>
          <p:sp>
            <p:nvSpPr>
              <p:cNvPr id="312" name="Полилиния: фигура 311">
                <a:extLst>
                  <a:ext uri="{FF2B5EF4-FFF2-40B4-BE49-F238E27FC236}">
                    <a16:creationId xmlns:a16="http://schemas.microsoft.com/office/drawing/2014/main" id="{44E6CDFD-3CB1-459D-960B-0540294B0125}"/>
                  </a:ext>
                </a:extLst>
              </p:cNvPr>
              <p:cNvSpPr/>
              <p:nvPr/>
            </p:nvSpPr>
            <p:spPr>
              <a:xfrm>
                <a:off x="3084703" y="1397256"/>
                <a:ext cx="749331" cy="648271"/>
              </a:xfrm>
              <a:custGeom>
                <a:avLst/>
                <a:gdLst>
                  <a:gd name="connsiteX0" fmla="*/ 75724 w 749331"/>
                  <a:gd name="connsiteY0" fmla="*/ 0 h 648271"/>
                  <a:gd name="connsiteX1" fmla="*/ 0 w 749331"/>
                  <a:gd name="connsiteY1" fmla="*/ 491776 h 648271"/>
                  <a:gd name="connsiteX2" fmla="*/ 212693 w 749331"/>
                  <a:gd name="connsiteY2" fmla="*/ 593884 h 648271"/>
                  <a:gd name="connsiteX3" fmla="*/ 555308 w 749331"/>
                  <a:gd name="connsiteY3" fmla="*/ 648272 h 648271"/>
                  <a:gd name="connsiteX4" fmla="*/ 749332 w 749331"/>
                  <a:gd name="connsiteY4" fmla="*/ 0 h 648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9331" h="648271">
                    <a:moveTo>
                      <a:pt x="75724" y="0"/>
                    </a:moveTo>
                    <a:lnTo>
                      <a:pt x="0" y="491776"/>
                    </a:lnTo>
                    <a:cubicBezTo>
                      <a:pt x="0" y="491776"/>
                      <a:pt x="91345" y="572072"/>
                      <a:pt x="212693" y="593884"/>
                    </a:cubicBezTo>
                    <a:cubicBezTo>
                      <a:pt x="334042" y="615696"/>
                      <a:pt x="555308" y="648272"/>
                      <a:pt x="555308" y="648272"/>
                    </a:cubicBezTo>
                    <a:lnTo>
                      <a:pt x="749332" y="0"/>
                    </a:lnTo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3" name="Полилиния: фигура 312">
                <a:extLst>
                  <a:ext uri="{FF2B5EF4-FFF2-40B4-BE49-F238E27FC236}">
                    <a16:creationId xmlns:a16="http://schemas.microsoft.com/office/drawing/2014/main" id="{D1A49147-0525-43FD-A518-B33F5833274D}"/>
                  </a:ext>
                </a:extLst>
              </p:cNvPr>
              <p:cNvSpPr/>
              <p:nvPr/>
            </p:nvSpPr>
            <p:spPr>
              <a:xfrm>
                <a:off x="3526377" y="1897985"/>
                <a:ext cx="74866" cy="74866"/>
              </a:xfrm>
              <a:custGeom>
                <a:avLst/>
                <a:gdLst>
                  <a:gd name="connsiteX0" fmla="*/ 74867 w 74866"/>
                  <a:gd name="connsiteY0" fmla="*/ 37433 h 74866"/>
                  <a:gd name="connsiteX1" fmla="*/ 37433 w 74866"/>
                  <a:gd name="connsiteY1" fmla="*/ 74867 h 74866"/>
                  <a:gd name="connsiteX2" fmla="*/ 0 w 74866"/>
                  <a:gd name="connsiteY2" fmla="*/ 37433 h 74866"/>
                  <a:gd name="connsiteX3" fmla="*/ 37433 w 74866"/>
                  <a:gd name="connsiteY3" fmla="*/ 0 h 74866"/>
                  <a:gd name="connsiteX4" fmla="*/ 74867 w 74866"/>
                  <a:gd name="connsiteY4" fmla="*/ 37433 h 74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866" h="74866">
                    <a:moveTo>
                      <a:pt x="74867" y="37433"/>
                    </a:moveTo>
                    <a:cubicBezTo>
                      <a:pt x="74867" y="58102"/>
                      <a:pt x="58103" y="74867"/>
                      <a:pt x="37433" y="74867"/>
                    </a:cubicBezTo>
                    <a:cubicBezTo>
                      <a:pt x="16764" y="74867"/>
                      <a:pt x="0" y="58102"/>
                      <a:pt x="0" y="37433"/>
                    </a:cubicBezTo>
                    <a:cubicBezTo>
                      <a:pt x="0" y="16764"/>
                      <a:pt x="16764" y="0"/>
                      <a:pt x="37433" y="0"/>
                    </a:cubicBezTo>
                    <a:cubicBezTo>
                      <a:pt x="58103" y="0"/>
                      <a:pt x="74867" y="16764"/>
                      <a:pt x="74867" y="374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14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973546" y="2701800"/>
              <a:ext cx="93630" cy="63055"/>
              <a:chOff x="2973546" y="2701800"/>
              <a:chExt cx="93630" cy="63055"/>
            </a:xfrm>
            <a:noFill/>
          </p:grpSpPr>
          <p:sp>
            <p:nvSpPr>
              <p:cNvPr id="315" name="Полилиния: фигура 314">
                <a:extLst>
                  <a:ext uri="{FF2B5EF4-FFF2-40B4-BE49-F238E27FC236}">
                    <a16:creationId xmlns:a16="http://schemas.microsoft.com/office/drawing/2014/main" id="{5EBE14F3-C976-4B33-8998-E7D1669FCD69}"/>
                  </a:ext>
                </a:extLst>
              </p:cNvPr>
              <p:cNvSpPr/>
              <p:nvPr/>
            </p:nvSpPr>
            <p:spPr>
              <a:xfrm>
                <a:off x="2973546" y="2701800"/>
                <a:ext cx="6381" cy="6476"/>
              </a:xfrm>
              <a:custGeom>
                <a:avLst/>
                <a:gdLst>
                  <a:gd name="connsiteX0" fmla="*/ 6382 w 6381"/>
                  <a:gd name="connsiteY0" fmla="*/ 6477 h 6476"/>
                  <a:gd name="connsiteX1" fmla="*/ 0 w 6381"/>
                  <a:gd name="connsiteY1" fmla="*/ 0 h 6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81" h="6476">
                    <a:moveTo>
                      <a:pt x="6382" y="6477"/>
                    </a:moveTo>
                    <a:cubicBezTo>
                      <a:pt x="4286" y="4381"/>
                      <a:pt x="2191" y="2286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6" name="Полилиния: фигура 315">
                <a:extLst>
                  <a:ext uri="{FF2B5EF4-FFF2-40B4-BE49-F238E27FC236}">
                    <a16:creationId xmlns:a16="http://schemas.microsoft.com/office/drawing/2014/main" id="{85719C57-3E1D-4CD9-9BDB-BD33AAB55BAE}"/>
                  </a:ext>
                </a:extLst>
              </p:cNvPr>
              <p:cNvSpPr/>
              <p:nvPr/>
            </p:nvSpPr>
            <p:spPr>
              <a:xfrm>
                <a:off x="2992500" y="2719802"/>
                <a:ext cx="74675" cy="28314"/>
              </a:xfrm>
              <a:custGeom>
                <a:avLst/>
                <a:gdLst>
                  <a:gd name="connsiteX0" fmla="*/ 74676 w 74675"/>
                  <a:gd name="connsiteY0" fmla="*/ 25717 h 28314"/>
                  <a:gd name="connsiteX1" fmla="*/ 0 w 74675"/>
                  <a:gd name="connsiteY1" fmla="*/ 0 h 28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4675" h="28314">
                    <a:moveTo>
                      <a:pt x="74676" y="25717"/>
                    </a:moveTo>
                    <a:cubicBezTo>
                      <a:pt x="74676" y="25717"/>
                      <a:pt x="47625" y="40386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7" name="Полилиния: фигура 316">
                <a:extLst>
                  <a:ext uri="{FF2B5EF4-FFF2-40B4-BE49-F238E27FC236}">
                    <a16:creationId xmlns:a16="http://schemas.microsoft.com/office/drawing/2014/main" id="{1E95F309-FAE1-4411-88B3-A16DB19AA980}"/>
                  </a:ext>
                </a:extLst>
              </p:cNvPr>
              <p:cNvSpPr/>
              <p:nvPr/>
            </p:nvSpPr>
            <p:spPr>
              <a:xfrm>
                <a:off x="3009645" y="2705930"/>
                <a:ext cx="52578" cy="19110"/>
              </a:xfrm>
              <a:custGeom>
                <a:avLst/>
                <a:gdLst>
                  <a:gd name="connsiteX0" fmla="*/ 0 w 52578"/>
                  <a:gd name="connsiteY0" fmla="*/ 346 h 19110"/>
                  <a:gd name="connsiteX1" fmla="*/ 52578 w 52578"/>
                  <a:gd name="connsiteY1" fmla="*/ 19110 h 19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2578" h="19110">
                    <a:moveTo>
                      <a:pt x="0" y="346"/>
                    </a:moveTo>
                    <a:cubicBezTo>
                      <a:pt x="0" y="346"/>
                      <a:pt x="12763" y="-4130"/>
                      <a:pt x="52578" y="1911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8" name="Полилиния: фигура 317">
                <a:extLst>
                  <a:ext uri="{FF2B5EF4-FFF2-40B4-BE49-F238E27FC236}">
                    <a16:creationId xmlns:a16="http://schemas.microsoft.com/office/drawing/2014/main" id="{842131AC-86FA-4FBA-A66B-8909BCC9A4A8}"/>
                  </a:ext>
                </a:extLst>
              </p:cNvPr>
              <p:cNvSpPr/>
              <p:nvPr/>
            </p:nvSpPr>
            <p:spPr>
              <a:xfrm>
                <a:off x="2978594" y="2732756"/>
                <a:ext cx="55530" cy="32099"/>
              </a:xfrm>
              <a:custGeom>
                <a:avLst/>
                <a:gdLst>
                  <a:gd name="connsiteX0" fmla="*/ 0 w 55530"/>
                  <a:gd name="connsiteY0" fmla="*/ 0 h 32099"/>
                  <a:gd name="connsiteX1" fmla="*/ 55531 w 55530"/>
                  <a:gd name="connsiteY1" fmla="*/ 32099 h 32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530" h="32099">
                    <a:moveTo>
                      <a:pt x="0" y="0"/>
                    </a:moveTo>
                    <a:cubicBezTo>
                      <a:pt x="0" y="0"/>
                      <a:pt x="27146" y="25908"/>
                      <a:pt x="55531" y="32099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319" name="Рисунок 2">
            <a:extLst>
              <a:ext uri="{FF2B5EF4-FFF2-40B4-BE49-F238E27FC236}">
                <a16:creationId xmlns:a16="http://schemas.microsoft.com/office/drawing/2014/main" id="{845BBD1B-8567-467A-A75B-539233F5AE2A}"/>
              </a:ext>
            </a:extLst>
          </p:cNvPr>
          <p:cNvGrpSpPr/>
          <p:nvPr/>
        </p:nvGrpSpPr>
        <p:grpSpPr>
          <a:xfrm>
            <a:off x="1179512" y="4013719"/>
            <a:ext cx="2149792" cy="1435566"/>
            <a:chOff x="1179512" y="4013719"/>
            <a:chExt cx="2149792" cy="1435566"/>
          </a:xfrm>
        </p:grpSpPr>
        <p:grpSp>
          <p:nvGrpSpPr>
            <p:cNvPr id="320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450616" y="4110618"/>
              <a:ext cx="596579" cy="594116"/>
              <a:chOff x="2450616" y="4110618"/>
              <a:chExt cx="596579" cy="594116"/>
            </a:xfrm>
          </p:grpSpPr>
          <p:sp>
            <p:nvSpPr>
              <p:cNvPr id="321" name="Полилиния: фигура 320">
                <a:extLst>
                  <a:ext uri="{FF2B5EF4-FFF2-40B4-BE49-F238E27FC236}">
                    <a16:creationId xmlns:a16="http://schemas.microsoft.com/office/drawing/2014/main" id="{B553FD2B-197B-4362-9B1D-9EBABBF55A22}"/>
                  </a:ext>
                </a:extLst>
              </p:cNvPr>
              <p:cNvSpPr/>
              <p:nvPr/>
            </p:nvSpPr>
            <p:spPr>
              <a:xfrm>
                <a:off x="2450616" y="4110618"/>
                <a:ext cx="596579" cy="594116"/>
              </a:xfrm>
              <a:custGeom>
                <a:avLst/>
                <a:gdLst>
                  <a:gd name="connsiteX0" fmla="*/ 555315 w 596579"/>
                  <a:gd name="connsiteY0" fmla="*/ 225100 h 594116"/>
                  <a:gd name="connsiteX1" fmla="*/ 583795 w 596579"/>
                  <a:gd name="connsiteY1" fmla="*/ 371595 h 594116"/>
                  <a:gd name="connsiteX2" fmla="*/ 554648 w 596579"/>
                  <a:gd name="connsiteY2" fmla="*/ 474656 h 594116"/>
                  <a:gd name="connsiteX3" fmla="*/ 504832 w 596579"/>
                  <a:gd name="connsiteY3" fmla="*/ 430174 h 594116"/>
                  <a:gd name="connsiteX4" fmla="*/ 519025 w 596579"/>
                  <a:gd name="connsiteY4" fmla="*/ 531139 h 594116"/>
                  <a:gd name="connsiteX5" fmla="*/ 410440 w 596579"/>
                  <a:gd name="connsiteY5" fmla="*/ 490943 h 594116"/>
                  <a:gd name="connsiteX6" fmla="*/ 409106 w 596579"/>
                  <a:gd name="connsiteY6" fmla="*/ 594099 h 594116"/>
                  <a:gd name="connsiteX7" fmla="*/ 317190 w 596579"/>
                  <a:gd name="connsiteY7" fmla="*/ 531710 h 594116"/>
                  <a:gd name="connsiteX8" fmla="*/ 211177 w 596579"/>
                  <a:gd name="connsiteY8" fmla="*/ 340639 h 594116"/>
                  <a:gd name="connsiteX9" fmla="*/ 54681 w 596579"/>
                  <a:gd name="connsiteY9" fmla="*/ 382358 h 594116"/>
                  <a:gd name="connsiteX10" fmla="*/ 48394 w 596579"/>
                  <a:gd name="connsiteY10" fmla="*/ 224815 h 594116"/>
                  <a:gd name="connsiteX11" fmla="*/ 349480 w 596579"/>
                  <a:gd name="connsiteY11" fmla="*/ 501 h 594116"/>
                  <a:gd name="connsiteX12" fmla="*/ 555220 w 596579"/>
                  <a:gd name="connsiteY12" fmla="*/ 225100 h 594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96579" h="594116">
                    <a:moveTo>
                      <a:pt x="555315" y="225100"/>
                    </a:moveTo>
                    <a:cubicBezTo>
                      <a:pt x="555315" y="225100"/>
                      <a:pt x="563983" y="314921"/>
                      <a:pt x="583795" y="371595"/>
                    </a:cubicBezTo>
                    <a:cubicBezTo>
                      <a:pt x="603607" y="428174"/>
                      <a:pt x="604940" y="484276"/>
                      <a:pt x="554648" y="474656"/>
                    </a:cubicBezTo>
                    <a:cubicBezTo>
                      <a:pt x="524549" y="468845"/>
                      <a:pt x="504832" y="430174"/>
                      <a:pt x="504832" y="430174"/>
                    </a:cubicBezTo>
                    <a:cubicBezTo>
                      <a:pt x="504832" y="430174"/>
                      <a:pt x="543504" y="480180"/>
                      <a:pt x="519025" y="531139"/>
                    </a:cubicBezTo>
                    <a:cubicBezTo>
                      <a:pt x="494450" y="582098"/>
                      <a:pt x="410440" y="490943"/>
                      <a:pt x="410440" y="490943"/>
                    </a:cubicBezTo>
                    <a:cubicBezTo>
                      <a:pt x="410440" y="490943"/>
                      <a:pt x="444539" y="593051"/>
                      <a:pt x="409106" y="594099"/>
                    </a:cubicBezTo>
                    <a:cubicBezTo>
                      <a:pt x="373578" y="595147"/>
                      <a:pt x="339383" y="548474"/>
                      <a:pt x="317190" y="531710"/>
                    </a:cubicBezTo>
                    <a:cubicBezTo>
                      <a:pt x="295092" y="515041"/>
                      <a:pt x="237752" y="360736"/>
                      <a:pt x="211177" y="340639"/>
                    </a:cubicBezTo>
                    <a:cubicBezTo>
                      <a:pt x="184602" y="320636"/>
                      <a:pt x="88114" y="338067"/>
                      <a:pt x="54681" y="382358"/>
                    </a:cubicBezTo>
                    <a:cubicBezTo>
                      <a:pt x="21248" y="426649"/>
                      <a:pt x="-46189" y="368833"/>
                      <a:pt x="48394" y="224815"/>
                    </a:cubicBezTo>
                    <a:cubicBezTo>
                      <a:pt x="143073" y="80892"/>
                      <a:pt x="265279" y="-7500"/>
                      <a:pt x="349480" y="501"/>
                    </a:cubicBezTo>
                    <a:cubicBezTo>
                      <a:pt x="433776" y="8502"/>
                      <a:pt x="555220" y="225100"/>
                      <a:pt x="555220" y="225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2" name="Полилиния: фигура 321">
                <a:extLst>
                  <a:ext uri="{FF2B5EF4-FFF2-40B4-BE49-F238E27FC236}">
                    <a16:creationId xmlns:a16="http://schemas.microsoft.com/office/drawing/2014/main" id="{527AEDB6-5E0F-41CA-9D3F-6C48A0722D35}"/>
                  </a:ext>
                </a:extLst>
              </p:cNvPr>
              <p:cNvSpPr/>
              <p:nvPr/>
            </p:nvSpPr>
            <p:spPr>
              <a:xfrm>
                <a:off x="2602452" y="4264493"/>
                <a:ext cx="316515" cy="241818"/>
              </a:xfrm>
              <a:custGeom>
                <a:avLst/>
                <a:gdLst>
                  <a:gd name="connsiteX0" fmla="*/ 316516 w 316515"/>
                  <a:gd name="connsiteY0" fmla="*/ 241818 h 241818"/>
                  <a:gd name="connsiteX1" fmla="*/ 189643 w 316515"/>
                  <a:gd name="connsiteY1" fmla="*/ 42555 h 241818"/>
                  <a:gd name="connsiteX2" fmla="*/ 0 w 316515"/>
                  <a:gd name="connsiteY2" fmla="*/ 17028 h 241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6515" h="241818">
                    <a:moveTo>
                      <a:pt x="316516" y="241818"/>
                    </a:moveTo>
                    <a:lnTo>
                      <a:pt x="189643" y="42555"/>
                    </a:lnTo>
                    <a:cubicBezTo>
                      <a:pt x="189643" y="42555"/>
                      <a:pt x="124778" y="-32788"/>
                      <a:pt x="0" y="17028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3" name="Полилиния: фигура 322">
                <a:extLst>
                  <a:ext uri="{FF2B5EF4-FFF2-40B4-BE49-F238E27FC236}">
                    <a16:creationId xmlns:a16="http://schemas.microsoft.com/office/drawing/2014/main" id="{52A7C6CB-FBE1-4557-A8C6-0C5E6CC41C07}"/>
                  </a:ext>
                </a:extLst>
              </p:cNvPr>
              <p:cNvSpPr/>
              <p:nvPr/>
            </p:nvSpPr>
            <p:spPr>
              <a:xfrm>
                <a:off x="2533395" y="4361298"/>
                <a:ext cx="314515" cy="174731"/>
              </a:xfrm>
              <a:custGeom>
                <a:avLst/>
                <a:gdLst>
                  <a:gd name="connsiteX0" fmla="*/ 314516 w 314515"/>
                  <a:gd name="connsiteY0" fmla="*/ 174732 h 174731"/>
                  <a:gd name="connsiteX1" fmla="*/ 175165 w 314515"/>
                  <a:gd name="connsiteY1" fmla="*/ 27951 h 174731"/>
                  <a:gd name="connsiteX2" fmla="*/ 0 w 314515"/>
                  <a:gd name="connsiteY2" fmla="*/ 20808 h 17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4515" h="174731">
                    <a:moveTo>
                      <a:pt x="314516" y="174732"/>
                    </a:moveTo>
                    <a:lnTo>
                      <a:pt x="175165" y="27951"/>
                    </a:lnTo>
                    <a:cubicBezTo>
                      <a:pt x="175165" y="27951"/>
                      <a:pt x="107633" y="-29865"/>
                      <a:pt x="0" y="20808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24" name="Полилиния: фигура 323">
              <a:extLst>
                <a:ext uri="{FF2B5EF4-FFF2-40B4-BE49-F238E27FC236}">
                  <a16:creationId xmlns:a16="http://schemas.microsoft.com/office/drawing/2014/main" id="{C19D582F-5C8E-40FE-B8BE-572E63392298}"/>
                </a:ext>
              </a:extLst>
            </p:cNvPr>
            <p:cNvSpPr/>
            <p:nvPr/>
          </p:nvSpPr>
          <p:spPr>
            <a:xfrm>
              <a:off x="1743011" y="4013719"/>
              <a:ext cx="1306767" cy="1025229"/>
            </a:xfrm>
            <a:custGeom>
              <a:avLst/>
              <a:gdLst>
                <a:gd name="connsiteX0" fmla="*/ 830009 w 1306767"/>
                <a:gd name="connsiteY0" fmla="*/ 481638 h 1025229"/>
                <a:gd name="connsiteX1" fmla="*/ 929545 w 1306767"/>
                <a:gd name="connsiteY1" fmla="*/ 598319 h 1025229"/>
                <a:gd name="connsiteX2" fmla="*/ 645033 w 1306767"/>
                <a:gd name="connsiteY2" fmla="*/ 828253 h 1025229"/>
                <a:gd name="connsiteX3" fmla="*/ 431768 w 1306767"/>
                <a:gd name="connsiteY3" fmla="*/ 945220 h 1025229"/>
                <a:gd name="connsiteX4" fmla="*/ 58960 w 1306767"/>
                <a:gd name="connsiteY4" fmla="*/ 1025230 h 1025229"/>
                <a:gd name="connsiteX5" fmla="*/ 0 w 1306767"/>
                <a:gd name="connsiteY5" fmla="*/ 661280 h 1025229"/>
                <a:gd name="connsiteX6" fmla="*/ 208693 w 1306767"/>
                <a:gd name="connsiteY6" fmla="*/ 596414 h 1025229"/>
                <a:gd name="connsiteX7" fmla="*/ 517970 w 1306767"/>
                <a:gd name="connsiteY7" fmla="*/ 232369 h 1025229"/>
                <a:gd name="connsiteX8" fmla="*/ 719995 w 1306767"/>
                <a:gd name="connsiteY8" fmla="*/ 148644 h 1025229"/>
                <a:gd name="connsiteX9" fmla="*/ 880110 w 1306767"/>
                <a:gd name="connsiteY9" fmla="*/ 48727 h 1025229"/>
                <a:gd name="connsiteX10" fmla="*/ 1114330 w 1306767"/>
                <a:gd name="connsiteY10" fmla="*/ 36249 h 1025229"/>
                <a:gd name="connsiteX11" fmla="*/ 1288733 w 1306767"/>
                <a:gd name="connsiteY11" fmla="*/ 251038 h 1025229"/>
                <a:gd name="connsiteX12" fmla="*/ 1267301 w 1306767"/>
                <a:gd name="connsiteY12" fmla="*/ 380768 h 1025229"/>
                <a:gd name="connsiteX13" fmla="*/ 1021556 w 1306767"/>
                <a:gd name="connsiteY13" fmla="*/ 182553 h 1025229"/>
                <a:gd name="connsiteX14" fmla="*/ 819436 w 1306767"/>
                <a:gd name="connsiteY14" fmla="*/ 320856 h 1025229"/>
                <a:gd name="connsiteX15" fmla="*/ 830104 w 1306767"/>
                <a:gd name="connsiteY15" fmla="*/ 481733 h 1025229"/>
                <a:gd name="connsiteX16" fmla="*/ 830104 w 1306767"/>
                <a:gd name="connsiteY16" fmla="*/ 481733 h 1025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06767" h="1025229">
                  <a:moveTo>
                    <a:pt x="830009" y="481638"/>
                  </a:moveTo>
                  <a:lnTo>
                    <a:pt x="929545" y="598319"/>
                  </a:lnTo>
                  <a:lnTo>
                    <a:pt x="645033" y="828253"/>
                  </a:lnTo>
                  <a:cubicBezTo>
                    <a:pt x="645033" y="828253"/>
                    <a:pt x="489585" y="905501"/>
                    <a:pt x="431768" y="945220"/>
                  </a:cubicBezTo>
                  <a:cubicBezTo>
                    <a:pt x="373951" y="985034"/>
                    <a:pt x="58960" y="1025230"/>
                    <a:pt x="58960" y="1025230"/>
                  </a:cubicBezTo>
                  <a:lnTo>
                    <a:pt x="0" y="661280"/>
                  </a:lnTo>
                  <a:cubicBezTo>
                    <a:pt x="0" y="661280"/>
                    <a:pt x="184214" y="619655"/>
                    <a:pt x="208693" y="596414"/>
                  </a:cubicBezTo>
                  <a:cubicBezTo>
                    <a:pt x="233172" y="573173"/>
                    <a:pt x="484537" y="276660"/>
                    <a:pt x="517970" y="232369"/>
                  </a:cubicBezTo>
                  <a:cubicBezTo>
                    <a:pt x="551402" y="188078"/>
                    <a:pt x="719995" y="148644"/>
                    <a:pt x="719995" y="148644"/>
                  </a:cubicBezTo>
                  <a:cubicBezTo>
                    <a:pt x="719995" y="148644"/>
                    <a:pt x="795623" y="123974"/>
                    <a:pt x="880110" y="48727"/>
                  </a:cubicBezTo>
                  <a:cubicBezTo>
                    <a:pt x="964597" y="-26425"/>
                    <a:pt x="1073372" y="-1565"/>
                    <a:pt x="1114330" y="36249"/>
                  </a:cubicBezTo>
                  <a:cubicBezTo>
                    <a:pt x="1155287" y="74063"/>
                    <a:pt x="1266730" y="178838"/>
                    <a:pt x="1288733" y="251038"/>
                  </a:cubicBezTo>
                  <a:cubicBezTo>
                    <a:pt x="1310735" y="323142"/>
                    <a:pt x="1321594" y="400866"/>
                    <a:pt x="1267301" y="380768"/>
                  </a:cubicBezTo>
                  <a:cubicBezTo>
                    <a:pt x="1177195" y="347336"/>
                    <a:pt x="1130713" y="158645"/>
                    <a:pt x="1021556" y="182553"/>
                  </a:cubicBezTo>
                  <a:cubicBezTo>
                    <a:pt x="971645" y="193507"/>
                    <a:pt x="837152" y="306473"/>
                    <a:pt x="819436" y="320856"/>
                  </a:cubicBezTo>
                  <a:cubicBezTo>
                    <a:pt x="819436" y="320856"/>
                    <a:pt x="778097" y="421630"/>
                    <a:pt x="830104" y="481733"/>
                  </a:cubicBezTo>
                  <a:cubicBezTo>
                    <a:pt x="882110" y="541741"/>
                    <a:pt x="830104" y="481733"/>
                    <a:pt x="830104" y="481733"/>
                  </a:cubicBezTo>
                </a:path>
              </a:pathLst>
            </a:custGeom>
            <a:solidFill>
              <a:srgbClr val="FFFFFF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25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305511" y="4330814"/>
              <a:ext cx="1023793" cy="119108"/>
              <a:chOff x="2305511" y="4330814"/>
              <a:chExt cx="1023793" cy="119108"/>
            </a:xfrm>
          </p:grpSpPr>
          <p:sp>
            <p:nvSpPr>
              <p:cNvPr id="326" name="Полилиния: фигура 325">
                <a:extLst>
                  <a:ext uri="{FF2B5EF4-FFF2-40B4-BE49-F238E27FC236}">
                    <a16:creationId xmlns:a16="http://schemas.microsoft.com/office/drawing/2014/main" id="{A4C39B59-02C9-4CD1-9B2C-7C3A1179E1B6}"/>
                  </a:ext>
                </a:extLst>
              </p:cNvPr>
              <p:cNvSpPr/>
              <p:nvPr/>
            </p:nvSpPr>
            <p:spPr>
              <a:xfrm>
                <a:off x="3281102" y="4409912"/>
                <a:ext cx="48202" cy="21633"/>
              </a:xfrm>
              <a:custGeom>
                <a:avLst/>
                <a:gdLst>
                  <a:gd name="connsiteX0" fmla="*/ 48107 w 48202"/>
                  <a:gd name="connsiteY0" fmla="*/ 10198 h 21633"/>
                  <a:gd name="connsiteX1" fmla="*/ 38297 w 48202"/>
                  <a:gd name="connsiteY1" fmla="*/ 1054 h 21633"/>
                  <a:gd name="connsiteX2" fmla="*/ 10674 w 48202"/>
                  <a:gd name="connsiteY2" fmla="*/ 6 h 21633"/>
                  <a:gd name="connsiteX3" fmla="*/ 6 w 48202"/>
                  <a:gd name="connsiteY3" fmla="*/ 9912 h 21633"/>
                  <a:gd name="connsiteX4" fmla="*/ 9912 w 48202"/>
                  <a:gd name="connsiteY4" fmla="*/ 20580 h 21633"/>
                  <a:gd name="connsiteX5" fmla="*/ 37535 w 48202"/>
                  <a:gd name="connsiteY5" fmla="*/ 21628 h 21633"/>
                  <a:gd name="connsiteX6" fmla="*/ 48202 w 48202"/>
                  <a:gd name="connsiteY6" fmla="*/ 11722 h 21633"/>
                  <a:gd name="connsiteX7" fmla="*/ 48202 w 48202"/>
                  <a:gd name="connsiteY7" fmla="*/ 10198 h 21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202" h="21633">
                    <a:moveTo>
                      <a:pt x="48107" y="10198"/>
                    </a:moveTo>
                    <a:cubicBezTo>
                      <a:pt x="47536" y="5245"/>
                      <a:pt x="43440" y="1244"/>
                      <a:pt x="38297" y="1054"/>
                    </a:cubicBezTo>
                    <a:lnTo>
                      <a:pt x="10674" y="6"/>
                    </a:lnTo>
                    <a:cubicBezTo>
                      <a:pt x="4959" y="-185"/>
                      <a:pt x="197" y="4197"/>
                      <a:pt x="6" y="9912"/>
                    </a:cubicBezTo>
                    <a:cubicBezTo>
                      <a:pt x="-185" y="15627"/>
                      <a:pt x="4197" y="20389"/>
                      <a:pt x="9912" y="20580"/>
                    </a:cubicBezTo>
                    <a:lnTo>
                      <a:pt x="37535" y="21628"/>
                    </a:lnTo>
                    <a:cubicBezTo>
                      <a:pt x="43249" y="21818"/>
                      <a:pt x="48012" y="17437"/>
                      <a:pt x="48202" y="11722"/>
                    </a:cubicBezTo>
                    <a:cubicBezTo>
                      <a:pt x="48202" y="11245"/>
                      <a:pt x="48202" y="10674"/>
                      <a:pt x="48202" y="10198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7" name="Полилиния: фигура 326">
                <a:extLst>
                  <a:ext uri="{FF2B5EF4-FFF2-40B4-BE49-F238E27FC236}">
                    <a16:creationId xmlns:a16="http://schemas.microsoft.com/office/drawing/2014/main" id="{AFDA399B-14F6-41FC-AB3B-7EDA2185EE8F}"/>
                  </a:ext>
                </a:extLst>
              </p:cNvPr>
              <p:cNvSpPr/>
              <p:nvPr/>
            </p:nvSpPr>
            <p:spPr>
              <a:xfrm>
                <a:off x="2305511" y="4330821"/>
                <a:ext cx="991789" cy="119102"/>
              </a:xfrm>
              <a:custGeom>
                <a:avLst/>
                <a:gdLst>
                  <a:gd name="connsiteX0" fmla="*/ 991789 w 991789"/>
                  <a:gd name="connsiteY0" fmla="*/ 88146 h 119102"/>
                  <a:gd name="connsiteX1" fmla="*/ 969310 w 991789"/>
                  <a:gd name="connsiteY1" fmla="*/ 67191 h 119102"/>
                  <a:gd name="connsiteX2" fmla="*/ 890539 w 991789"/>
                  <a:gd name="connsiteY2" fmla="*/ 53665 h 119102"/>
                  <a:gd name="connsiteX3" fmla="*/ 57291 w 991789"/>
                  <a:gd name="connsiteY3" fmla="*/ 40 h 119102"/>
                  <a:gd name="connsiteX4" fmla="*/ 46 w 991789"/>
                  <a:gd name="connsiteY4" fmla="*/ 52999 h 119102"/>
                  <a:gd name="connsiteX5" fmla="*/ 53005 w 991789"/>
                  <a:gd name="connsiteY5" fmla="*/ 110244 h 119102"/>
                  <a:gd name="connsiteX6" fmla="*/ 894253 w 991789"/>
                  <a:gd name="connsiteY6" fmla="*/ 119102 h 119102"/>
                  <a:gd name="connsiteX7" fmla="*/ 967405 w 991789"/>
                  <a:gd name="connsiteY7" fmla="*/ 114054 h 119102"/>
                  <a:gd name="connsiteX8" fmla="*/ 991789 w 991789"/>
                  <a:gd name="connsiteY8" fmla="*/ 91480 h 119102"/>
                  <a:gd name="connsiteX9" fmla="*/ 991694 w 991789"/>
                  <a:gd name="connsiteY9" fmla="*/ 88051 h 11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1789" h="119102">
                    <a:moveTo>
                      <a:pt x="991789" y="88146"/>
                    </a:moveTo>
                    <a:cubicBezTo>
                      <a:pt x="990551" y="76716"/>
                      <a:pt x="981121" y="67667"/>
                      <a:pt x="969310" y="67191"/>
                    </a:cubicBezTo>
                    <a:lnTo>
                      <a:pt x="890539" y="53665"/>
                    </a:lnTo>
                    <a:lnTo>
                      <a:pt x="57291" y="40"/>
                    </a:lnTo>
                    <a:cubicBezTo>
                      <a:pt x="26811" y="-1103"/>
                      <a:pt x="1189" y="22614"/>
                      <a:pt x="46" y="52999"/>
                    </a:cubicBezTo>
                    <a:cubicBezTo>
                      <a:pt x="-1192" y="83479"/>
                      <a:pt x="22620" y="109101"/>
                      <a:pt x="53005" y="110244"/>
                    </a:cubicBezTo>
                    <a:lnTo>
                      <a:pt x="894253" y="119102"/>
                    </a:lnTo>
                    <a:lnTo>
                      <a:pt x="967405" y="114054"/>
                    </a:lnTo>
                    <a:cubicBezTo>
                      <a:pt x="980359" y="114530"/>
                      <a:pt x="991313" y="104434"/>
                      <a:pt x="991789" y="91480"/>
                    </a:cubicBezTo>
                    <a:cubicBezTo>
                      <a:pt x="991789" y="90337"/>
                      <a:pt x="991789" y="89194"/>
                      <a:pt x="991694" y="88051"/>
                    </a:cubicBezTo>
                    <a:close/>
                  </a:path>
                </a:pathLst>
              </a:custGeom>
              <a:solidFill>
                <a:srgbClr val="006D3F"/>
              </a:solidFill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8" name="Полилиния: фигура 327">
                <a:extLst>
                  <a:ext uri="{FF2B5EF4-FFF2-40B4-BE49-F238E27FC236}">
                    <a16:creationId xmlns:a16="http://schemas.microsoft.com/office/drawing/2014/main" id="{BE570A7C-6133-45DD-B8F0-39E230D9D1AA}"/>
                  </a:ext>
                </a:extLst>
              </p:cNvPr>
              <p:cNvSpPr/>
              <p:nvPr/>
            </p:nvSpPr>
            <p:spPr>
              <a:xfrm>
                <a:off x="2305511" y="4330814"/>
                <a:ext cx="312838" cy="112727"/>
              </a:xfrm>
              <a:custGeom>
                <a:avLst/>
                <a:gdLst>
                  <a:gd name="connsiteX0" fmla="*/ 57291 w 312838"/>
                  <a:gd name="connsiteY0" fmla="*/ 46 h 112727"/>
                  <a:gd name="connsiteX1" fmla="*/ 297702 w 312838"/>
                  <a:gd name="connsiteY1" fmla="*/ 15477 h 112727"/>
                  <a:gd name="connsiteX2" fmla="*/ 298655 w 312838"/>
                  <a:gd name="connsiteY2" fmla="*/ 105488 h 112727"/>
                  <a:gd name="connsiteX3" fmla="*/ 292273 w 312838"/>
                  <a:gd name="connsiteY3" fmla="*/ 112727 h 112727"/>
                  <a:gd name="connsiteX4" fmla="*/ 53005 w 312838"/>
                  <a:gd name="connsiteY4" fmla="*/ 110251 h 112727"/>
                  <a:gd name="connsiteX5" fmla="*/ 46 w 312838"/>
                  <a:gd name="connsiteY5" fmla="*/ 53005 h 112727"/>
                  <a:gd name="connsiteX6" fmla="*/ 57291 w 312838"/>
                  <a:gd name="connsiteY6" fmla="*/ 46 h 112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2838" h="112727">
                    <a:moveTo>
                      <a:pt x="57291" y="46"/>
                    </a:moveTo>
                    <a:lnTo>
                      <a:pt x="297702" y="15477"/>
                    </a:lnTo>
                    <a:cubicBezTo>
                      <a:pt x="316943" y="43100"/>
                      <a:pt x="318467" y="79199"/>
                      <a:pt x="298655" y="105488"/>
                    </a:cubicBezTo>
                    <a:cubicBezTo>
                      <a:pt x="296655" y="108060"/>
                      <a:pt x="294559" y="110441"/>
                      <a:pt x="292273" y="112727"/>
                    </a:cubicBezTo>
                    <a:lnTo>
                      <a:pt x="53005" y="110251"/>
                    </a:lnTo>
                    <a:cubicBezTo>
                      <a:pt x="22620" y="109108"/>
                      <a:pt x="-1192" y="83485"/>
                      <a:pt x="46" y="53005"/>
                    </a:cubicBezTo>
                    <a:cubicBezTo>
                      <a:pt x="1189" y="22526"/>
                      <a:pt x="26811" y="-1192"/>
                      <a:pt x="57291" y="4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29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174779" y="4403090"/>
              <a:ext cx="846830" cy="555944"/>
              <a:chOff x="2174779" y="4403090"/>
              <a:chExt cx="846830" cy="555944"/>
            </a:xfrm>
            <a:solidFill>
              <a:srgbClr val="FFFFFF"/>
            </a:solidFill>
          </p:grpSpPr>
          <p:sp>
            <p:nvSpPr>
              <p:cNvPr id="330" name="Полилиния: фигура 329">
                <a:extLst>
                  <a:ext uri="{FF2B5EF4-FFF2-40B4-BE49-F238E27FC236}">
                    <a16:creationId xmlns:a16="http://schemas.microsoft.com/office/drawing/2014/main" id="{3658E778-DCDD-4FC3-854B-10FF27711E02}"/>
                  </a:ext>
                </a:extLst>
              </p:cNvPr>
              <p:cNvSpPr/>
              <p:nvPr/>
            </p:nvSpPr>
            <p:spPr>
              <a:xfrm>
                <a:off x="2174779" y="4403090"/>
                <a:ext cx="846306" cy="555944"/>
              </a:xfrm>
              <a:custGeom>
                <a:avLst/>
                <a:gdLst>
                  <a:gd name="connsiteX0" fmla="*/ 0 w 846306"/>
                  <a:gd name="connsiteY0" fmla="*/ 555945 h 555944"/>
                  <a:gd name="connsiteX1" fmla="*/ 354235 w 846306"/>
                  <a:gd name="connsiteY1" fmla="*/ 371636 h 555944"/>
                  <a:gd name="connsiteX2" fmla="*/ 624459 w 846306"/>
                  <a:gd name="connsiteY2" fmla="*/ 272005 h 555944"/>
                  <a:gd name="connsiteX3" fmla="*/ 826294 w 846306"/>
                  <a:gd name="connsiteY3" fmla="*/ 95697 h 555944"/>
                  <a:gd name="connsiteX4" fmla="*/ 730282 w 846306"/>
                  <a:gd name="connsiteY4" fmla="*/ 12258 h 555944"/>
                  <a:gd name="connsiteX5" fmla="*/ 496824 w 846306"/>
                  <a:gd name="connsiteY5" fmla="*/ 118176 h 555944"/>
                  <a:gd name="connsiteX6" fmla="*/ 367189 w 846306"/>
                  <a:gd name="connsiteY6" fmla="*/ 69027 h 555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6306" h="555944">
                    <a:moveTo>
                      <a:pt x="0" y="555945"/>
                    </a:moveTo>
                    <a:cubicBezTo>
                      <a:pt x="102108" y="521845"/>
                      <a:pt x="300990" y="387067"/>
                      <a:pt x="354235" y="371636"/>
                    </a:cubicBezTo>
                    <a:cubicBezTo>
                      <a:pt x="407480" y="356206"/>
                      <a:pt x="537782" y="331631"/>
                      <a:pt x="624459" y="272005"/>
                    </a:cubicBezTo>
                    <a:cubicBezTo>
                      <a:pt x="711136" y="212378"/>
                      <a:pt x="776192" y="162086"/>
                      <a:pt x="826294" y="95697"/>
                    </a:cubicBezTo>
                    <a:cubicBezTo>
                      <a:pt x="876395" y="29308"/>
                      <a:pt x="828008" y="-25270"/>
                      <a:pt x="730282" y="12258"/>
                    </a:cubicBezTo>
                    <a:cubicBezTo>
                      <a:pt x="632555" y="49691"/>
                      <a:pt x="496824" y="118176"/>
                      <a:pt x="496824" y="118176"/>
                    </a:cubicBezTo>
                    <a:cubicBezTo>
                      <a:pt x="496824" y="118176"/>
                      <a:pt x="428053" y="135702"/>
                      <a:pt x="367189" y="69027"/>
                    </a:cubicBez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1" name="Полилиния: фигура 330">
                <a:extLst>
                  <a:ext uri="{FF2B5EF4-FFF2-40B4-BE49-F238E27FC236}">
                    <a16:creationId xmlns:a16="http://schemas.microsoft.com/office/drawing/2014/main" id="{70F7EF2B-A61B-41C4-AAC4-4978B656F64A}"/>
                  </a:ext>
                </a:extLst>
              </p:cNvPr>
              <p:cNvSpPr/>
              <p:nvPr/>
            </p:nvSpPr>
            <p:spPr>
              <a:xfrm>
                <a:off x="2929350" y="4424884"/>
                <a:ext cx="92259" cy="115907"/>
              </a:xfrm>
              <a:custGeom>
                <a:avLst/>
                <a:gdLst>
                  <a:gd name="connsiteX0" fmla="*/ 37147 w 92259"/>
                  <a:gd name="connsiteY0" fmla="*/ 4275 h 115907"/>
                  <a:gd name="connsiteX1" fmla="*/ 0 w 92259"/>
                  <a:gd name="connsiteY1" fmla="*/ 22753 h 115907"/>
                  <a:gd name="connsiteX2" fmla="*/ 16764 w 92259"/>
                  <a:gd name="connsiteY2" fmla="*/ 56567 h 115907"/>
                  <a:gd name="connsiteX3" fmla="*/ 26098 w 92259"/>
                  <a:gd name="connsiteY3" fmla="*/ 115908 h 115907"/>
                  <a:gd name="connsiteX4" fmla="*/ 92011 w 92259"/>
                  <a:gd name="connsiteY4" fmla="*/ 33898 h 115907"/>
                  <a:gd name="connsiteX5" fmla="*/ 80867 w 92259"/>
                  <a:gd name="connsiteY5" fmla="*/ 10371 h 115907"/>
                  <a:gd name="connsiteX6" fmla="*/ 37052 w 92259"/>
                  <a:gd name="connsiteY6" fmla="*/ 4275 h 115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59" h="115907">
                    <a:moveTo>
                      <a:pt x="37147" y="4275"/>
                    </a:moveTo>
                    <a:lnTo>
                      <a:pt x="0" y="22753"/>
                    </a:lnTo>
                    <a:cubicBezTo>
                      <a:pt x="0" y="22753"/>
                      <a:pt x="3334" y="25325"/>
                      <a:pt x="16764" y="56567"/>
                    </a:cubicBezTo>
                    <a:cubicBezTo>
                      <a:pt x="30194" y="87809"/>
                      <a:pt x="26098" y="115908"/>
                      <a:pt x="26098" y="115908"/>
                    </a:cubicBezTo>
                    <a:cubicBezTo>
                      <a:pt x="26098" y="115908"/>
                      <a:pt x="96964" y="69426"/>
                      <a:pt x="92011" y="33898"/>
                    </a:cubicBezTo>
                    <a:cubicBezTo>
                      <a:pt x="90488" y="23229"/>
                      <a:pt x="86201" y="15705"/>
                      <a:pt x="80867" y="10371"/>
                    </a:cubicBezTo>
                    <a:cubicBezTo>
                      <a:pt x="69437" y="-1059"/>
                      <a:pt x="51530" y="-2964"/>
                      <a:pt x="37052" y="42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32" name="Полилиния: фигура 331">
              <a:extLst>
                <a:ext uri="{FF2B5EF4-FFF2-40B4-BE49-F238E27FC236}">
                  <a16:creationId xmlns:a16="http://schemas.microsoft.com/office/drawing/2014/main" id="{F2CB39CD-5E5D-4553-8AF7-D90E06A0E407}"/>
                </a:ext>
              </a:extLst>
            </p:cNvPr>
            <p:cNvSpPr/>
            <p:nvPr/>
          </p:nvSpPr>
          <p:spPr>
            <a:xfrm>
              <a:off x="1672526" y="4596703"/>
              <a:ext cx="380047" cy="512064"/>
            </a:xfrm>
            <a:custGeom>
              <a:avLst/>
              <a:gdLst>
                <a:gd name="connsiteX0" fmla="*/ 259366 w 380047"/>
                <a:gd name="connsiteY0" fmla="*/ 0 h 512064"/>
                <a:gd name="connsiteX1" fmla="*/ 365379 w 380047"/>
                <a:gd name="connsiteY1" fmla="*/ 229838 h 512064"/>
                <a:gd name="connsiteX2" fmla="*/ 380048 w 380047"/>
                <a:gd name="connsiteY2" fmla="*/ 445294 h 512064"/>
                <a:gd name="connsiteX3" fmla="*/ 102108 w 380047"/>
                <a:gd name="connsiteY3" fmla="*/ 512064 h 512064"/>
                <a:gd name="connsiteX4" fmla="*/ 64770 w 380047"/>
                <a:gd name="connsiteY4" fmla="*/ 245459 h 512064"/>
                <a:gd name="connsiteX5" fmla="*/ 0 w 380047"/>
                <a:gd name="connsiteY5" fmla="*/ 60388 h 512064"/>
                <a:gd name="connsiteX6" fmla="*/ 259461 w 380047"/>
                <a:gd name="connsiteY6" fmla="*/ 95 h 512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047" h="512064">
                  <a:moveTo>
                    <a:pt x="259366" y="0"/>
                  </a:moveTo>
                  <a:cubicBezTo>
                    <a:pt x="259366" y="0"/>
                    <a:pt x="350425" y="123158"/>
                    <a:pt x="365379" y="229838"/>
                  </a:cubicBezTo>
                  <a:cubicBezTo>
                    <a:pt x="380333" y="336518"/>
                    <a:pt x="380048" y="445294"/>
                    <a:pt x="380048" y="445294"/>
                  </a:cubicBezTo>
                  <a:lnTo>
                    <a:pt x="102108" y="512064"/>
                  </a:lnTo>
                  <a:cubicBezTo>
                    <a:pt x="102108" y="512064"/>
                    <a:pt x="89535" y="339090"/>
                    <a:pt x="64770" y="245459"/>
                  </a:cubicBezTo>
                  <a:cubicBezTo>
                    <a:pt x="40005" y="151829"/>
                    <a:pt x="0" y="60388"/>
                    <a:pt x="0" y="60388"/>
                  </a:cubicBezTo>
                  <a:lnTo>
                    <a:pt x="259461" y="95"/>
                  </a:lnTo>
                  <a:close/>
                </a:path>
              </a:pathLst>
            </a:custGeom>
            <a:solidFill>
              <a:srgbClr val="FFFFFF"/>
            </a:solidFill>
            <a:ln w="9525" cap="rnd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33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1179512" y="4601371"/>
              <a:ext cx="781016" cy="847915"/>
              <a:chOff x="1179512" y="4601371"/>
              <a:chExt cx="781016" cy="847915"/>
            </a:xfrm>
          </p:grpSpPr>
          <p:sp>
            <p:nvSpPr>
              <p:cNvPr id="334" name="Полилиния: фигура 333">
                <a:extLst>
                  <a:ext uri="{FF2B5EF4-FFF2-40B4-BE49-F238E27FC236}">
                    <a16:creationId xmlns:a16="http://schemas.microsoft.com/office/drawing/2014/main" id="{47F7257B-2C01-49F3-83BE-EDF8D8CD3C64}"/>
                  </a:ext>
                </a:extLst>
              </p:cNvPr>
              <p:cNvSpPr/>
              <p:nvPr/>
            </p:nvSpPr>
            <p:spPr>
              <a:xfrm>
                <a:off x="1179512" y="4601371"/>
                <a:ext cx="781016" cy="847915"/>
              </a:xfrm>
              <a:custGeom>
                <a:avLst/>
                <a:gdLst>
                  <a:gd name="connsiteX0" fmla="*/ 765048 w 781016"/>
                  <a:gd name="connsiteY0" fmla="*/ 210217 h 847915"/>
                  <a:gd name="connsiteX1" fmla="*/ 657892 w 781016"/>
                  <a:gd name="connsiteY1" fmla="*/ 0 h 847915"/>
                  <a:gd name="connsiteX2" fmla="*/ 0 w 781016"/>
                  <a:gd name="connsiteY2" fmla="*/ 104680 h 847915"/>
                  <a:gd name="connsiteX3" fmla="*/ 0 w 781016"/>
                  <a:gd name="connsiteY3" fmla="*/ 847915 h 847915"/>
                  <a:gd name="connsiteX4" fmla="*/ 778383 w 781016"/>
                  <a:gd name="connsiteY4" fmla="*/ 526732 h 847915"/>
                  <a:gd name="connsiteX5" fmla="*/ 765048 w 781016"/>
                  <a:gd name="connsiteY5" fmla="*/ 210121 h 84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81016" h="847915">
                    <a:moveTo>
                      <a:pt x="765048" y="210217"/>
                    </a:moveTo>
                    <a:cubicBezTo>
                      <a:pt x="740378" y="89440"/>
                      <a:pt x="657892" y="0"/>
                      <a:pt x="657892" y="0"/>
                    </a:cubicBezTo>
                    <a:lnTo>
                      <a:pt x="0" y="104680"/>
                    </a:lnTo>
                    <a:lnTo>
                      <a:pt x="0" y="847915"/>
                    </a:lnTo>
                    <a:lnTo>
                      <a:pt x="778383" y="526732"/>
                    </a:lnTo>
                    <a:cubicBezTo>
                      <a:pt x="778383" y="526732"/>
                      <a:pt x="789813" y="330994"/>
                      <a:pt x="765048" y="210121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5" name="Полилиния: фигура 334">
                <a:extLst>
                  <a:ext uri="{FF2B5EF4-FFF2-40B4-BE49-F238E27FC236}">
                    <a16:creationId xmlns:a16="http://schemas.microsoft.com/office/drawing/2014/main" id="{300EE0EA-0CBC-470B-BB22-E9923452C531}"/>
                  </a:ext>
                </a:extLst>
              </p:cNvPr>
              <p:cNvSpPr/>
              <p:nvPr/>
            </p:nvSpPr>
            <p:spPr>
              <a:xfrm>
                <a:off x="1710150" y="5105338"/>
                <a:ext cx="58293" cy="58293"/>
              </a:xfrm>
              <a:custGeom>
                <a:avLst/>
                <a:gdLst>
                  <a:gd name="connsiteX0" fmla="*/ 58293 w 58293"/>
                  <a:gd name="connsiteY0" fmla="*/ 29146 h 58293"/>
                  <a:gd name="connsiteX1" fmla="*/ 29147 w 58293"/>
                  <a:gd name="connsiteY1" fmla="*/ 58293 h 58293"/>
                  <a:gd name="connsiteX2" fmla="*/ 0 w 58293"/>
                  <a:gd name="connsiteY2" fmla="*/ 29146 h 58293"/>
                  <a:gd name="connsiteX3" fmla="*/ 29147 w 58293"/>
                  <a:gd name="connsiteY3" fmla="*/ 0 h 58293"/>
                  <a:gd name="connsiteX4" fmla="*/ 58293 w 58293"/>
                  <a:gd name="connsiteY4" fmla="*/ 29146 h 58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293" h="58293">
                    <a:moveTo>
                      <a:pt x="58293" y="29146"/>
                    </a:moveTo>
                    <a:cubicBezTo>
                      <a:pt x="58293" y="45244"/>
                      <a:pt x="45244" y="58293"/>
                      <a:pt x="29147" y="58293"/>
                    </a:cubicBezTo>
                    <a:cubicBezTo>
                      <a:pt x="13049" y="58293"/>
                      <a:pt x="0" y="45244"/>
                      <a:pt x="0" y="29146"/>
                    </a:cubicBezTo>
                    <a:cubicBezTo>
                      <a:pt x="0" y="13049"/>
                      <a:pt x="13049" y="0"/>
                      <a:pt x="29147" y="0"/>
                    </a:cubicBezTo>
                    <a:cubicBezTo>
                      <a:pt x="45244" y="0"/>
                      <a:pt x="58293" y="13049"/>
                      <a:pt x="58293" y="29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6" name="Полилиния: фигура 335">
                <a:extLst>
                  <a:ext uri="{FF2B5EF4-FFF2-40B4-BE49-F238E27FC236}">
                    <a16:creationId xmlns:a16="http://schemas.microsoft.com/office/drawing/2014/main" id="{7C14DEA8-A960-42EB-8AC8-EAE8FFFD77E8}"/>
                  </a:ext>
                </a:extLst>
              </p:cNvPr>
              <p:cNvSpPr/>
              <p:nvPr/>
            </p:nvSpPr>
            <p:spPr>
              <a:xfrm>
                <a:off x="1791779" y="5070286"/>
                <a:ext cx="58293" cy="58292"/>
              </a:xfrm>
              <a:custGeom>
                <a:avLst/>
                <a:gdLst>
                  <a:gd name="connsiteX0" fmla="*/ 58293 w 58293"/>
                  <a:gd name="connsiteY0" fmla="*/ 29146 h 58292"/>
                  <a:gd name="connsiteX1" fmla="*/ 29146 w 58293"/>
                  <a:gd name="connsiteY1" fmla="*/ 58293 h 58292"/>
                  <a:gd name="connsiteX2" fmla="*/ 0 w 58293"/>
                  <a:gd name="connsiteY2" fmla="*/ 29146 h 58292"/>
                  <a:gd name="connsiteX3" fmla="*/ 29146 w 58293"/>
                  <a:gd name="connsiteY3" fmla="*/ 0 h 58292"/>
                  <a:gd name="connsiteX4" fmla="*/ 58293 w 58293"/>
                  <a:gd name="connsiteY4" fmla="*/ 29146 h 58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293" h="58292">
                    <a:moveTo>
                      <a:pt x="58293" y="29146"/>
                    </a:moveTo>
                    <a:cubicBezTo>
                      <a:pt x="58293" y="45244"/>
                      <a:pt x="45244" y="58293"/>
                      <a:pt x="29146" y="58293"/>
                    </a:cubicBezTo>
                    <a:cubicBezTo>
                      <a:pt x="13049" y="58293"/>
                      <a:pt x="0" y="45244"/>
                      <a:pt x="0" y="29146"/>
                    </a:cubicBezTo>
                    <a:cubicBezTo>
                      <a:pt x="0" y="13049"/>
                      <a:pt x="13049" y="0"/>
                      <a:pt x="29146" y="0"/>
                    </a:cubicBezTo>
                    <a:cubicBezTo>
                      <a:pt x="45244" y="0"/>
                      <a:pt x="58293" y="13049"/>
                      <a:pt x="58293" y="29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37" name="Рисунок 2">
              <a:extLst>
                <a:ext uri="{FF2B5EF4-FFF2-40B4-BE49-F238E27FC236}">
                  <a16:creationId xmlns:a16="http://schemas.microsoft.com/office/drawing/2014/main" id="{845BBD1B-8567-467A-A75B-539233F5AE2A}"/>
                </a:ext>
              </a:extLst>
            </p:cNvPr>
            <p:cNvGrpSpPr/>
            <p:nvPr/>
          </p:nvGrpSpPr>
          <p:grpSpPr>
            <a:xfrm>
              <a:off x="2775235" y="4536315"/>
              <a:ext cx="63817" cy="93059"/>
              <a:chOff x="2775235" y="4536315"/>
              <a:chExt cx="63817" cy="93059"/>
            </a:xfrm>
            <a:noFill/>
          </p:grpSpPr>
          <p:sp>
            <p:nvSpPr>
              <p:cNvPr id="338" name="Полилиния: фигура 337">
                <a:extLst>
                  <a:ext uri="{FF2B5EF4-FFF2-40B4-BE49-F238E27FC236}">
                    <a16:creationId xmlns:a16="http://schemas.microsoft.com/office/drawing/2014/main" id="{6A82EB04-93C9-46EA-8309-942AED26FF78}"/>
                  </a:ext>
                </a:extLst>
              </p:cNvPr>
              <p:cNvSpPr/>
              <p:nvPr/>
            </p:nvSpPr>
            <p:spPr>
              <a:xfrm>
                <a:off x="2775235" y="4536315"/>
                <a:ext cx="6572" cy="6286"/>
              </a:xfrm>
              <a:custGeom>
                <a:avLst/>
                <a:gdLst>
                  <a:gd name="connsiteX0" fmla="*/ 6572 w 6572"/>
                  <a:gd name="connsiteY0" fmla="*/ 6287 h 6286"/>
                  <a:gd name="connsiteX1" fmla="*/ 0 w 6572"/>
                  <a:gd name="connsiteY1" fmla="*/ 0 h 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72" h="6286">
                    <a:moveTo>
                      <a:pt x="6572" y="6287"/>
                    </a:moveTo>
                    <a:cubicBezTo>
                      <a:pt x="4477" y="4191"/>
                      <a:pt x="2286" y="2191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9" name="Полилиния: фигура 338">
                <a:extLst>
                  <a:ext uri="{FF2B5EF4-FFF2-40B4-BE49-F238E27FC236}">
                    <a16:creationId xmlns:a16="http://schemas.microsoft.com/office/drawing/2014/main" id="{3E85B259-B367-41DE-BF3A-128F15C0AB96}"/>
                  </a:ext>
                </a:extLst>
              </p:cNvPr>
              <p:cNvSpPr/>
              <p:nvPr/>
            </p:nvSpPr>
            <p:spPr>
              <a:xfrm>
                <a:off x="2793619" y="4555079"/>
                <a:ext cx="29143" cy="74294"/>
              </a:xfrm>
              <a:custGeom>
                <a:avLst/>
                <a:gdLst>
                  <a:gd name="connsiteX0" fmla="*/ 26765 w 29143"/>
                  <a:gd name="connsiteY0" fmla="*/ 74295 h 74294"/>
                  <a:gd name="connsiteX1" fmla="*/ 0 w 29143"/>
                  <a:gd name="connsiteY1" fmla="*/ 0 h 7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143" h="74294">
                    <a:moveTo>
                      <a:pt x="26765" y="74295"/>
                    </a:moveTo>
                    <a:cubicBezTo>
                      <a:pt x="26765" y="74295"/>
                      <a:pt x="40957" y="47054"/>
                      <a:pt x="0" y="0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0" name="Полилиния: фигура 339">
                <a:extLst>
                  <a:ext uri="{FF2B5EF4-FFF2-40B4-BE49-F238E27FC236}">
                    <a16:creationId xmlns:a16="http://schemas.microsoft.com/office/drawing/2014/main" id="{5470D594-5B99-4C80-AA95-14D82FB7ED59}"/>
                  </a:ext>
                </a:extLst>
              </p:cNvPr>
              <p:cNvSpPr/>
              <p:nvPr/>
            </p:nvSpPr>
            <p:spPr>
              <a:xfrm>
                <a:off x="2779983" y="4572319"/>
                <a:ext cx="19826" cy="52292"/>
              </a:xfrm>
              <a:custGeom>
                <a:avLst/>
                <a:gdLst>
                  <a:gd name="connsiteX0" fmla="*/ 300 w 19826"/>
                  <a:gd name="connsiteY0" fmla="*/ 0 h 52292"/>
                  <a:gd name="connsiteX1" fmla="*/ 19827 w 19826"/>
                  <a:gd name="connsiteY1" fmla="*/ 52292 h 5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26" h="52292">
                    <a:moveTo>
                      <a:pt x="300" y="0"/>
                    </a:moveTo>
                    <a:cubicBezTo>
                      <a:pt x="300" y="0"/>
                      <a:pt x="-3986" y="12859"/>
                      <a:pt x="19827" y="52292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1" name="Полилиния: фигура 340">
                <a:extLst>
                  <a:ext uri="{FF2B5EF4-FFF2-40B4-BE49-F238E27FC236}">
                    <a16:creationId xmlns:a16="http://schemas.microsoft.com/office/drawing/2014/main" id="{801FCEB7-BD74-49AD-B586-4E0EAFAF112E}"/>
                  </a:ext>
                </a:extLst>
              </p:cNvPr>
              <p:cNvSpPr/>
              <p:nvPr/>
            </p:nvSpPr>
            <p:spPr>
              <a:xfrm>
                <a:off x="2806191" y="4540887"/>
                <a:ext cx="32861" cy="54959"/>
              </a:xfrm>
              <a:custGeom>
                <a:avLst/>
                <a:gdLst>
                  <a:gd name="connsiteX0" fmla="*/ 0 w 32861"/>
                  <a:gd name="connsiteY0" fmla="*/ 0 h 54959"/>
                  <a:gd name="connsiteX1" fmla="*/ 32861 w 32861"/>
                  <a:gd name="connsiteY1" fmla="*/ 54959 h 54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861" h="54959">
                    <a:moveTo>
                      <a:pt x="0" y="0"/>
                    </a:moveTo>
                    <a:cubicBezTo>
                      <a:pt x="0" y="0"/>
                      <a:pt x="26289" y="26765"/>
                      <a:pt x="32861" y="54959"/>
                    </a:cubicBez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pic>
        <p:nvPicPr>
          <p:cNvPr id="136" name="ОТП_Logo">
            <a:extLst>
              <a:ext uri="{FF2B5EF4-FFF2-40B4-BE49-F238E27FC236}">
                <a16:creationId xmlns:a16="http://schemas.microsoft.com/office/drawing/2014/main" id="{93261067-E765-4C3B-8EAA-7018B436AA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0274664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25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3000" fill="hold"/>
                                        <p:tgtEl>
                                          <p:spTgt spid="25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7 L 4.375E-6 2.59259E-6 " pathEditMode="relative" rAng="0" ptsTypes="AA">
                                      <p:cBhvr>
                                        <p:cTn id="19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7 L 4.375E-6 2.59259E-6 " pathEditMode="relative" rAng="0" ptsTypes="AA">
                                      <p:cBhvr>
                                        <p:cTn id="26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2" grpId="0" animBg="1"/>
      <p:bldP spid="253" grpId="0" animBg="1"/>
      <p:bldP spid="254" grpId="0" animBg="1"/>
      <p:bldP spid="25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ounded Rectangle">
            <a:extLst>
              <a:ext uri="{FF2B5EF4-FFF2-40B4-BE49-F238E27FC236}">
                <a16:creationId xmlns:a16="http://schemas.microsoft.com/office/drawing/2014/main" id="{88792DE6-2CDC-49E5-A836-894DB4214048}"/>
              </a:ext>
            </a:extLst>
          </p:cNvPr>
          <p:cNvSpPr/>
          <p:nvPr/>
        </p:nvSpPr>
        <p:spPr>
          <a:xfrm>
            <a:off x="0" y="1633714"/>
            <a:ext cx="5226779" cy="3951723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B09402DE-197A-464A-9BD8-77F064A0C9A3}"/>
              </a:ext>
            </a:extLst>
          </p:cNvPr>
          <p:cNvGrpSpPr/>
          <p:nvPr/>
        </p:nvGrpSpPr>
        <p:grpSpPr>
          <a:xfrm>
            <a:off x="556428" y="1310391"/>
            <a:ext cx="5051622" cy="847113"/>
            <a:chOff x="630183" y="2161919"/>
            <a:chExt cx="5051622" cy="847113"/>
          </a:xfrm>
        </p:grpSpPr>
        <p:sp>
          <p:nvSpPr>
            <p:cNvPr id="32" name="Rounded Rectangle">
              <a:extLst>
                <a:ext uri="{FF2B5EF4-FFF2-40B4-BE49-F238E27FC236}">
                  <a16:creationId xmlns:a16="http://schemas.microsoft.com/office/drawing/2014/main" id="{B744BFB1-CFCA-498F-AD7F-89670F25039F}"/>
                </a:ext>
              </a:extLst>
            </p:cNvPr>
            <p:cNvSpPr/>
            <p:nvPr/>
          </p:nvSpPr>
          <p:spPr>
            <a:xfrm>
              <a:off x="630183" y="216191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3" name="Motion design">
              <a:extLst>
                <a:ext uri="{FF2B5EF4-FFF2-40B4-BE49-F238E27FC236}">
                  <a16:creationId xmlns:a16="http://schemas.microsoft.com/office/drawing/2014/main" id="{E108F937-A35C-4715-8D2B-DFE81E5BD5DA}"/>
                </a:ext>
              </a:extLst>
            </p:cNvPr>
            <p:cNvSpPr txBox="1"/>
            <p:nvPr/>
          </p:nvSpPr>
          <p:spPr>
            <a:xfrm>
              <a:off x="1554545" y="2307376"/>
              <a:ext cx="381258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MDM-система – это мастер-система </a:t>
              </a:r>
              <a:br>
                <a:rPr lang="en-US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 клиентским данным, единая точка правды</a:t>
              </a:r>
            </a:p>
          </p:txBody>
        </p:sp>
        <p:sp>
          <p:nvSpPr>
            <p:cNvPr id="34" name="Circle">
              <a:extLst>
                <a:ext uri="{FF2B5EF4-FFF2-40B4-BE49-F238E27FC236}">
                  <a16:creationId xmlns:a16="http://schemas.microsoft.com/office/drawing/2014/main" id="{A78C067F-7496-4008-8961-09102CAA2272}"/>
                </a:ext>
              </a:extLst>
            </p:cNvPr>
            <p:cNvSpPr/>
            <p:nvPr/>
          </p:nvSpPr>
          <p:spPr>
            <a:xfrm>
              <a:off x="756367" y="2267808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605965C2-08B5-495D-B953-06A8729FC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08197" y="2423676"/>
              <a:ext cx="331672" cy="315086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9A508963-EDE7-4ACC-9450-99F7DBC76EFB}"/>
              </a:ext>
            </a:extLst>
          </p:cNvPr>
          <p:cNvGrpSpPr/>
          <p:nvPr/>
        </p:nvGrpSpPr>
        <p:grpSpPr>
          <a:xfrm>
            <a:off x="556428" y="2240431"/>
            <a:ext cx="5051622" cy="847113"/>
            <a:chOff x="630183" y="3220005"/>
            <a:chExt cx="5051622" cy="847113"/>
          </a:xfrm>
        </p:grpSpPr>
        <p:sp>
          <p:nvSpPr>
            <p:cNvPr id="37" name="Rounded Rectangle">
              <a:extLst>
                <a:ext uri="{FF2B5EF4-FFF2-40B4-BE49-F238E27FC236}">
                  <a16:creationId xmlns:a16="http://schemas.microsoft.com/office/drawing/2014/main" id="{2B6D089B-7016-4A9C-9FD9-05B55330169C}"/>
                </a:ext>
              </a:extLst>
            </p:cNvPr>
            <p:cNvSpPr/>
            <p:nvPr/>
          </p:nvSpPr>
          <p:spPr>
            <a:xfrm>
              <a:off x="630183" y="3220005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9C664B64-1855-4132-A685-4B1819A70BB9}"/>
                </a:ext>
              </a:extLst>
            </p:cNvPr>
            <p:cNvSpPr txBox="1"/>
            <p:nvPr/>
          </p:nvSpPr>
          <p:spPr>
            <a:xfrm>
              <a:off x="1554547" y="3225424"/>
              <a:ext cx="3646103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Любые изменения по клиентским данным (и не только) оперативно доставляются</a:t>
              </a:r>
              <a:b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о заинтересованных потребителей</a:t>
              </a:r>
            </a:p>
          </p:txBody>
        </p:sp>
        <p:sp>
          <p:nvSpPr>
            <p:cNvPr id="39" name="Circle">
              <a:extLst>
                <a:ext uri="{FF2B5EF4-FFF2-40B4-BE49-F238E27FC236}">
                  <a16:creationId xmlns:a16="http://schemas.microsoft.com/office/drawing/2014/main" id="{6C6EC9EB-56AD-4278-A5A6-7C00A5DBA892}"/>
                </a:ext>
              </a:extLst>
            </p:cNvPr>
            <p:cNvSpPr/>
            <p:nvPr/>
          </p:nvSpPr>
          <p:spPr>
            <a:xfrm>
              <a:off x="756367" y="3325894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C627ACE0-69E6-4A51-9A92-527F6CD4F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924306" y="3520505"/>
              <a:ext cx="318116" cy="263804"/>
            </a:xfrm>
            <a:prstGeom prst="rect">
              <a:avLst/>
            </a:prstGeom>
          </p:spPr>
        </p:pic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715463D9-58A6-4927-A5AB-A9044197C834}"/>
              </a:ext>
            </a:extLst>
          </p:cNvPr>
          <p:cNvGrpSpPr/>
          <p:nvPr/>
        </p:nvGrpSpPr>
        <p:grpSpPr>
          <a:xfrm>
            <a:off x="556428" y="3170471"/>
            <a:ext cx="5051622" cy="847113"/>
            <a:chOff x="630183" y="4278473"/>
            <a:chExt cx="5051622" cy="847113"/>
          </a:xfrm>
        </p:grpSpPr>
        <p:sp>
          <p:nvSpPr>
            <p:cNvPr id="42" name="Rounded Rectangle">
              <a:extLst>
                <a:ext uri="{FF2B5EF4-FFF2-40B4-BE49-F238E27FC236}">
                  <a16:creationId xmlns:a16="http://schemas.microsoft.com/office/drawing/2014/main" id="{4F747F0B-D7A1-4F5A-A288-5BB949E98E63}"/>
                </a:ext>
              </a:extLst>
            </p:cNvPr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Motion design">
              <a:extLst>
                <a:ext uri="{FF2B5EF4-FFF2-40B4-BE49-F238E27FC236}">
                  <a16:creationId xmlns:a16="http://schemas.microsoft.com/office/drawing/2014/main" id="{E6BFEEF7-80D5-4831-96DD-E8CC80BD7F77}"/>
                </a:ext>
              </a:extLst>
            </p:cNvPr>
            <p:cNvSpPr txBox="1"/>
            <p:nvPr/>
          </p:nvSpPr>
          <p:spPr>
            <a:xfrm>
              <a:off x="1554547" y="4423933"/>
              <a:ext cx="2736099" cy="5350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Клиентская база проверяется</a:t>
              </a:r>
              <a:b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 спискам ФЛ и ЮЛ</a:t>
              </a:r>
            </a:p>
          </p:txBody>
        </p:sp>
        <p:sp>
          <p:nvSpPr>
            <p:cNvPr id="44" name="Circle">
              <a:extLst>
                <a:ext uri="{FF2B5EF4-FFF2-40B4-BE49-F238E27FC236}">
                  <a16:creationId xmlns:a16="http://schemas.microsoft.com/office/drawing/2014/main" id="{BF49BA54-1D51-45DB-80AF-7D8E6D535672}"/>
                </a:ext>
              </a:extLst>
            </p:cNvPr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23E75551-03D8-463B-B6DA-5F1B19784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861157" y="4549523"/>
              <a:ext cx="425754" cy="283836"/>
            </a:xfrm>
            <a:prstGeom prst="rect">
              <a:avLst/>
            </a:prstGeom>
          </p:spPr>
        </p:pic>
      </p:grpSp>
      <p:sp>
        <p:nvSpPr>
          <p:cNvPr id="28" name="Заголовок">
            <a:extLst>
              <a:ext uri="{FF2B5EF4-FFF2-40B4-BE49-F238E27FC236}">
                <a16:creationId xmlns:a16="http://schemas.microsoft.com/office/drawing/2014/main" id="{1A84145B-5743-4C78-8A0C-FDE4147B8161}"/>
              </a:ext>
            </a:extLst>
          </p:cNvPr>
          <p:cNvSpPr txBox="1"/>
          <p:nvPr/>
        </p:nvSpPr>
        <p:spPr>
          <a:xfrm>
            <a:off x="507067" y="376044"/>
            <a:ext cx="52968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</a:t>
            </a:r>
          </a:p>
        </p:txBody>
      </p:sp>
      <p:grpSp>
        <p:nvGrpSpPr>
          <p:cNvPr id="337" name="CDIConf_Black">
            <a:extLst>
              <a:ext uri="{FF2B5EF4-FFF2-40B4-BE49-F238E27FC236}">
                <a16:creationId xmlns:a16="http://schemas.microsoft.com/office/drawing/2014/main" id="{2D4010DA-442B-4F09-BB7A-7DF9F1ECEACB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338" name="Полилиния: фигура 337">
              <a:extLst>
                <a:ext uri="{FF2B5EF4-FFF2-40B4-BE49-F238E27FC236}">
                  <a16:creationId xmlns:a16="http://schemas.microsoft.com/office/drawing/2014/main" id="{B63163A0-B529-4134-872D-C5D2D3A186CE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Полилиния: фигура 338">
              <a:extLst>
                <a:ext uri="{FF2B5EF4-FFF2-40B4-BE49-F238E27FC236}">
                  <a16:creationId xmlns:a16="http://schemas.microsoft.com/office/drawing/2014/main" id="{354D2BD9-BA97-425D-ACF9-8405AF280964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Полилиния: фигура 339">
              <a:extLst>
                <a:ext uri="{FF2B5EF4-FFF2-40B4-BE49-F238E27FC236}">
                  <a16:creationId xmlns:a16="http://schemas.microsoft.com/office/drawing/2014/main" id="{2509DD5D-9A8D-4752-BD18-BE6C916D50F4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Полилиния: фигура 340">
              <a:extLst>
                <a:ext uri="{FF2B5EF4-FFF2-40B4-BE49-F238E27FC236}">
                  <a16:creationId xmlns:a16="http://schemas.microsoft.com/office/drawing/2014/main" id="{AE39FD90-8690-4181-8CA8-B81A61F8B8BC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367BE2F8-966A-4297-A007-9F064A900FC2}"/>
              </a:ext>
            </a:extLst>
          </p:cNvPr>
          <p:cNvGrpSpPr/>
          <p:nvPr/>
        </p:nvGrpSpPr>
        <p:grpSpPr>
          <a:xfrm>
            <a:off x="556428" y="4100511"/>
            <a:ext cx="5051622" cy="847113"/>
            <a:chOff x="630183" y="4278473"/>
            <a:chExt cx="5051622" cy="847113"/>
          </a:xfrm>
        </p:grpSpPr>
        <p:sp>
          <p:nvSpPr>
            <p:cNvPr id="49" name="Rounded Rectangle">
              <a:extLst>
                <a:ext uri="{FF2B5EF4-FFF2-40B4-BE49-F238E27FC236}">
                  <a16:creationId xmlns:a16="http://schemas.microsoft.com/office/drawing/2014/main" id="{FA33CD8B-449C-4E79-8CF6-5F2444731891}"/>
                </a:ext>
              </a:extLst>
            </p:cNvPr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74C0C87F-2849-4159-A4C2-205B9FEE6419}"/>
                </a:ext>
              </a:extLst>
            </p:cNvPr>
            <p:cNvSpPr txBox="1"/>
            <p:nvPr/>
          </p:nvSpPr>
          <p:spPr>
            <a:xfrm>
              <a:off x="1554547" y="4423933"/>
              <a:ext cx="3515164" cy="5350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строены процессы </a:t>
              </a:r>
              <a:r>
                <a:rPr lang="ru-RU" sz="1400" dirty="0" err="1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Data</a:t>
              </a: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 </a:t>
              </a:r>
              <a:r>
                <a:rPr lang="ru-RU" sz="1400" dirty="0" err="1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Governance</a:t>
              </a: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, MDM - их неотъемлемая часть</a:t>
              </a:r>
            </a:p>
          </p:txBody>
        </p:sp>
        <p:sp>
          <p:nvSpPr>
            <p:cNvPr id="51" name="Circle">
              <a:extLst>
                <a:ext uri="{FF2B5EF4-FFF2-40B4-BE49-F238E27FC236}">
                  <a16:creationId xmlns:a16="http://schemas.microsoft.com/office/drawing/2014/main" id="{CDDF2D31-C57E-43BA-9E16-1BA26A63F077}"/>
                </a:ext>
              </a:extLst>
            </p:cNvPr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4D733084-D9D1-4E75-BBE8-A78DE051C0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921057" y="4549523"/>
              <a:ext cx="305953" cy="283836"/>
            </a:xfrm>
            <a:prstGeom prst="rect">
              <a:avLst/>
            </a:prstGeom>
          </p:spPr>
        </p:pic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372A07C3-D411-4BC4-BD94-2F2079204503}"/>
              </a:ext>
            </a:extLst>
          </p:cNvPr>
          <p:cNvGrpSpPr/>
          <p:nvPr/>
        </p:nvGrpSpPr>
        <p:grpSpPr>
          <a:xfrm>
            <a:off x="556428" y="5030551"/>
            <a:ext cx="5051622" cy="847113"/>
            <a:chOff x="630183" y="4278473"/>
            <a:chExt cx="5051622" cy="847113"/>
          </a:xfrm>
        </p:grpSpPr>
        <p:sp>
          <p:nvSpPr>
            <p:cNvPr id="54" name="Rounded Rectangle">
              <a:extLst>
                <a:ext uri="{FF2B5EF4-FFF2-40B4-BE49-F238E27FC236}">
                  <a16:creationId xmlns:a16="http://schemas.microsoft.com/office/drawing/2014/main" id="{2C0A908A-2250-40C2-B685-1B5FB50170A2}"/>
                </a:ext>
              </a:extLst>
            </p:cNvPr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5" name="Motion design">
              <a:extLst>
                <a:ext uri="{FF2B5EF4-FFF2-40B4-BE49-F238E27FC236}">
                  <a16:creationId xmlns:a16="http://schemas.microsoft.com/office/drawing/2014/main" id="{11769D18-14B6-4742-9BD3-654D980A64A9}"/>
                </a:ext>
              </a:extLst>
            </p:cNvPr>
            <p:cNvSpPr txBox="1"/>
            <p:nvPr/>
          </p:nvSpPr>
          <p:spPr>
            <a:xfrm>
              <a:off x="1554547" y="4423933"/>
              <a:ext cx="3515164" cy="5350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лучена и поддерживается качественная и чистая клиентская база</a:t>
              </a:r>
            </a:p>
          </p:txBody>
        </p:sp>
        <p:sp>
          <p:nvSpPr>
            <p:cNvPr id="56" name="Circle">
              <a:extLst>
                <a:ext uri="{FF2B5EF4-FFF2-40B4-BE49-F238E27FC236}">
                  <a16:creationId xmlns:a16="http://schemas.microsoft.com/office/drawing/2014/main" id="{3641D432-9FDA-4015-BCA4-A73F45C6F5D1}"/>
                </a:ext>
              </a:extLst>
            </p:cNvPr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9C3CFEB4-1774-4E9F-AEED-866666D33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909013" y="4549523"/>
              <a:ext cx="330041" cy="283836"/>
            </a:xfrm>
            <a:prstGeom prst="rect">
              <a:avLst/>
            </a:prstGeom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88C390F-79BD-4A9F-9DFF-20F5185294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84918" y="1442908"/>
            <a:ext cx="4152900" cy="4257675"/>
          </a:xfrm>
          <a:prstGeom prst="rect">
            <a:avLst/>
          </a:prstGeom>
        </p:spPr>
      </p:pic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A4D299FF-0A8D-44AD-B2E0-F5BAF8034D6D}"/>
              </a:ext>
            </a:extLst>
          </p:cNvPr>
          <p:cNvSpPr/>
          <p:nvPr/>
        </p:nvSpPr>
        <p:spPr>
          <a:xfrm>
            <a:off x="8647874" y="1941619"/>
            <a:ext cx="904112" cy="623125"/>
          </a:xfrm>
          <a:custGeom>
            <a:avLst/>
            <a:gdLst>
              <a:gd name="connsiteX0" fmla="*/ 904113 w 904112"/>
              <a:gd name="connsiteY0" fmla="*/ 330422 h 623125"/>
              <a:gd name="connsiteX1" fmla="*/ 509302 w 904112"/>
              <a:gd name="connsiteY1" fmla="*/ 0 h 623125"/>
              <a:gd name="connsiteX2" fmla="*/ 0 w 904112"/>
              <a:gd name="connsiteY2" fmla="*/ 278321 h 623125"/>
              <a:gd name="connsiteX3" fmla="*/ 394907 w 904112"/>
              <a:gd name="connsiteY3" fmla="*/ 623126 h 623125"/>
              <a:gd name="connsiteX4" fmla="*/ 904113 w 904112"/>
              <a:gd name="connsiteY4" fmla="*/ 330422 h 6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4112" h="623125">
                <a:moveTo>
                  <a:pt x="904113" y="330422"/>
                </a:moveTo>
                <a:lnTo>
                  <a:pt x="509302" y="0"/>
                </a:lnTo>
                <a:lnTo>
                  <a:pt x="0" y="278321"/>
                </a:lnTo>
                <a:lnTo>
                  <a:pt x="394907" y="623126"/>
                </a:lnTo>
                <a:lnTo>
                  <a:pt x="904113" y="330422"/>
                </a:lnTo>
                <a:close/>
              </a:path>
            </a:pathLst>
          </a:custGeom>
          <a:solidFill>
            <a:srgbClr val="006D3F"/>
          </a:solidFill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40FE9B58-65DC-4C83-A6A3-15B629006912}"/>
              </a:ext>
            </a:extLst>
          </p:cNvPr>
          <p:cNvGrpSpPr/>
          <p:nvPr/>
        </p:nvGrpSpPr>
        <p:grpSpPr>
          <a:xfrm>
            <a:off x="9446545" y="1083036"/>
            <a:ext cx="575404" cy="803433"/>
            <a:chOff x="9446545" y="1083036"/>
            <a:chExt cx="575404" cy="803433"/>
          </a:xfrm>
        </p:grpSpPr>
        <p:grpSp>
          <p:nvGrpSpPr>
            <p:cNvPr id="7" name="Рисунок 3">
              <a:extLst>
                <a:ext uri="{FF2B5EF4-FFF2-40B4-BE49-F238E27FC236}">
                  <a16:creationId xmlns:a16="http://schemas.microsoft.com/office/drawing/2014/main" id="{929AA274-7B60-4F04-9950-D8455BCF4FFB}"/>
                </a:ext>
              </a:extLst>
            </p:cNvPr>
            <p:cNvGrpSpPr/>
            <p:nvPr/>
          </p:nvGrpSpPr>
          <p:grpSpPr>
            <a:xfrm>
              <a:off x="9636092" y="1288490"/>
              <a:ext cx="385857" cy="223361"/>
              <a:chOff x="9636092" y="1145744"/>
              <a:chExt cx="385857" cy="223361"/>
            </a:xfrm>
          </p:grpSpPr>
          <p:sp>
            <p:nvSpPr>
              <p:cNvPr id="8" name="Полилиния: фигура 7">
                <a:extLst>
                  <a:ext uri="{FF2B5EF4-FFF2-40B4-BE49-F238E27FC236}">
                    <a16:creationId xmlns:a16="http://schemas.microsoft.com/office/drawing/2014/main" id="{92A23F32-459D-4856-BAA6-4877FABF08F2}"/>
                  </a:ext>
                </a:extLst>
              </p:cNvPr>
              <p:cNvSpPr/>
              <p:nvPr/>
            </p:nvSpPr>
            <p:spPr>
              <a:xfrm>
                <a:off x="9636092" y="1184701"/>
                <a:ext cx="318516" cy="184404"/>
              </a:xfrm>
              <a:custGeom>
                <a:avLst/>
                <a:gdLst>
                  <a:gd name="connsiteX0" fmla="*/ 318516 w 318516"/>
                  <a:gd name="connsiteY0" fmla="*/ 0 h 184404"/>
                  <a:gd name="connsiteX1" fmla="*/ 0 w 318516"/>
                  <a:gd name="connsiteY1" fmla="*/ 184404 h 184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18516" h="184404">
                    <a:moveTo>
                      <a:pt x="318516" y="0"/>
                    </a:moveTo>
                    <a:lnTo>
                      <a:pt x="0" y="184404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" name="Полилиния: фигура 8">
                <a:extLst>
                  <a:ext uri="{FF2B5EF4-FFF2-40B4-BE49-F238E27FC236}">
                    <a16:creationId xmlns:a16="http://schemas.microsoft.com/office/drawing/2014/main" id="{260BF30F-2846-43B2-B8B7-D80CA629256E}"/>
                  </a:ext>
                </a:extLst>
              </p:cNvPr>
              <p:cNvSpPr/>
              <p:nvPr/>
            </p:nvSpPr>
            <p:spPr>
              <a:xfrm>
                <a:off x="9989375" y="1145744"/>
                <a:ext cx="32575" cy="18859"/>
              </a:xfrm>
              <a:custGeom>
                <a:avLst/>
                <a:gdLst>
                  <a:gd name="connsiteX0" fmla="*/ 32575 w 32575"/>
                  <a:gd name="connsiteY0" fmla="*/ 0 h 18859"/>
                  <a:gd name="connsiteX1" fmla="*/ 0 w 32575"/>
                  <a:gd name="connsiteY1" fmla="*/ 18860 h 1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2575" h="18859">
                    <a:moveTo>
                      <a:pt x="32575" y="0"/>
                    </a:moveTo>
                    <a:lnTo>
                      <a:pt x="0" y="18860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F27BF7A2-74A8-4EAC-9FAC-9151F122E021}"/>
                </a:ext>
              </a:extLst>
            </p:cNvPr>
            <p:cNvSpPr/>
            <p:nvPr/>
          </p:nvSpPr>
          <p:spPr>
            <a:xfrm>
              <a:off x="9446545" y="1083036"/>
              <a:ext cx="394811" cy="803433"/>
            </a:xfrm>
            <a:custGeom>
              <a:avLst/>
              <a:gdLst>
                <a:gd name="connsiteX0" fmla="*/ 0 w 394811"/>
                <a:gd name="connsiteY0" fmla="*/ 473107 h 803433"/>
                <a:gd name="connsiteX1" fmla="*/ 0 w 394811"/>
                <a:gd name="connsiteY1" fmla="*/ 0 h 803433"/>
                <a:gd name="connsiteX2" fmla="*/ 394811 w 394811"/>
                <a:gd name="connsiteY2" fmla="*/ 330422 h 803433"/>
                <a:gd name="connsiteX3" fmla="*/ 394811 w 394811"/>
                <a:gd name="connsiteY3" fmla="*/ 803434 h 803433"/>
                <a:gd name="connsiteX4" fmla="*/ 0 w 394811"/>
                <a:gd name="connsiteY4" fmla="*/ 473107 h 803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811" h="803433">
                  <a:moveTo>
                    <a:pt x="0" y="473107"/>
                  </a:moveTo>
                  <a:lnTo>
                    <a:pt x="0" y="0"/>
                  </a:lnTo>
                  <a:lnTo>
                    <a:pt x="394811" y="330422"/>
                  </a:lnTo>
                  <a:lnTo>
                    <a:pt x="394811" y="803434"/>
                  </a:lnTo>
                  <a:lnTo>
                    <a:pt x="0" y="473107"/>
                  </a:ln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37252C3C-58A7-4813-B2CA-32FA386AC19F}"/>
              </a:ext>
            </a:extLst>
          </p:cNvPr>
          <p:cNvGrpSpPr/>
          <p:nvPr/>
        </p:nvGrpSpPr>
        <p:grpSpPr>
          <a:xfrm>
            <a:off x="8311165" y="1076844"/>
            <a:ext cx="624268" cy="751427"/>
            <a:chOff x="8311165" y="1076844"/>
            <a:chExt cx="624268" cy="751427"/>
          </a:xfrm>
        </p:grpSpPr>
        <p:grpSp>
          <p:nvGrpSpPr>
            <p:cNvPr id="11" name="Рисунок 3">
              <a:extLst>
                <a:ext uri="{FF2B5EF4-FFF2-40B4-BE49-F238E27FC236}">
                  <a16:creationId xmlns:a16="http://schemas.microsoft.com/office/drawing/2014/main" id="{929AA274-7B60-4F04-9950-D8455BCF4FFB}"/>
                </a:ext>
              </a:extLst>
            </p:cNvPr>
            <p:cNvGrpSpPr/>
            <p:nvPr/>
          </p:nvGrpSpPr>
          <p:grpSpPr>
            <a:xfrm>
              <a:off x="8311165" y="1230864"/>
              <a:ext cx="283273" cy="233934"/>
              <a:chOff x="8311165" y="1088118"/>
              <a:chExt cx="283273" cy="233934"/>
            </a:xfrm>
          </p:grpSpPr>
          <p:sp>
            <p:nvSpPr>
              <p:cNvPr id="12" name="Полилиния: фигура 11">
                <a:extLst>
                  <a:ext uri="{FF2B5EF4-FFF2-40B4-BE49-F238E27FC236}">
                    <a16:creationId xmlns:a16="http://schemas.microsoft.com/office/drawing/2014/main" id="{404845CB-E531-4626-ACBC-B22141D4B182}"/>
                  </a:ext>
                </a:extLst>
              </p:cNvPr>
              <p:cNvSpPr/>
              <p:nvPr/>
            </p:nvSpPr>
            <p:spPr>
              <a:xfrm>
                <a:off x="8363552" y="1131266"/>
                <a:ext cx="230885" cy="190785"/>
              </a:xfrm>
              <a:custGeom>
                <a:avLst/>
                <a:gdLst>
                  <a:gd name="connsiteX0" fmla="*/ 0 w 230885"/>
                  <a:gd name="connsiteY0" fmla="*/ 0 h 190785"/>
                  <a:gd name="connsiteX1" fmla="*/ 230886 w 230885"/>
                  <a:gd name="connsiteY1" fmla="*/ 190786 h 19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0885" h="190785">
                    <a:moveTo>
                      <a:pt x="0" y="0"/>
                    </a:moveTo>
                    <a:lnTo>
                      <a:pt x="230886" y="190786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Полилиния: фигура 12">
                <a:extLst>
                  <a:ext uri="{FF2B5EF4-FFF2-40B4-BE49-F238E27FC236}">
                    <a16:creationId xmlns:a16="http://schemas.microsoft.com/office/drawing/2014/main" id="{D6CF060B-6A96-43FE-BED6-D15DE06C2053}"/>
                  </a:ext>
                </a:extLst>
              </p:cNvPr>
              <p:cNvSpPr/>
              <p:nvPr/>
            </p:nvSpPr>
            <p:spPr>
              <a:xfrm>
                <a:off x="8311165" y="1088118"/>
                <a:ext cx="25431" cy="20955"/>
              </a:xfrm>
              <a:custGeom>
                <a:avLst/>
                <a:gdLst>
                  <a:gd name="connsiteX0" fmla="*/ 0 w 25431"/>
                  <a:gd name="connsiteY0" fmla="*/ 0 h 20955"/>
                  <a:gd name="connsiteX1" fmla="*/ 25432 w 25431"/>
                  <a:gd name="connsiteY1" fmla="*/ 20955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31" h="20955">
                    <a:moveTo>
                      <a:pt x="0" y="0"/>
                    </a:moveTo>
                    <a:lnTo>
                      <a:pt x="25432" y="20955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FC980624-FB8C-460E-B90B-998BDD1D2792}"/>
                </a:ext>
              </a:extLst>
            </p:cNvPr>
            <p:cNvSpPr/>
            <p:nvPr/>
          </p:nvSpPr>
          <p:spPr>
            <a:xfrm>
              <a:off x="8426227" y="1076844"/>
              <a:ext cx="509206" cy="751427"/>
            </a:xfrm>
            <a:custGeom>
              <a:avLst/>
              <a:gdLst>
                <a:gd name="connsiteX0" fmla="*/ 509206 w 509206"/>
                <a:gd name="connsiteY0" fmla="*/ 0 h 751427"/>
                <a:gd name="connsiteX1" fmla="*/ 509206 w 509206"/>
                <a:gd name="connsiteY1" fmla="*/ 473107 h 751427"/>
                <a:gd name="connsiteX2" fmla="*/ 0 w 509206"/>
                <a:gd name="connsiteY2" fmla="*/ 751427 h 751427"/>
                <a:gd name="connsiteX3" fmla="*/ 0 w 509206"/>
                <a:gd name="connsiteY3" fmla="*/ 278320 h 751427"/>
                <a:gd name="connsiteX4" fmla="*/ 509206 w 509206"/>
                <a:gd name="connsiteY4" fmla="*/ 0 h 751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206" h="751427">
                  <a:moveTo>
                    <a:pt x="509206" y="0"/>
                  </a:moveTo>
                  <a:lnTo>
                    <a:pt x="509206" y="473107"/>
                  </a:lnTo>
                  <a:lnTo>
                    <a:pt x="0" y="751427"/>
                  </a:lnTo>
                  <a:lnTo>
                    <a:pt x="0" y="278320"/>
                  </a:lnTo>
                  <a:lnTo>
                    <a:pt x="509206" y="0"/>
                  </a:ln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" name="Рисунок 3">
            <a:extLst>
              <a:ext uri="{FF2B5EF4-FFF2-40B4-BE49-F238E27FC236}">
                <a16:creationId xmlns:a16="http://schemas.microsoft.com/office/drawing/2014/main" id="{929AA274-7B60-4F04-9950-D8455BCF4FFB}"/>
              </a:ext>
            </a:extLst>
          </p:cNvPr>
          <p:cNvGrpSpPr/>
          <p:nvPr/>
        </p:nvGrpSpPr>
        <p:grpSpPr>
          <a:xfrm>
            <a:off x="8647874" y="1273916"/>
            <a:ext cx="904112" cy="1096232"/>
            <a:chOff x="8647874" y="1131170"/>
            <a:chExt cx="904112" cy="1096232"/>
          </a:xfrm>
          <a:noFill/>
        </p:grpSpPr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40FEE1E5-8998-48C4-9B30-E293D74B5AB4}"/>
                </a:ext>
              </a:extLst>
            </p:cNvPr>
            <p:cNvSpPr/>
            <p:nvPr/>
          </p:nvSpPr>
          <p:spPr>
            <a:xfrm>
              <a:off x="8647874" y="1131170"/>
              <a:ext cx="904112" cy="1096232"/>
            </a:xfrm>
            <a:custGeom>
              <a:avLst/>
              <a:gdLst>
                <a:gd name="connsiteX0" fmla="*/ 509302 w 904112"/>
                <a:gd name="connsiteY0" fmla="*/ 0 h 1096232"/>
                <a:gd name="connsiteX1" fmla="*/ 0 w 904112"/>
                <a:gd name="connsiteY1" fmla="*/ 278321 h 1096232"/>
                <a:gd name="connsiteX2" fmla="*/ 0 w 904112"/>
                <a:gd name="connsiteY2" fmla="*/ 278321 h 1096232"/>
                <a:gd name="connsiteX3" fmla="*/ 0 w 904112"/>
                <a:gd name="connsiteY3" fmla="*/ 751427 h 1096232"/>
                <a:gd name="connsiteX4" fmla="*/ 394907 w 904112"/>
                <a:gd name="connsiteY4" fmla="*/ 1096232 h 1096232"/>
                <a:gd name="connsiteX5" fmla="*/ 904113 w 904112"/>
                <a:gd name="connsiteY5" fmla="*/ 803434 h 1096232"/>
                <a:gd name="connsiteX6" fmla="*/ 904113 w 904112"/>
                <a:gd name="connsiteY6" fmla="*/ 330422 h 1096232"/>
                <a:gd name="connsiteX7" fmla="*/ 509302 w 904112"/>
                <a:gd name="connsiteY7" fmla="*/ 0 h 1096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04112" h="1096232">
                  <a:moveTo>
                    <a:pt x="509302" y="0"/>
                  </a:moveTo>
                  <a:lnTo>
                    <a:pt x="0" y="278321"/>
                  </a:lnTo>
                  <a:lnTo>
                    <a:pt x="0" y="278321"/>
                  </a:lnTo>
                  <a:lnTo>
                    <a:pt x="0" y="751427"/>
                  </a:lnTo>
                  <a:lnTo>
                    <a:pt x="394907" y="1096232"/>
                  </a:lnTo>
                  <a:lnTo>
                    <a:pt x="904113" y="803434"/>
                  </a:lnTo>
                  <a:lnTo>
                    <a:pt x="904113" y="330422"/>
                  </a:lnTo>
                  <a:lnTo>
                    <a:pt x="509302" y="0"/>
                  </a:lnTo>
                  <a:close/>
                </a:path>
              </a:pathLst>
            </a:custGeom>
            <a:noFill/>
            <a:ln w="9525" cap="rnd">
              <a:solidFill>
                <a:srgbClr val="263238"/>
              </a:solidFill>
              <a:custDash>
                <a:ds d="0" sp="225000"/>
              </a:custDash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781B0899-2E99-44FB-BFB8-8D098C1ECAAD}"/>
                </a:ext>
              </a:extLst>
            </p:cNvPr>
            <p:cNvSpPr/>
            <p:nvPr/>
          </p:nvSpPr>
          <p:spPr>
            <a:xfrm>
              <a:off x="8647874" y="1409491"/>
              <a:ext cx="896112" cy="344804"/>
            </a:xfrm>
            <a:custGeom>
              <a:avLst/>
              <a:gdLst>
                <a:gd name="connsiteX0" fmla="*/ 0 w 896112"/>
                <a:gd name="connsiteY0" fmla="*/ 0 h 344804"/>
                <a:gd name="connsiteX1" fmla="*/ 394907 w 896112"/>
                <a:gd name="connsiteY1" fmla="*/ 344805 h 344804"/>
                <a:gd name="connsiteX2" fmla="*/ 896112 w 896112"/>
                <a:gd name="connsiteY2" fmla="*/ 54578 h 344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6112" h="344804">
                  <a:moveTo>
                    <a:pt x="0" y="0"/>
                  </a:moveTo>
                  <a:lnTo>
                    <a:pt x="394907" y="344805"/>
                  </a:lnTo>
                  <a:lnTo>
                    <a:pt x="896112" y="54578"/>
                  </a:lnTo>
                </a:path>
              </a:pathLst>
            </a:custGeom>
            <a:noFill/>
            <a:ln w="9525" cap="rnd">
              <a:solidFill>
                <a:srgbClr val="263238"/>
              </a:solidFill>
              <a:custDash>
                <a:ds d="0" sp="225000"/>
              </a:custDash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A8A4993F-97E2-45C4-944A-DE0F470BA955}"/>
                </a:ext>
              </a:extLst>
            </p:cNvPr>
            <p:cNvSpPr/>
            <p:nvPr/>
          </p:nvSpPr>
          <p:spPr>
            <a:xfrm>
              <a:off x="9042780" y="1754296"/>
              <a:ext cx="9525" cy="473106"/>
            </a:xfrm>
            <a:custGeom>
              <a:avLst/>
              <a:gdLst>
                <a:gd name="connsiteX0" fmla="*/ 0 w 9525"/>
                <a:gd name="connsiteY0" fmla="*/ 0 h 473106"/>
                <a:gd name="connsiteX1" fmla="*/ 0 w 9525"/>
                <a:gd name="connsiteY1" fmla="*/ 473107 h 473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73106">
                  <a:moveTo>
                    <a:pt x="0" y="0"/>
                  </a:moveTo>
                  <a:lnTo>
                    <a:pt x="0" y="473107"/>
                  </a:lnTo>
                </a:path>
              </a:pathLst>
            </a:custGeom>
            <a:ln w="9525" cap="rnd">
              <a:solidFill>
                <a:srgbClr val="263238"/>
              </a:solidFill>
              <a:custDash>
                <a:ds d="0" sp="225000"/>
              </a:custDash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F5E9561B-2E1F-4CB5-93D6-3359E8DF69D9}"/>
                </a:ext>
              </a:extLst>
            </p:cNvPr>
            <p:cNvSpPr/>
            <p:nvPr/>
          </p:nvSpPr>
          <p:spPr>
            <a:xfrm>
              <a:off x="9157175" y="1131170"/>
              <a:ext cx="306609" cy="726566"/>
            </a:xfrm>
            <a:custGeom>
              <a:avLst/>
              <a:gdLst>
                <a:gd name="connsiteX0" fmla="*/ 0 w 306609"/>
                <a:gd name="connsiteY0" fmla="*/ 0 h 726566"/>
                <a:gd name="connsiteX1" fmla="*/ 0 w 306609"/>
                <a:gd name="connsiteY1" fmla="*/ 473107 h 726566"/>
                <a:gd name="connsiteX2" fmla="*/ 306610 w 306609"/>
                <a:gd name="connsiteY2" fmla="*/ 726567 h 72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6609" h="726566">
                  <a:moveTo>
                    <a:pt x="0" y="0"/>
                  </a:moveTo>
                  <a:lnTo>
                    <a:pt x="0" y="473107"/>
                  </a:lnTo>
                  <a:lnTo>
                    <a:pt x="306610" y="726567"/>
                  </a:lnTo>
                </a:path>
              </a:pathLst>
            </a:custGeom>
            <a:noFill/>
            <a:ln w="9525" cap="rnd">
              <a:solidFill>
                <a:srgbClr val="263238"/>
              </a:solidFill>
              <a:custDash>
                <a:ds d="0" sp="225000"/>
              </a:custDash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54BA187E-7B9E-4A7B-8D13-72657584FF3F}"/>
                </a:ext>
              </a:extLst>
            </p:cNvPr>
            <p:cNvSpPr/>
            <p:nvPr/>
          </p:nvSpPr>
          <p:spPr>
            <a:xfrm>
              <a:off x="8716454" y="1604277"/>
              <a:ext cx="440721" cy="238410"/>
            </a:xfrm>
            <a:custGeom>
              <a:avLst/>
              <a:gdLst>
                <a:gd name="connsiteX0" fmla="*/ 440722 w 440721"/>
                <a:gd name="connsiteY0" fmla="*/ 0 h 238410"/>
                <a:gd name="connsiteX1" fmla="*/ 0 w 440721"/>
                <a:gd name="connsiteY1" fmla="*/ 238411 h 238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721" h="238410">
                  <a:moveTo>
                    <a:pt x="440722" y="0"/>
                  </a:moveTo>
                  <a:lnTo>
                    <a:pt x="0" y="238411"/>
                  </a:lnTo>
                </a:path>
              </a:pathLst>
            </a:custGeom>
            <a:ln w="9525" cap="rnd">
              <a:solidFill>
                <a:srgbClr val="263238"/>
              </a:solidFill>
              <a:custDash>
                <a:ds d="0" sp="225000"/>
              </a:custDash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1944D7EF-9FFF-4602-9C59-55320785CD6B}"/>
              </a:ext>
            </a:extLst>
          </p:cNvPr>
          <p:cNvGrpSpPr/>
          <p:nvPr/>
        </p:nvGrpSpPr>
        <p:grpSpPr>
          <a:xfrm>
            <a:off x="8213724" y="1724639"/>
            <a:ext cx="588930" cy="817911"/>
            <a:chOff x="8213724" y="1724639"/>
            <a:chExt cx="588930" cy="817911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A66B8848-5DA7-4283-A944-4371F1810669}"/>
                </a:ext>
              </a:extLst>
            </p:cNvPr>
            <p:cNvSpPr/>
            <p:nvPr/>
          </p:nvSpPr>
          <p:spPr>
            <a:xfrm>
              <a:off x="8407748" y="1724639"/>
              <a:ext cx="394906" cy="817911"/>
            </a:xfrm>
            <a:custGeom>
              <a:avLst/>
              <a:gdLst>
                <a:gd name="connsiteX0" fmla="*/ 0 w 394906"/>
                <a:gd name="connsiteY0" fmla="*/ 0 h 817911"/>
                <a:gd name="connsiteX1" fmla="*/ 0 w 394906"/>
                <a:gd name="connsiteY1" fmla="*/ 473107 h 817911"/>
                <a:gd name="connsiteX2" fmla="*/ 394907 w 394906"/>
                <a:gd name="connsiteY2" fmla="*/ 817912 h 817911"/>
                <a:gd name="connsiteX3" fmla="*/ 394907 w 394906"/>
                <a:gd name="connsiteY3" fmla="*/ 344805 h 817911"/>
                <a:gd name="connsiteX4" fmla="*/ 0 w 394906"/>
                <a:gd name="connsiteY4" fmla="*/ 0 h 817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906" h="817911">
                  <a:moveTo>
                    <a:pt x="0" y="0"/>
                  </a:moveTo>
                  <a:lnTo>
                    <a:pt x="0" y="473107"/>
                  </a:lnTo>
                  <a:lnTo>
                    <a:pt x="394907" y="817912"/>
                  </a:lnTo>
                  <a:lnTo>
                    <a:pt x="394907" y="3448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2" name="Рисунок 3">
              <a:extLst>
                <a:ext uri="{FF2B5EF4-FFF2-40B4-BE49-F238E27FC236}">
                  <a16:creationId xmlns:a16="http://schemas.microsoft.com/office/drawing/2014/main" id="{929AA274-7B60-4F04-9950-D8455BCF4FFB}"/>
                </a:ext>
              </a:extLst>
            </p:cNvPr>
            <p:cNvGrpSpPr/>
            <p:nvPr/>
          </p:nvGrpSpPr>
          <p:grpSpPr>
            <a:xfrm>
              <a:off x="8213724" y="2107449"/>
              <a:ext cx="385857" cy="223265"/>
              <a:chOff x="8213724" y="1964703"/>
              <a:chExt cx="385857" cy="223265"/>
            </a:xfrm>
          </p:grpSpPr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964CA35B-887E-4B58-9123-8963D98A462D}"/>
                  </a:ext>
                </a:extLst>
              </p:cNvPr>
              <p:cNvSpPr/>
              <p:nvPr/>
            </p:nvSpPr>
            <p:spPr>
              <a:xfrm>
                <a:off x="8213724" y="2172729"/>
                <a:ext cx="26384" cy="15239"/>
              </a:xfrm>
              <a:custGeom>
                <a:avLst/>
                <a:gdLst>
                  <a:gd name="connsiteX0" fmla="*/ 26384 w 26384"/>
                  <a:gd name="connsiteY0" fmla="*/ 0 h 15239"/>
                  <a:gd name="connsiteX1" fmla="*/ 0 w 26384"/>
                  <a:gd name="connsiteY1" fmla="*/ 15240 h 1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384" h="15239">
                    <a:moveTo>
                      <a:pt x="26384" y="0"/>
                    </a:moveTo>
                    <a:lnTo>
                      <a:pt x="0" y="15240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DB33334E-E476-4E0C-A7E2-AED601F174D7}"/>
                  </a:ext>
                </a:extLst>
              </p:cNvPr>
              <p:cNvSpPr/>
              <p:nvPr/>
            </p:nvSpPr>
            <p:spPr>
              <a:xfrm>
                <a:off x="8267921" y="1994136"/>
                <a:ext cx="280701" cy="162496"/>
              </a:xfrm>
              <a:custGeom>
                <a:avLst/>
                <a:gdLst>
                  <a:gd name="connsiteX0" fmla="*/ 280702 w 280701"/>
                  <a:gd name="connsiteY0" fmla="*/ 0 h 162496"/>
                  <a:gd name="connsiteX1" fmla="*/ 0 w 280701"/>
                  <a:gd name="connsiteY1" fmla="*/ 162497 h 162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0701" h="162496">
                    <a:moveTo>
                      <a:pt x="280702" y="0"/>
                    </a:moveTo>
                    <a:lnTo>
                      <a:pt x="0" y="162497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D033EA24-3711-470A-9A2A-B49435F67018}"/>
                  </a:ext>
                </a:extLst>
              </p:cNvPr>
              <p:cNvSpPr/>
              <p:nvPr/>
            </p:nvSpPr>
            <p:spPr>
              <a:xfrm>
                <a:off x="8572626" y="1964703"/>
                <a:ext cx="26955" cy="15525"/>
              </a:xfrm>
              <a:custGeom>
                <a:avLst/>
                <a:gdLst>
                  <a:gd name="connsiteX0" fmla="*/ 26956 w 26955"/>
                  <a:gd name="connsiteY0" fmla="*/ 0 h 15525"/>
                  <a:gd name="connsiteX1" fmla="*/ 0 w 26955"/>
                  <a:gd name="connsiteY1" fmla="*/ 15526 h 15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955" h="15525">
                    <a:moveTo>
                      <a:pt x="26956" y="0"/>
                    </a:moveTo>
                    <a:lnTo>
                      <a:pt x="0" y="15526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ACF6EABB-98D6-43AC-8778-CB36404B5650}"/>
              </a:ext>
            </a:extLst>
          </p:cNvPr>
          <p:cNvGrpSpPr/>
          <p:nvPr/>
        </p:nvGrpSpPr>
        <p:grpSpPr>
          <a:xfrm>
            <a:off x="9260522" y="1837130"/>
            <a:ext cx="591121" cy="765810"/>
            <a:chOff x="9260522" y="1837130"/>
            <a:chExt cx="591121" cy="765810"/>
          </a:xfrm>
        </p:grpSpPr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1868A1A6-AC0B-42BE-933D-4336871158C8}"/>
                </a:ext>
              </a:extLst>
            </p:cNvPr>
            <p:cNvSpPr/>
            <p:nvPr/>
          </p:nvSpPr>
          <p:spPr>
            <a:xfrm>
              <a:off x="9260522" y="1837130"/>
              <a:ext cx="509206" cy="765810"/>
            </a:xfrm>
            <a:custGeom>
              <a:avLst/>
              <a:gdLst>
                <a:gd name="connsiteX0" fmla="*/ 0 w 509206"/>
                <a:gd name="connsiteY0" fmla="*/ 765810 h 765810"/>
                <a:gd name="connsiteX1" fmla="*/ 0 w 509206"/>
                <a:gd name="connsiteY1" fmla="*/ 292703 h 765810"/>
                <a:gd name="connsiteX2" fmla="*/ 509207 w 509206"/>
                <a:gd name="connsiteY2" fmla="*/ 0 h 765810"/>
                <a:gd name="connsiteX3" fmla="*/ 509207 w 509206"/>
                <a:gd name="connsiteY3" fmla="*/ 473107 h 765810"/>
                <a:gd name="connsiteX4" fmla="*/ 0 w 509206"/>
                <a:gd name="connsiteY4" fmla="*/ 765810 h 76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206" h="765810">
                  <a:moveTo>
                    <a:pt x="0" y="765810"/>
                  </a:moveTo>
                  <a:lnTo>
                    <a:pt x="0" y="292703"/>
                  </a:lnTo>
                  <a:lnTo>
                    <a:pt x="509207" y="0"/>
                  </a:lnTo>
                  <a:lnTo>
                    <a:pt x="509207" y="473107"/>
                  </a:lnTo>
                  <a:lnTo>
                    <a:pt x="0" y="765810"/>
                  </a:ln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58" name="Рисунок 3">
              <a:extLst>
                <a:ext uri="{FF2B5EF4-FFF2-40B4-BE49-F238E27FC236}">
                  <a16:creationId xmlns:a16="http://schemas.microsoft.com/office/drawing/2014/main" id="{929AA274-7B60-4F04-9950-D8455BCF4FFB}"/>
                </a:ext>
              </a:extLst>
            </p:cNvPr>
            <p:cNvGrpSpPr/>
            <p:nvPr/>
          </p:nvGrpSpPr>
          <p:grpSpPr>
            <a:xfrm>
              <a:off x="9530365" y="2228322"/>
              <a:ext cx="321278" cy="266604"/>
              <a:chOff x="9530365" y="2085576"/>
              <a:chExt cx="321278" cy="266604"/>
            </a:xfrm>
          </p:grpSpPr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E8AA0ABF-866E-4721-B47C-213AC81459F9}"/>
                  </a:ext>
                </a:extLst>
              </p:cNvPr>
              <p:cNvSpPr/>
              <p:nvPr/>
            </p:nvSpPr>
            <p:spPr>
              <a:xfrm>
                <a:off x="9822211" y="2327701"/>
                <a:ext cx="29432" cy="24479"/>
              </a:xfrm>
              <a:custGeom>
                <a:avLst/>
                <a:gdLst>
                  <a:gd name="connsiteX0" fmla="*/ 0 w 29432"/>
                  <a:gd name="connsiteY0" fmla="*/ 0 h 24479"/>
                  <a:gd name="connsiteX1" fmla="*/ 29432 w 29432"/>
                  <a:gd name="connsiteY1" fmla="*/ 24479 h 24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32" h="24479">
                    <a:moveTo>
                      <a:pt x="0" y="0"/>
                    </a:moveTo>
                    <a:lnTo>
                      <a:pt x="29432" y="24479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Полилиния: фигура 59">
                <a:extLst>
                  <a:ext uri="{FF2B5EF4-FFF2-40B4-BE49-F238E27FC236}">
                    <a16:creationId xmlns:a16="http://schemas.microsoft.com/office/drawing/2014/main" id="{495BCA9E-4E4D-4876-9AA5-A9E189DA09F5}"/>
                  </a:ext>
                </a:extLst>
              </p:cNvPr>
              <p:cNvSpPr/>
              <p:nvPr/>
            </p:nvSpPr>
            <p:spPr>
              <a:xfrm>
                <a:off x="9530365" y="2085576"/>
                <a:ext cx="272034" cy="225742"/>
              </a:xfrm>
              <a:custGeom>
                <a:avLst/>
                <a:gdLst>
                  <a:gd name="connsiteX0" fmla="*/ 0 w 272034"/>
                  <a:gd name="connsiteY0" fmla="*/ 0 h 225742"/>
                  <a:gd name="connsiteX1" fmla="*/ 272034 w 272034"/>
                  <a:gd name="connsiteY1" fmla="*/ 225742 h 225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72034" h="225742">
                    <a:moveTo>
                      <a:pt x="0" y="0"/>
                    </a:moveTo>
                    <a:lnTo>
                      <a:pt x="272034" y="225742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9B3CE9E0-5AC8-4F13-B54A-0FBA9A7F6090}"/>
              </a:ext>
            </a:extLst>
          </p:cNvPr>
          <p:cNvGrpSpPr/>
          <p:nvPr/>
        </p:nvGrpSpPr>
        <p:grpSpPr>
          <a:xfrm>
            <a:off x="8647874" y="910633"/>
            <a:ext cx="904112" cy="733901"/>
            <a:chOff x="8647874" y="910633"/>
            <a:chExt cx="904112" cy="733901"/>
          </a:xfrm>
        </p:grpSpPr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4A2D1B16-D890-4E27-97B4-AE373C607810}"/>
                </a:ext>
              </a:extLst>
            </p:cNvPr>
            <p:cNvSpPr/>
            <p:nvPr/>
          </p:nvSpPr>
          <p:spPr>
            <a:xfrm>
              <a:off x="8647874" y="1021504"/>
              <a:ext cx="904112" cy="623030"/>
            </a:xfrm>
            <a:custGeom>
              <a:avLst/>
              <a:gdLst>
                <a:gd name="connsiteX0" fmla="*/ 904113 w 904112"/>
                <a:gd name="connsiteY0" fmla="*/ 330327 h 623030"/>
                <a:gd name="connsiteX1" fmla="*/ 509302 w 904112"/>
                <a:gd name="connsiteY1" fmla="*/ 0 h 623030"/>
                <a:gd name="connsiteX2" fmla="*/ 0 w 904112"/>
                <a:gd name="connsiteY2" fmla="*/ 278321 h 623030"/>
                <a:gd name="connsiteX3" fmla="*/ 394907 w 904112"/>
                <a:gd name="connsiteY3" fmla="*/ 623030 h 623030"/>
                <a:gd name="connsiteX4" fmla="*/ 904113 w 904112"/>
                <a:gd name="connsiteY4" fmla="*/ 330327 h 62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4112" h="623030">
                  <a:moveTo>
                    <a:pt x="904113" y="330327"/>
                  </a:moveTo>
                  <a:lnTo>
                    <a:pt x="509302" y="0"/>
                  </a:lnTo>
                  <a:lnTo>
                    <a:pt x="0" y="278321"/>
                  </a:lnTo>
                  <a:lnTo>
                    <a:pt x="394907" y="623030"/>
                  </a:lnTo>
                  <a:lnTo>
                    <a:pt x="904113" y="330327"/>
                  </a:lnTo>
                  <a:close/>
                </a:path>
              </a:pathLst>
            </a:custGeom>
            <a:solidFill>
              <a:srgbClr val="006D3F"/>
            </a:solidFill>
            <a:ln w="952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8177F657-EEAA-48BE-8571-8CAC6AC31C67}"/>
                </a:ext>
              </a:extLst>
            </p:cNvPr>
            <p:cNvSpPr/>
            <p:nvPr/>
          </p:nvSpPr>
          <p:spPr>
            <a:xfrm>
              <a:off x="9093167" y="910633"/>
              <a:ext cx="9525" cy="51244"/>
            </a:xfrm>
            <a:custGeom>
              <a:avLst/>
              <a:gdLst>
                <a:gd name="connsiteX0" fmla="*/ 0 w 9525"/>
                <a:gd name="connsiteY0" fmla="*/ 51245 h 51244"/>
                <a:gd name="connsiteX1" fmla="*/ 0 w 9525"/>
                <a:gd name="connsiteY1" fmla="*/ 0 h 5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1244">
                  <a:moveTo>
                    <a:pt x="0" y="51245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Полилиния: фигура 95">
              <a:extLst>
                <a:ext uri="{FF2B5EF4-FFF2-40B4-BE49-F238E27FC236}">
                  <a16:creationId xmlns:a16="http://schemas.microsoft.com/office/drawing/2014/main" id="{F25A293D-D65F-40A8-9A81-696D27AAC5A9}"/>
                </a:ext>
              </a:extLst>
            </p:cNvPr>
            <p:cNvSpPr/>
            <p:nvPr/>
          </p:nvSpPr>
          <p:spPr>
            <a:xfrm>
              <a:off x="9093167" y="997882"/>
              <a:ext cx="9525" cy="312991"/>
            </a:xfrm>
            <a:custGeom>
              <a:avLst/>
              <a:gdLst>
                <a:gd name="connsiteX0" fmla="*/ 0 w 9525"/>
                <a:gd name="connsiteY0" fmla="*/ 312992 h 312991"/>
                <a:gd name="connsiteX1" fmla="*/ 0 w 9525"/>
                <a:gd name="connsiteY1" fmla="*/ 0 h 312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12991">
                  <a:moveTo>
                    <a:pt x="0" y="312992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68" name="ОТП_Logo">
            <a:extLst>
              <a:ext uri="{FF2B5EF4-FFF2-40B4-BE49-F238E27FC236}">
                <a16:creationId xmlns:a16="http://schemas.microsoft.com/office/drawing/2014/main" id="{BD9DBEB8-CD62-4880-8F6D-DA0A0D0C87C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15531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4.81481E-6 L 0.03242 -0.033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15" y="-169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4.44444E-6 L -0.03359 -0.0490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80" y="-245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2.59259E-6 L -0.00078 -0.07153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3588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1.11111E-6 L 0.02852 0.0439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9" y="219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1.11111E-6 L -0.02943 0.0277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71" y="138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2.22222E-6 L -4.16667E-6 0.06759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8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4 L -4.16667E-6 4.07407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16667E-6 -4.07407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16667E-6 -2.22222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23 L -4.16667E-6 1.11111E-6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E108EAE3-BF16-4D7B-BD5C-8E8B88B994E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05" name="Полилиния: фигура 104">
            <a:extLst>
              <a:ext uri="{FF2B5EF4-FFF2-40B4-BE49-F238E27FC236}">
                <a16:creationId xmlns:a16="http://schemas.microsoft.com/office/drawing/2014/main" id="{F5747E31-0E49-4F17-A460-6F4ED8122025}"/>
              </a:ext>
            </a:extLst>
          </p:cNvPr>
          <p:cNvSpPr/>
          <p:nvPr/>
        </p:nvSpPr>
        <p:spPr>
          <a:xfrm>
            <a:off x="5926931" y="5597342"/>
            <a:ext cx="6265069" cy="1260909"/>
          </a:xfrm>
          <a:custGeom>
            <a:avLst/>
            <a:gdLst>
              <a:gd name="connsiteX0" fmla="*/ 6082231 w 6083684"/>
              <a:gd name="connsiteY0" fmla="*/ 1224403 h 1224403"/>
              <a:gd name="connsiteX1" fmla="*/ 6083685 w 6083684"/>
              <a:gd name="connsiteY1" fmla="*/ 1181444 h 1224403"/>
              <a:gd name="connsiteX2" fmla="*/ 5894929 w 6083684"/>
              <a:gd name="connsiteY2" fmla="*/ 731760 h 1224403"/>
              <a:gd name="connsiteX3" fmla="*/ 5130519 w 6083684"/>
              <a:gd name="connsiteY3" fmla="*/ 0 h 1224403"/>
              <a:gd name="connsiteX4" fmla="*/ 4424534 w 6083684"/>
              <a:gd name="connsiteY4" fmla="*/ 469643 h 1224403"/>
              <a:gd name="connsiteX5" fmla="*/ 4086015 w 6083684"/>
              <a:gd name="connsiteY5" fmla="*/ 390731 h 1224403"/>
              <a:gd name="connsiteX6" fmla="*/ 3451673 w 6083684"/>
              <a:gd name="connsiteY6" fmla="*/ 727795 h 1224403"/>
              <a:gd name="connsiteX7" fmla="*/ 3226435 w 6083684"/>
              <a:gd name="connsiteY7" fmla="*/ 616630 h 1224403"/>
              <a:gd name="connsiteX8" fmla="*/ 2760228 w 6083684"/>
              <a:gd name="connsiteY8" fmla="*/ 324639 h 1224403"/>
              <a:gd name="connsiteX9" fmla="*/ 2280671 w 6083684"/>
              <a:gd name="connsiteY9" fmla="*/ 646767 h 1224403"/>
              <a:gd name="connsiteX10" fmla="*/ 2191184 w 6083684"/>
              <a:gd name="connsiteY10" fmla="*/ 638969 h 1224403"/>
              <a:gd name="connsiteX11" fmla="*/ 2057416 w 6083684"/>
              <a:gd name="connsiteY11" fmla="*/ 656549 h 1224403"/>
              <a:gd name="connsiteX12" fmla="*/ 1409855 w 6083684"/>
              <a:gd name="connsiteY12" fmla="*/ 324771 h 1224403"/>
              <a:gd name="connsiteX13" fmla="*/ 1039745 w 6083684"/>
              <a:gd name="connsiteY13" fmla="*/ 415713 h 1224403"/>
              <a:gd name="connsiteX14" fmla="*/ 772869 w 6083684"/>
              <a:gd name="connsiteY14" fmla="*/ 341691 h 1224403"/>
              <a:gd name="connsiteX15" fmla="*/ 281284 w 6083684"/>
              <a:gd name="connsiteY15" fmla="*/ 696336 h 1224403"/>
              <a:gd name="connsiteX16" fmla="*/ 0 w 6083684"/>
              <a:gd name="connsiteY16" fmla="*/ 1157123 h 1224403"/>
              <a:gd name="connsiteX17" fmla="*/ 1718 w 6083684"/>
              <a:gd name="connsiteY17" fmla="*/ 1199421 h 122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083684" h="1224403">
                <a:moveTo>
                  <a:pt x="6082231" y="1224403"/>
                </a:moveTo>
                <a:cubicBezTo>
                  <a:pt x="6083156" y="1210260"/>
                  <a:pt x="6083685" y="1195852"/>
                  <a:pt x="6083685" y="1181444"/>
                </a:cubicBezTo>
                <a:cubicBezTo>
                  <a:pt x="6083685" y="1005245"/>
                  <a:pt x="6011381" y="846098"/>
                  <a:pt x="5894929" y="731760"/>
                </a:cubicBezTo>
                <a:cubicBezTo>
                  <a:pt x="5877348" y="324639"/>
                  <a:pt x="5541870" y="0"/>
                  <a:pt x="5130519" y="0"/>
                </a:cubicBezTo>
                <a:cubicBezTo>
                  <a:pt x="4812621" y="0"/>
                  <a:pt x="4540193" y="193779"/>
                  <a:pt x="4424534" y="469643"/>
                </a:cubicBezTo>
                <a:cubicBezTo>
                  <a:pt x="4322489" y="419150"/>
                  <a:pt x="4207491" y="390731"/>
                  <a:pt x="4086015" y="390731"/>
                </a:cubicBezTo>
                <a:cubicBezTo>
                  <a:pt x="3822048" y="390731"/>
                  <a:pt x="3589275" y="524367"/>
                  <a:pt x="3451673" y="727795"/>
                </a:cubicBezTo>
                <a:cubicBezTo>
                  <a:pt x="3387961" y="673733"/>
                  <a:pt x="3311031" y="634871"/>
                  <a:pt x="3226435" y="616630"/>
                </a:cubicBezTo>
                <a:cubicBezTo>
                  <a:pt x="3142499" y="443868"/>
                  <a:pt x="2965243" y="324639"/>
                  <a:pt x="2760228" y="324639"/>
                </a:cubicBezTo>
                <a:cubicBezTo>
                  <a:pt x="2543449" y="324639"/>
                  <a:pt x="2357866" y="457747"/>
                  <a:pt x="2280671" y="646767"/>
                </a:cubicBezTo>
                <a:cubicBezTo>
                  <a:pt x="2251591" y="641744"/>
                  <a:pt x="2221718" y="638969"/>
                  <a:pt x="2191184" y="638969"/>
                </a:cubicBezTo>
                <a:cubicBezTo>
                  <a:pt x="2144920" y="638969"/>
                  <a:pt x="2100110" y="645181"/>
                  <a:pt x="2057416" y="656549"/>
                </a:cubicBezTo>
                <a:cubicBezTo>
                  <a:pt x="1912412" y="455632"/>
                  <a:pt x="1676466" y="324771"/>
                  <a:pt x="1409855" y="324771"/>
                </a:cubicBezTo>
                <a:cubicBezTo>
                  <a:pt x="1276219" y="324771"/>
                  <a:pt x="1150382" y="357817"/>
                  <a:pt x="1039745" y="415713"/>
                </a:cubicBezTo>
                <a:cubicBezTo>
                  <a:pt x="961757" y="368788"/>
                  <a:pt x="870420" y="341691"/>
                  <a:pt x="772869" y="341691"/>
                </a:cubicBezTo>
                <a:cubicBezTo>
                  <a:pt x="543930" y="341691"/>
                  <a:pt x="349754" y="490264"/>
                  <a:pt x="281284" y="696336"/>
                </a:cubicBezTo>
                <a:cubicBezTo>
                  <a:pt x="114338" y="782386"/>
                  <a:pt x="0" y="956338"/>
                  <a:pt x="0" y="1157123"/>
                </a:cubicBezTo>
                <a:cubicBezTo>
                  <a:pt x="0" y="1171398"/>
                  <a:pt x="529" y="1185542"/>
                  <a:pt x="1718" y="1199421"/>
                </a:cubicBezTo>
              </a:path>
            </a:pathLst>
          </a:custGeom>
          <a:solidFill>
            <a:srgbClr val="FFFFFF"/>
          </a:solidFill>
          <a:ln w="13213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6" name="Рисунок 3">
            <a:extLst>
              <a:ext uri="{FF2B5EF4-FFF2-40B4-BE49-F238E27FC236}">
                <a16:creationId xmlns:a16="http://schemas.microsoft.com/office/drawing/2014/main" id="{A4A89930-0E5E-4A8C-A53E-B6F111A4D6EF}"/>
              </a:ext>
            </a:extLst>
          </p:cNvPr>
          <p:cNvGrpSpPr/>
          <p:nvPr/>
        </p:nvGrpSpPr>
        <p:grpSpPr>
          <a:xfrm>
            <a:off x="8875160" y="1403846"/>
            <a:ext cx="2725563" cy="3669326"/>
            <a:chOff x="9198755" y="966190"/>
            <a:chExt cx="2646653" cy="3563092"/>
          </a:xfrm>
          <a:solidFill>
            <a:srgbClr val="FFFFFF"/>
          </a:solidFill>
        </p:grpSpPr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5733AF2D-B8C6-43C8-B937-2FE422D5CB36}"/>
                </a:ext>
              </a:extLst>
            </p:cNvPr>
            <p:cNvSpPr/>
            <p:nvPr/>
          </p:nvSpPr>
          <p:spPr>
            <a:xfrm>
              <a:off x="9198755" y="4018496"/>
              <a:ext cx="1678437" cy="510786"/>
            </a:xfrm>
            <a:custGeom>
              <a:avLst/>
              <a:gdLst>
                <a:gd name="connsiteX0" fmla="*/ 1350505 w 1678437"/>
                <a:gd name="connsiteY0" fmla="*/ 306830 h 510786"/>
                <a:gd name="connsiteX1" fmla="*/ 1129629 w 1678437"/>
                <a:gd name="connsiteY1" fmla="*/ 18012 h 510786"/>
                <a:gd name="connsiteX2" fmla="*/ 832351 w 1678437"/>
                <a:gd name="connsiteY2" fmla="*/ 119924 h 510786"/>
                <a:gd name="connsiteX3" fmla="*/ 747358 w 1678437"/>
                <a:gd name="connsiteY3" fmla="*/ 179406 h 510786"/>
                <a:gd name="connsiteX4" fmla="*/ 543533 w 1678437"/>
                <a:gd name="connsiteY4" fmla="*/ 162487 h 510786"/>
                <a:gd name="connsiteX5" fmla="*/ 441621 w 1678437"/>
                <a:gd name="connsiteY5" fmla="*/ 315422 h 510786"/>
                <a:gd name="connsiteX6" fmla="*/ 254715 w 1678437"/>
                <a:gd name="connsiteY6" fmla="*/ 315422 h 510786"/>
                <a:gd name="connsiteX7" fmla="*/ 186773 w 1678437"/>
                <a:gd name="connsiteY7" fmla="*/ 425794 h 510786"/>
                <a:gd name="connsiteX8" fmla="*/ 50890 w 1678437"/>
                <a:gd name="connsiteY8" fmla="*/ 417334 h 510786"/>
                <a:gd name="connsiteX9" fmla="*/ 0 w 1678437"/>
                <a:gd name="connsiteY9" fmla="*/ 510787 h 510786"/>
                <a:gd name="connsiteX10" fmla="*/ 1664570 w 1678437"/>
                <a:gd name="connsiteY10" fmla="*/ 510787 h 510786"/>
                <a:gd name="connsiteX11" fmla="*/ 1596628 w 1678437"/>
                <a:gd name="connsiteY11" fmla="*/ 340933 h 510786"/>
                <a:gd name="connsiteX12" fmla="*/ 1350373 w 1678437"/>
                <a:gd name="connsiteY12" fmla="*/ 306962 h 51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78437" h="510786">
                  <a:moveTo>
                    <a:pt x="1350505" y="306830"/>
                  </a:moveTo>
                  <a:cubicBezTo>
                    <a:pt x="1350505" y="306830"/>
                    <a:pt x="1265512" y="77494"/>
                    <a:pt x="1129629" y="18012"/>
                  </a:cubicBezTo>
                  <a:cubicBezTo>
                    <a:pt x="993746" y="-41470"/>
                    <a:pt x="874782" y="60442"/>
                    <a:pt x="832351" y="119924"/>
                  </a:cubicBezTo>
                  <a:cubicBezTo>
                    <a:pt x="789921" y="179406"/>
                    <a:pt x="789921" y="196326"/>
                    <a:pt x="747358" y="179406"/>
                  </a:cubicBezTo>
                  <a:cubicBezTo>
                    <a:pt x="704928" y="162487"/>
                    <a:pt x="636986" y="85953"/>
                    <a:pt x="543533" y="162487"/>
                  </a:cubicBezTo>
                  <a:cubicBezTo>
                    <a:pt x="450080" y="238888"/>
                    <a:pt x="492643" y="306830"/>
                    <a:pt x="441621" y="315422"/>
                  </a:cubicBezTo>
                  <a:cubicBezTo>
                    <a:pt x="390598" y="323881"/>
                    <a:pt x="322657" y="255940"/>
                    <a:pt x="254715" y="315422"/>
                  </a:cubicBezTo>
                  <a:cubicBezTo>
                    <a:pt x="186773" y="374904"/>
                    <a:pt x="186773" y="425794"/>
                    <a:pt x="186773" y="425794"/>
                  </a:cubicBezTo>
                  <a:cubicBezTo>
                    <a:pt x="186773" y="425794"/>
                    <a:pt x="93321" y="383363"/>
                    <a:pt x="50890" y="417334"/>
                  </a:cubicBezTo>
                  <a:cubicBezTo>
                    <a:pt x="8460" y="451305"/>
                    <a:pt x="0" y="510787"/>
                    <a:pt x="0" y="510787"/>
                  </a:cubicBezTo>
                  <a:lnTo>
                    <a:pt x="1664570" y="510787"/>
                  </a:lnTo>
                  <a:cubicBezTo>
                    <a:pt x="1664570" y="510787"/>
                    <a:pt x="1724052" y="391823"/>
                    <a:pt x="1596628" y="340933"/>
                  </a:cubicBezTo>
                  <a:cubicBezTo>
                    <a:pt x="1469205" y="290043"/>
                    <a:pt x="1409723" y="315422"/>
                    <a:pt x="1350373" y="306962"/>
                  </a:cubicBez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7D287259-3D85-4A04-95E2-CCE27B0356D8}"/>
                </a:ext>
              </a:extLst>
            </p:cNvPr>
            <p:cNvSpPr/>
            <p:nvPr/>
          </p:nvSpPr>
          <p:spPr>
            <a:xfrm>
              <a:off x="10166971" y="966190"/>
              <a:ext cx="1678437" cy="510786"/>
            </a:xfrm>
            <a:custGeom>
              <a:avLst/>
              <a:gdLst>
                <a:gd name="connsiteX0" fmla="*/ 1350505 w 1678437"/>
                <a:gd name="connsiteY0" fmla="*/ 306830 h 510786"/>
                <a:gd name="connsiteX1" fmla="*/ 1129629 w 1678437"/>
                <a:gd name="connsiteY1" fmla="*/ 18012 h 510786"/>
                <a:gd name="connsiteX2" fmla="*/ 832351 w 1678437"/>
                <a:gd name="connsiteY2" fmla="*/ 119924 h 510786"/>
                <a:gd name="connsiteX3" fmla="*/ 747358 w 1678437"/>
                <a:gd name="connsiteY3" fmla="*/ 179406 h 510786"/>
                <a:gd name="connsiteX4" fmla="*/ 543533 w 1678437"/>
                <a:gd name="connsiteY4" fmla="*/ 162487 h 510786"/>
                <a:gd name="connsiteX5" fmla="*/ 441621 w 1678437"/>
                <a:gd name="connsiteY5" fmla="*/ 315422 h 510786"/>
                <a:gd name="connsiteX6" fmla="*/ 254715 w 1678437"/>
                <a:gd name="connsiteY6" fmla="*/ 315422 h 510786"/>
                <a:gd name="connsiteX7" fmla="*/ 186773 w 1678437"/>
                <a:gd name="connsiteY7" fmla="*/ 425794 h 510786"/>
                <a:gd name="connsiteX8" fmla="*/ 50890 w 1678437"/>
                <a:gd name="connsiteY8" fmla="*/ 417334 h 510786"/>
                <a:gd name="connsiteX9" fmla="*/ 0 w 1678437"/>
                <a:gd name="connsiteY9" fmla="*/ 510787 h 510786"/>
                <a:gd name="connsiteX10" fmla="*/ 1664570 w 1678437"/>
                <a:gd name="connsiteY10" fmla="*/ 510787 h 510786"/>
                <a:gd name="connsiteX11" fmla="*/ 1596629 w 1678437"/>
                <a:gd name="connsiteY11" fmla="*/ 340933 h 510786"/>
                <a:gd name="connsiteX12" fmla="*/ 1350373 w 1678437"/>
                <a:gd name="connsiteY12" fmla="*/ 306962 h 510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78437" h="510786">
                  <a:moveTo>
                    <a:pt x="1350505" y="306830"/>
                  </a:moveTo>
                  <a:cubicBezTo>
                    <a:pt x="1350505" y="306830"/>
                    <a:pt x="1265512" y="77494"/>
                    <a:pt x="1129629" y="18012"/>
                  </a:cubicBezTo>
                  <a:cubicBezTo>
                    <a:pt x="993746" y="-41470"/>
                    <a:pt x="874782" y="60442"/>
                    <a:pt x="832351" y="119924"/>
                  </a:cubicBezTo>
                  <a:cubicBezTo>
                    <a:pt x="789921" y="179406"/>
                    <a:pt x="789921" y="196326"/>
                    <a:pt x="747358" y="179406"/>
                  </a:cubicBezTo>
                  <a:cubicBezTo>
                    <a:pt x="704928" y="162487"/>
                    <a:pt x="636986" y="85953"/>
                    <a:pt x="543533" y="162487"/>
                  </a:cubicBezTo>
                  <a:cubicBezTo>
                    <a:pt x="450081" y="238888"/>
                    <a:pt x="492643" y="306830"/>
                    <a:pt x="441621" y="315422"/>
                  </a:cubicBezTo>
                  <a:cubicBezTo>
                    <a:pt x="390599" y="323881"/>
                    <a:pt x="322657" y="255940"/>
                    <a:pt x="254715" y="315422"/>
                  </a:cubicBezTo>
                  <a:cubicBezTo>
                    <a:pt x="186773" y="374904"/>
                    <a:pt x="186773" y="425794"/>
                    <a:pt x="186773" y="425794"/>
                  </a:cubicBezTo>
                  <a:cubicBezTo>
                    <a:pt x="186773" y="425794"/>
                    <a:pt x="93321" y="383363"/>
                    <a:pt x="50890" y="417334"/>
                  </a:cubicBezTo>
                  <a:cubicBezTo>
                    <a:pt x="8460" y="451305"/>
                    <a:pt x="0" y="510787"/>
                    <a:pt x="0" y="510787"/>
                  </a:cubicBezTo>
                  <a:lnTo>
                    <a:pt x="1664570" y="510787"/>
                  </a:lnTo>
                  <a:cubicBezTo>
                    <a:pt x="1664570" y="510787"/>
                    <a:pt x="1724052" y="391955"/>
                    <a:pt x="1596629" y="340933"/>
                  </a:cubicBezTo>
                  <a:cubicBezTo>
                    <a:pt x="1469205" y="290043"/>
                    <a:pt x="1409723" y="315422"/>
                    <a:pt x="1350373" y="306962"/>
                  </a:cubicBez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" name="Рисунок 3">
            <a:extLst>
              <a:ext uri="{FF2B5EF4-FFF2-40B4-BE49-F238E27FC236}">
                <a16:creationId xmlns:a16="http://schemas.microsoft.com/office/drawing/2014/main" id="{A4A89930-0E5E-4A8C-A53E-B6F111A4D6EF}"/>
              </a:ext>
            </a:extLst>
          </p:cNvPr>
          <p:cNvGrpSpPr/>
          <p:nvPr/>
        </p:nvGrpSpPr>
        <p:grpSpPr>
          <a:xfrm>
            <a:off x="9904971" y="1791853"/>
            <a:ext cx="2271596" cy="2970211"/>
            <a:chOff x="9580223" y="1242402"/>
            <a:chExt cx="2887325" cy="3775302"/>
          </a:xfrm>
        </p:grpSpPr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418712C2-F2D3-4156-86B4-FC37CABB20D1}"/>
                </a:ext>
              </a:extLst>
            </p:cNvPr>
            <p:cNvSpPr/>
            <p:nvPr/>
          </p:nvSpPr>
          <p:spPr>
            <a:xfrm>
              <a:off x="12170271" y="1242402"/>
              <a:ext cx="13218" cy="1271724"/>
            </a:xfrm>
            <a:custGeom>
              <a:avLst/>
              <a:gdLst>
                <a:gd name="connsiteX0" fmla="*/ 0 w 13218"/>
                <a:gd name="connsiteY0" fmla="*/ 1271725 h 1271724"/>
                <a:gd name="connsiteX1" fmla="*/ 0 w 13218"/>
                <a:gd name="connsiteY1" fmla="*/ 0 h 127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8" h="1271724">
                  <a:moveTo>
                    <a:pt x="0" y="1271725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2B15C0B3-6A5A-44DB-91B5-2C01311680C9}"/>
                </a:ext>
              </a:extLst>
            </p:cNvPr>
            <p:cNvSpPr/>
            <p:nvPr/>
          </p:nvSpPr>
          <p:spPr>
            <a:xfrm>
              <a:off x="11219088" y="2083212"/>
              <a:ext cx="696203" cy="740616"/>
            </a:xfrm>
            <a:custGeom>
              <a:avLst/>
              <a:gdLst>
                <a:gd name="connsiteX0" fmla="*/ 696203 w 696203"/>
                <a:gd name="connsiteY0" fmla="*/ 740617 h 740616"/>
                <a:gd name="connsiteX1" fmla="*/ 0 w 696203"/>
                <a:gd name="connsiteY1" fmla="*/ 0 h 740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96203" h="740616">
                  <a:moveTo>
                    <a:pt x="696203" y="740617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2D421AA0-7E30-4A8E-A475-5FA69164A4C3}"/>
                </a:ext>
              </a:extLst>
            </p:cNvPr>
            <p:cNvSpPr/>
            <p:nvPr/>
          </p:nvSpPr>
          <p:spPr>
            <a:xfrm>
              <a:off x="9817825" y="3025936"/>
              <a:ext cx="2009301" cy="13218"/>
            </a:xfrm>
            <a:custGeom>
              <a:avLst/>
              <a:gdLst>
                <a:gd name="connsiteX0" fmla="*/ 2009301 w 2009301"/>
                <a:gd name="connsiteY0" fmla="*/ 0 h 13218"/>
                <a:gd name="connsiteX1" fmla="*/ 0 w 2009301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9301" h="13218">
                  <a:moveTo>
                    <a:pt x="2009301" y="0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701E372D-6A9A-45FE-95EB-AE11BCC24892}"/>
                </a:ext>
              </a:extLst>
            </p:cNvPr>
            <p:cNvSpPr/>
            <p:nvPr/>
          </p:nvSpPr>
          <p:spPr>
            <a:xfrm>
              <a:off x="9775262" y="2006811"/>
              <a:ext cx="1882935" cy="821776"/>
            </a:xfrm>
            <a:custGeom>
              <a:avLst/>
              <a:gdLst>
                <a:gd name="connsiteX0" fmla="*/ 1882935 w 1882935"/>
                <a:gd name="connsiteY0" fmla="*/ 821777 h 821776"/>
                <a:gd name="connsiteX1" fmla="*/ 0 w 1882935"/>
                <a:gd name="connsiteY1" fmla="*/ 0 h 82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82935" h="821776">
                  <a:moveTo>
                    <a:pt x="1882935" y="821777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588E799C-DDD5-4B09-9D38-16DCCEB821CA}"/>
                </a:ext>
              </a:extLst>
            </p:cNvPr>
            <p:cNvSpPr/>
            <p:nvPr/>
          </p:nvSpPr>
          <p:spPr>
            <a:xfrm>
              <a:off x="11732615" y="2861105"/>
              <a:ext cx="104820" cy="45735"/>
            </a:xfrm>
            <a:custGeom>
              <a:avLst/>
              <a:gdLst>
                <a:gd name="connsiteX0" fmla="*/ 104820 w 104820"/>
                <a:gd name="connsiteY0" fmla="*/ 45735 h 45735"/>
                <a:gd name="connsiteX1" fmla="*/ 0 w 104820"/>
                <a:gd name="connsiteY1" fmla="*/ 0 h 45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820" h="45735">
                  <a:moveTo>
                    <a:pt x="104820" y="45735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B373F90E-E79F-4870-A18D-4F12B47CFF2C}"/>
                </a:ext>
              </a:extLst>
            </p:cNvPr>
            <p:cNvSpPr/>
            <p:nvPr/>
          </p:nvSpPr>
          <p:spPr>
            <a:xfrm>
              <a:off x="11448424" y="4598111"/>
              <a:ext cx="52079" cy="117774"/>
            </a:xfrm>
            <a:custGeom>
              <a:avLst/>
              <a:gdLst>
                <a:gd name="connsiteX0" fmla="*/ 52080 w 52079"/>
                <a:gd name="connsiteY0" fmla="*/ 0 h 117774"/>
                <a:gd name="connsiteX1" fmla="*/ 0 w 52079"/>
                <a:gd name="connsiteY1" fmla="*/ 117774 h 11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079" h="117774">
                  <a:moveTo>
                    <a:pt x="52080" y="0"/>
                  </a:moveTo>
                  <a:lnTo>
                    <a:pt x="0" y="117774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4F1EF8D3-2CB6-4EAE-8B90-A4784199AF05}"/>
                </a:ext>
              </a:extLst>
            </p:cNvPr>
            <p:cNvSpPr/>
            <p:nvPr/>
          </p:nvSpPr>
          <p:spPr>
            <a:xfrm>
              <a:off x="11528262" y="3262145"/>
              <a:ext cx="562699" cy="1272914"/>
            </a:xfrm>
            <a:custGeom>
              <a:avLst/>
              <a:gdLst>
                <a:gd name="connsiteX0" fmla="*/ 562699 w 562699"/>
                <a:gd name="connsiteY0" fmla="*/ 0 h 1272914"/>
                <a:gd name="connsiteX1" fmla="*/ 0 w 562699"/>
                <a:gd name="connsiteY1" fmla="*/ 1272915 h 127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2699" h="1272914">
                  <a:moveTo>
                    <a:pt x="562699" y="0"/>
                  </a:moveTo>
                  <a:lnTo>
                    <a:pt x="0" y="1272915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4E0C84-2E56-4F71-8ADE-F100F2CE896F}"/>
                </a:ext>
              </a:extLst>
            </p:cNvPr>
            <p:cNvSpPr/>
            <p:nvPr/>
          </p:nvSpPr>
          <p:spPr>
            <a:xfrm>
              <a:off x="12170271" y="3297702"/>
              <a:ext cx="13218" cy="670824"/>
            </a:xfrm>
            <a:custGeom>
              <a:avLst/>
              <a:gdLst>
                <a:gd name="connsiteX0" fmla="*/ 0 w 13218"/>
                <a:gd name="connsiteY0" fmla="*/ 0 h 670824"/>
                <a:gd name="connsiteX1" fmla="*/ 0 w 13218"/>
                <a:gd name="connsiteY1" fmla="*/ 670825 h 670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8" h="670824">
                  <a:moveTo>
                    <a:pt x="0" y="0"/>
                  </a:moveTo>
                  <a:lnTo>
                    <a:pt x="0" y="670825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5461417C-9281-4F36-948B-5726173030DE}"/>
                </a:ext>
              </a:extLst>
            </p:cNvPr>
            <p:cNvSpPr/>
            <p:nvPr/>
          </p:nvSpPr>
          <p:spPr>
            <a:xfrm>
              <a:off x="12372642" y="3025936"/>
              <a:ext cx="94906" cy="13218"/>
            </a:xfrm>
            <a:custGeom>
              <a:avLst/>
              <a:gdLst>
                <a:gd name="connsiteX0" fmla="*/ 0 w 94906"/>
                <a:gd name="connsiteY0" fmla="*/ 0 h 13218"/>
                <a:gd name="connsiteX1" fmla="*/ 94907 w 94906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906" h="13218">
                  <a:moveTo>
                    <a:pt x="0" y="0"/>
                  </a:moveTo>
                  <a:lnTo>
                    <a:pt x="94907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624C5BF5-20E5-4C9C-A882-A73FBE64BEF3}"/>
                </a:ext>
              </a:extLst>
            </p:cNvPr>
            <p:cNvSpPr/>
            <p:nvPr/>
          </p:nvSpPr>
          <p:spPr>
            <a:xfrm>
              <a:off x="9580223" y="3315019"/>
              <a:ext cx="2156487" cy="1702685"/>
            </a:xfrm>
            <a:custGeom>
              <a:avLst/>
              <a:gdLst>
                <a:gd name="connsiteX0" fmla="*/ 3553850 w 3553849"/>
                <a:gd name="connsiteY0" fmla="*/ 0 h 2801865"/>
                <a:gd name="connsiteX1" fmla="*/ 0 w 3553849"/>
                <a:gd name="connsiteY1" fmla="*/ 2801866 h 280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3849" h="2801865">
                  <a:moveTo>
                    <a:pt x="3553850" y="0"/>
                  </a:moveTo>
                  <a:lnTo>
                    <a:pt x="0" y="2801866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7AE7D8BD-9EF5-4437-91BA-1FD0A24B9CF8}"/>
                </a:ext>
              </a:extLst>
            </p:cNvPr>
            <p:cNvSpPr/>
            <p:nvPr/>
          </p:nvSpPr>
          <p:spPr>
            <a:xfrm>
              <a:off x="11798971" y="3202002"/>
              <a:ext cx="81159" cy="63976"/>
            </a:xfrm>
            <a:custGeom>
              <a:avLst/>
              <a:gdLst>
                <a:gd name="connsiteX0" fmla="*/ 81160 w 81159"/>
                <a:gd name="connsiteY0" fmla="*/ 0 h 63976"/>
                <a:gd name="connsiteX1" fmla="*/ 0 w 81159"/>
                <a:gd name="connsiteY1" fmla="*/ 63976 h 63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159" h="63976">
                  <a:moveTo>
                    <a:pt x="81160" y="0"/>
                  </a:moveTo>
                  <a:lnTo>
                    <a:pt x="0" y="63976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A7781535-1E31-4592-8A13-2B7C695DDA58}"/>
                </a:ext>
              </a:extLst>
            </p:cNvPr>
            <p:cNvSpPr/>
            <p:nvPr/>
          </p:nvSpPr>
          <p:spPr>
            <a:xfrm>
              <a:off x="11888723" y="2247647"/>
              <a:ext cx="137601" cy="395489"/>
            </a:xfrm>
            <a:custGeom>
              <a:avLst/>
              <a:gdLst>
                <a:gd name="connsiteX0" fmla="*/ 137602 w 137601"/>
                <a:gd name="connsiteY0" fmla="*/ 395489 h 395489"/>
                <a:gd name="connsiteX1" fmla="*/ 0 w 137601"/>
                <a:gd name="connsiteY1" fmla="*/ 0 h 395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601" h="395489">
                  <a:moveTo>
                    <a:pt x="137602" y="395489"/>
                  </a:moveTo>
                  <a:lnTo>
                    <a:pt x="0" y="0"/>
                  </a:lnTo>
                </a:path>
              </a:pathLst>
            </a:custGeom>
            <a:ln w="1321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7" name="Рисунок 3">
            <a:extLst>
              <a:ext uri="{FF2B5EF4-FFF2-40B4-BE49-F238E27FC236}">
                <a16:creationId xmlns:a16="http://schemas.microsoft.com/office/drawing/2014/main" id="{A4A89930-0E5E-4A8C-A53E-B6F111A4D6EF}"/>
              </a:ext>
            </a:extLst>
          </p:cNvPr>
          <p:cNvGrpSpPr/>
          <p:nvPr/>
        </p:nvGrpSpPr>
        <p:grpSpPr>
          <a:xfrm>
            <a:off x="7158166" y="1741789"/>
            <a:ext cx="1242940" cy="4676920"/>
            <a:chOff x="7531470" y="1294349"/>
            <a:chExt cx="1206955" cy="4541515"/>
          </a:xfrm>
        </p:grpSpPr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88B80860-3E06-4A33-929D-BF45E0356533}"/>
                </a:ext>
              </a:extLst>
            </p:cNvPr>
            <p:cNvSpPr/>
            <p:nvPr/>
          </p:nvSpPr>
          <p:spPr>
            <a:xfrm>
              <a:off x="7531470" y="1294349"/>
              <a:ext cx="13218" cy="4541515"/>
            </a:xfrm>
            <a:custGeom>
              <a:avLst/>
              <a:gdLst>
                <a:gd name="connsiteX0" fmla="*/ 0 w 13218"/>
                <a:gd name="connsiteY0" fmla="*/ 0 h 4541515"/>
                <a:gd name="connsiteX1" fmla="*/ 0 w 13218"/>
                <a:gd name="connsiteY1" fmla="*/ 4541516 h 454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8" h="4541515">
                  <a:moveTo>
                    <a:pt x="0" y="0"/>
                  </a:moveTo>
                  <a:lnTo>
                    <a:pt x="0" y="4541516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85260560-6499-4F10-B8AC-0EF652B40233}"/>
                </a:ext>
              </a:extLst>
            </p:cNvPr>
            <p:cNvSpPr/>
            <p:nvPr/>
          </p:nvSpPr>
          <p:spPr>
            <a:xfrm>
              <a:off x="8738425" y="1294349"/>
              <a:ext cx="13218" cy="4541515"/>
            </a:xfrm>
            <a:custGeom>
              <a:avLst/>
              <a:gdLst>
                <a:gd name="connsiteX0" fmla="*/ 0 w 13218"/>
                <a:gd name="connsiteY0" fmla="*/ 0 h 4541515"/>
                <a:gd name="connsiteX1" fmla="*/ 0 w 13218"/>
                <a:gd name="connsiteY1" fmla="*/ 4541516 h 454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218" h="4541515">
                  <a:moveTo>
                    <a:pt x="0" y="0"/>
                  </a:moveTo>
                  <a:lnTo>
                    <a:pt x="0" y="4541516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DAFE4BF0-C519-4A4B-BCA8-6BA88E43A075}"/>
                </a:ext>
              </a:extLst>
            </p:cNvPr>
            <p:cNvSpPr/>
            <p:nvPr/>
          </p:nvSpPr>
          <p:spPr>
            <a:xfrm>
              <a:off x="7547992" y="1771527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D5739010-AA0A-4979-BF6B-8FF86F59E570}"/>
                </a:ext>
              </a:extLst>
            </p:cNvPr>
            <p:cNvSpPr/>
            <p:nvPr/>
          </p:nvSpPr>
          <p:spPr>
            <a:xfrm>
              <a:off x="7547992" y="2356565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DBC03B51-8EBB-4A39-87E4-8A1D63DA91C3}"/>
                </a:ext>
              </a:extLst>
            </p:cNvPr>
            <p:cNvSpPr/>
            <p:nvPr/>
          </p:nvSpPr>
          <p:spPr>
            <a:xfrm>
              <a:off x="7547992" y="2941471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C28000CF-1197-4A72-B9F7-9D42296A5E12}"/>
                </a:ext>
              </a:extLst>
            </p:cNvPr>
            <p:cNvSpPr/>
            <p:nvPr/>
          </p:nvSpPr>
          <p:spPr>
            <a:xfrm>
              <a:off x="7547992" y="3526377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B5449BC2-6C05-43D7-960E-62B0A92848C6}"/>
                </a:ext>
              </a:extLst>
            </p:cNvPr>
            <p:cNvSpPr/>
            <p:nvPr/>
          </p:nvSpPr>
          <p:spPr>
            <a:xfrm>
              <a:off x="7547992" y="4111284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: фигура 64">
              <a:extLst>
                <a:ext uri="{FF2B5EF4-FFF2-40B4-BE49-F238E27FC236}">
                  <a16:creationId xmlns:a16="http://schemas.microsoft.com/office/drawing/2014/main" id="{B4612A2D-6C5D-495D-892E-B540E5DF1270}"/>
                </a:ext>
              </a:extLst>
            </p:cNvPr>
            <p:cNvSpPr/>
            <p:nvPr/>
          </p:nvSpPr>
          <p:spPr>
            <a:xfrm>
              <a:off x="7547992" y="4696190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Полилиния: фигура 65">
              <a:extLst>
                <a:ext uri="{FF2B5EF4-FFF2-40B4-BE49-F238E27FC236}">
                  <a16:creationId xmlns:a16="http://schemas.microsoft.com/office/drawing/2014/main" id="{BBAE63B3-5844-4ADC-A92C-33CB55FFC223}"/>
                </a:ext>
              </a:extLst>
            </p:cNvPr>
            <p:cNvSpPr/>
            <p:nvPr/>
          </p:nvSpPr>
          <p:spPr>
            <a:xfrm>
              <a:off x="7547992" y="5281096"/>
              <a:ext cx="1163467" cy="13218"/>
            </a:xfrm>
            <a:custGeom>
              <a:avLst/>
              <a:gdLst>
                <a:gd name="connsiteX0" fmla="*/ 0 w 1163467"/>
                <a:gd name="connsiteY0" fmla="*/ 0 h 13218"/>
                <a:gd name="connsiteX1" fmla="*/ 1163467 w 1163467"/>
                <a:gd name="connsiteY1" fmla="*/ 0 h 13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3467" h="13218">
                  <a:moveTo>
                    <a:pt x="0" y="0"/>
                  </a:moveTo>
                  <a:lnTo>
                    <a:pt x="1163467" y="0"/>
                  </a:lnTo>
                </a:path>
              </a:pathLst>
            </a:custGeom>
            <a:ln w="7928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" name="Рисунок 3">
            <a:extLst>
              <a:ext uri="{FF2B5EF4-FFF2-40B4-BE49-F238E27FC236}">
                <a16:creationId xmlns:a16="http://schemas.microsoft.com/office/drawing/2014/main" id="{A4A89930-0E5E-4A8C-A53E-B6F111A4D6EF}"/>
              </a:ext>
            </a:extLst>
          </p:cNvPr>
          <p:cNvGrpSpPr/>
          <p:nvPr/>
        </p:nvGrpSpPr>
        <p:grpSpPr>
          <a:xfrm>
            <a:off x="7530560" y="1991261"/>
            <a:ext cx="1773235" cy="3983031"/>
            <a:chOff x="7893083" y="1536598"/>
            <a:chExt cx="1721897" cy="3867715"/>
          </a:xfrm>
        </p:grpSpPr>
        <p:grpSp>
          <p:nvGrpSpPr>
            <p:cNvPr id="68" name="Рисунок 3">
              <a:extLst>
                <a:ext uri="{FF2B5EF4-FFF2-40B4-BE49-F238E27FC236}">
                  <a16:creationId xmlns:a16="http://schemas.microsoft.com/office/drawing/2014/main" id="{A4A89930-0E5E-4A8C-A53E-B6F111A4D6EF}"/>
                </a:ext>
              </a:extLst>
            </p:cNvPr>
            <p:cNvGrpSpPr/>
            <p:nvPr/>
          </p:nvGrpSpPr>
          <p:grpSpPr>
            <a:xfrm>
              <a:off x="8252673" y="3932573"/>
              <a:ext cx="536642" cy="1471739"/>
              <a:chOff x="8252673" y="3932573"/>
              <a:chExt cx="536642" cy="1471739"/>
            </a:xfrm>
          </p:grpSpPr>
          <p:sp>
            <p:nvSpPr>
              <p:cNvPr id="69" name="Полилиния: фигура 68">
                <a:extLst>
                  <a:ext uri="{FF2B5EF4-FFF2-40B4-BE49-F238E27FC236}">
                    <a16:creationId xmlns:a16="http://schemas.microsoft.com/office/drawing/2014/main" id="{DE8646A3-714F-49F8-8AEA-D1C84F27B379}"/>
                  </a:ext>
                </a:extLst>
              </p:cNvPr>
              <p:cNvSpPr/>
              <p:nvPr/>
            </p:nvSpPr>
            <p:spPr>
              <a:xfrm>
                <a:off x="8252805" y="3932573"/>
                <a:ext cx="536509" cy="1471607"/>
              </a:xfrm>
              <a:custGeom>
                <a:avLst/>
                <a:gdLst>
                  <a:gd name="connsiteX0" fmla="*/ 217951 w 536509"/>
                  <a:gd name="connsiteY0" fmla="*/ 4230 h 1471607"/>
                  <a:gd name="connsiteX1" fmla="*/ 160716 w 536509"/>
                  <a:gd name="connsiteY1" fmla="*/ 551861 h 1471607"/>
                  <a:gd name="connsiteX2" fmla="*/ 222049 w 536509"/>
                  <a:gd name="connsiteY2" fmla="*/ 1222024 h 1471607"/>
                  <a:gd name="connsiteX3" fmla="*/ 66734 w 536509"/>
                  <a:gd name="connsiteY3" fmla="*/ 1254673 h 1471607"/>
                  <a:gd name="connsiteX4" fmla="*/ 5402 w 536509"/>
                  <a:gd name="connsiteY4" fmla="*/ 1279127 h 1471607"/>
                  <a:gd name="connsiteX5" fmla="*/ 87090 w 536509"/>
                  <a:gd name="connsiteY5" fmla="*/ 1344557 h 1471607"/>
                  <a:gd name="connsiteX6" fmla="*/ 176974 w 536509"/>
                  <a:gd name="connsiteY6" fmla="*/ 1418050 h 1471607"/>
                  <a:gd name="connsiteX7" fmla="*/ 315898 w 536509"/>
                  <a:gd name="connsiteY7" fmla="*/ 1442504 h 1471607"/>
                  <a:gd name="connsiteX8" fmla="*/ 324093 w 536509"/>
                  <a:gd name="connsiteY8" fmla="*/ 1225990 h 1471607"/>
                  <a:gd name="connsiteX9" fmla="*/ 397586 w 536509"/>
                  <a:gd name="connsiteY9" fmla="*/ 707043 h 1471607"/>
                  <a:gd name="connsiteX10" fmla="*/ 405782 w 536509"/>
                  <a:gd name="connsiteY10" fmla="*/ 351472 h 1471607"/>
                  <a:gd name="connsiteX11" fmla="*/ 536510 w 536509"/>
                  <a:gd name="connsiteY11" fmla="*/ 0 h 1471607"/>
                  <a:gd name="connsiteX12" fmla="*/ 217819 w 536509"/>
                  <a:gd name="connsiteY12" fmla="*/ 4098 h 1471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6509" h="1471607">
                    <a:moveTo>
                      <a:pt x="217951" y="4230"/>
                    </a:moveTo>
                    <a:cubicBezTo>
                      <a:pt x="217951" y="4230"/>
                      <a:pt x="144458" y="347507"/>
                      <a:pt x="160716" y="551861"/>
                    </a:cubicBezTo>
                    <a:cubicBezTo>
                      <a:pt x="177106" y="756214"/>
                      <a:pt x="222049" y="1222024"/>
                      <a:pt x="222049" y="1222024"/>
                    </a:cubicBezTo>
                    <a:cubicBezTo>
                      <a:pt x="222049" y="1222024"/>
                      <a:pt x="107579" y="1258771"/>
                      <a:pt x="66734" y="1254673"/>
                    </a:cubicBezTo>
                    <a:cubicBezTo>
                      <a:pt x="25890" y="1250576"/>
                      <a:pt x="-14954" y="1242380"/>
                      <a:pt x="5402" y="1279127"/>
                    </a:cubicBezTo>
                    <a:cubicBezTo>
                      <a:pt x="25890" y="1315874"/>
                      <a:pt x="38051" y="1315874"/>
                      <a:pt x="87090" y="1344557"/>
                    </a:cubicBezTo>
                    <a:cubicBezTo>
                      <a:pt x="136130" y="1373108"/>
                      <a:pt x="140228" y="1389499"/>
                      <a:pt x="176974" y="1418050"/>
                    </a:cubicBezTo>
                    <a:cubicBezTo>
                      <a:pt x="213721" y="1446602"/>
                      <a:pt x="287347" y="1507934"/>
                      <a:pt x="315898" y="1442504"/>
                    </a:cubicBezTo>
                    <a:cubicBezTo>
                      <a:pt x="344449" y="1377074"/>
                      <a:pt x="324093" y="1225990"/>
                      <a:pt x="324093" y="1225990"/>
                    </a:cubicBezTo>
                    <a:cubicBezTo>
                      <a:pt x="324093" y="1225990"/>
                      <a:pt x="373133" y="939948"/>
                      <a:pt x="397586" y="707043"/>
                    </a:cubicBezTo>
                    <a:cubicBezTo>
                      <a:pt x="422040" y="474137"/>
                      <a:pt x="405782" y="351472"/>
                      <a:pt x="405782" y="351472"/>
                    </a:cubicBezTo>
                    <a:lnTo>
                      <a:pt x="536510" y="0"/>
                    </a:lnTo>
                    <a:lnTo>
                      <a:pt x="217819" y="4098"/>
                    </a:lnTo>
                    <a:close/>
                  </a:path>
                </a:pathLst>
              </a:custGeom>
              <a:solidFill>
                <a:srgbClr val="FFFFFF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70" name="Рисунок 3">
                <a:extLst>
                  <a:ext uri="{FF2B5EF4-FFF2-40B4-BE49-F238E27FC236}">
                    <a16:creationId xmlns:a16="http://schemas.microsoft.com/office/drawing/2014/main" id="{A4A89930-0E5E-4A8C-A53E-B6F111A4D6EF}"/>
                  </a:ext>
                </a:extLst>
              </p:cNvPr>
              <p:cNvGrpSpPr/>
              <p:nvPr/>
            </p:nvGrpSpPr>
            <p:grpSpPr>
              <a:xfrm>
                <a:off x="8252673" y="5154598"/>
                <a:ext cx="331110" cy="249715"/>
                <a:chOff x="8252673" y="5154598"/>
                <a:chExt cx="331110" cy="249715"/>
              </a:xfrm>
            </p:grpSpPr>
            <p:sp>
              <p:nvSpPr>
                <p:cNvPr id="71" name="Полилиния: фигура 70">
                  <a:extLst>
                    <a:ext uri="{FF2B5EF4-FFF2-40B4-BE49-F238E27FC236}">
                      <a16:creationId xmlns:a16="http://schemas.microsoft.com/office/drawing/2014/main" id="{4FBBB754-C11F-418D-B935-DD9C19239A21}"/>
                    </a:ext>
                  </a:extLst>
                </p:cNvPr>
                <p:cNvSpPr/>
                <p:nvPr/>
              </p:nvSpPr>
              <p:spPr>
                <a:xfrm>
                  <a:off x="8252673" y="5154598"/>
                  <a:ext cx="331110" cy="249583"/>
                </a:xfrm>
                <a:custGeom>
                  <a:avLst/>
                  <a:gdLst>
                    <a:gd name="connsiteX0" fmla="*/ 246634 w 331110"/>
                    <a:gd name="connsiteY0" fmla="*/ 81688 h 249583"/>
                    <a:gd name="connsiteX1" fmla="*/ 222049 w 331110"/>
                    <a:gd name="connsiteY1" fmla="*/ 0 h 249583"/>
                    <a:gd name="connsiteX2" fmla="*/ 66735 w 331110"/>
                    <a:gd name="connsiteY2" fmla="*/ 32649 h 249583"/>
                    <a:gd name="connsiteX3" fmla="*/ 5402 w 331110"/>
                    <a:gd name="connsiteY3" fmla="*/ 57103 h 249583"/>
                    <a:gd name="connsiteX4" fmla="*/ 87091 w 331110"/>
                    <a:gd name="connsiteY4" fmla="*/ 122533 h 249583"/>
                    <a:gd name="connsiteX5" fmla="*/ 176974 w 331110"/>
                    <a:gd name="connsiteY5" fmla="*/ 196026 h 249583"/>
                    <a:gd name="connsiteX6" fmla="*/ 315898 w 331110"/>
                    <a:gd name="connsiteY6" fmla="*/ 220480 h 249583"/>
                    <a:gd name="connsiteX7" fmla="*/ 330835 w 331110"/>
                    <a:gd name="connsiteY7" fmla="*/ 92131 h 249583"/>
                    <a:gd name="connsiteX8" fmla="*/ 246502 w 331110"/>
                    <a:gd name="connsiteY8" fmla="*/ 81557 h 249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31110" h="249583">
                      <a:moveTo>
                        <a:pt x="246634" y="81688"/>
                      </a:moveTo>
                      <a:cubicBezTo>
                        <a:pt x="189400" y="49039"/>
                        <a:pt x="222049" y="0"/>
                        <a:pt x="222049" y="0"/>
                      </a:cubicBezTo>
                      <a:cubicBezTo>
                        <a:pt x="222049" y="0"/>
                        <a:pt x="107579" y="36747"/>
                        <a:pt x="66735" y="32649"/>
                      </a:cubicBezTo>
                      <a:cubicBezTo>
                        <a:pt x="25890" y="28551"/>
                        <a:pt x="-14954" y="20356"/>
                        <a:pt x="5402" y="57103"/>
                      </a:cubicBezTo>
                      <a:cubicBezTo>
                        <a:pt x="25890" y="93849"/>
                        <a:pt x="38051" y="93849"/>
                        <a:pt x="87091" y="122533"/>
                      </a:cubicBezTo>
                      <a:cubicBezTo>
                        <a:pt x="136130" y="151084"/>
                        <a:pt x="140228" y="167475"/>
                        <a:pt x="176974" y="196026"/>
                      </a:cubicBezTo>
                      <a:cubicBezTo>
                        <a:pt x="213721" y="224577"/>
                        <a:pt x="287346" y="285910"/>
                        <a:pt x="315898" y="220480"/>
                      </a:cubicBezTo>
                      <a:cubicBezTo>
                        <a:pt x="329777" y="188888"/>
                        <a:pt x="332024" y="137205"/>
                        <a:pt x="330835" y="92131"/>
                      </a:cubicBezTo>
                      <a:cubicBezTo>
                        <a:pt x="305720" y="96757"/>
                        <a:pt x="274128" y="97286"/>
                        <a:pt x="246502" y="81557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3213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" name="Полилиния: фигура 71">
                  <a:extLst>
                    <a:ext uri="{FF2B5EF4-FFF2-40B4-BE49-F238E27FC236}">
                      <a16:creationId xmlns:a16="http://schemas.microsoft.com/office/drawing/2014/main" id="{AC32FA5A-EEB1-431B-B300-77A595B00506}"/>
                    </a:ext>
                  </a:extLst>
                </p:cNvPr>
                <p:cNvSpPr/>
                <p:nvPr/>
              </p:nvSpPr>
              <p:spPr>
                <a:xfrm>
                  <a:off x="8252930" y="5184735"/>
                  <a:ext cx="316037" cy="219577"/>
                </a:xfrm>
                <a:custGeom>
                  <a:avLst/>
                  <a:gdLst>
                    <a:gd name="connsiteX0" fmla="*/ 315905 w 316037"/>
                    <a:gd name="connsiteY0" fmla="*/ 190475 h 219577"/>
                    <a:gd name="connsiteX1" fmla="*/ 316037 w 316037"/>
                    <a:gd name="connsiteY1" fmla="*/ 190078 h 219577"/>
                    <a:gd name="connsiteX2" fmla="*/ 184120 w 316037"/>
                    <a:gd name="connsiteY2" fmla="*/ 129406 h 219577"/>
                    <a:gd name="connsiteX3" fmla="*/ 80885 w 316037"/>
                    <a:gd name="connsiteY3" fmla="*/ 65298 h 219577"/>
                    <a:gd name="connsiteX4" fmla="*/ 11093 w 316037"/>
                    <a:gd name="connsiteY4" fmla="*/ 0 h 219577"/>
                    <a:gd name="connsiteX5" fmla="*/ 5409 w 316037"/>
                    <a:gd name="connsiteY5" fmla="*/ 27097 h 219577"/>
                    <a:gd name="connsiteX6" fmla="*/ 87098 w 316037"/>
                    <a:gd name="connsiteY6" fmla="*/ 92528 h 219577"/>
                    <a:gd name="connsiteX7" fmla="*/ 176982 w 316037"/>
                    <a:gd name="connsiteY7" fmla="*/ 166021 h 219577"/>
                    <a:gd name="connsiteX8" fmla="*/ 315905 w 316037"/>
                    <a:gd name="connsiteY8" fmla="*/ 190475 h 2195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6037" h="219577">
                      <a:moveTo>
                        <a:pt x="315905" y="190475"/>
                      </a:moveTo>
                      <a:cubicBezTo>
                        <a:pt x="315905" y="190475"/>
                        <a:pt x="315905" y="190210"/>
                        <a:pt x="316037" y="190078"/>
                      </a:cubicBezTo>
                      <a:cubicBezTo>
                        <a:pt x="274797" y="182279"/>
                        <a:pt x="220998" y="160734"/>
                        <a:pt x="184120" y="129406"/>
                      </a:cubicBezTo>
                      <a:cubicBezTo>
                        <a:pt x="128339" y="81953"/>
                        <a:pt x="120011" y="87505"/>
                        <a:pt x="80885" y="65298"/>
                      </a:cubicBezTo>
                      <a:cubicBezTo>
                        <a:pt x="50880" y="48115"/>
                        <a:pt x="22593" y="14672"/>
                        <a:pt x="11093" y="0"/>
                      </a:cubicBezTo>
                      <a:cubicBezTo>
                        <a:pt x="-142" y="2511"/>
                        <a:pt x="-4240" y="9781"/>
                        <a:pt x="5409" y="27097"/>
                      </a:cubicBezTo>
                      <a:cubicBezTo>
                        <a:pt x="25898" y="63844"/>
                        <a:pt x="38058" y="63844"/>
                        <a:pt x="87098" y="92528"/>
                      </a:cubicBezTo>
                      <a:cubicBezTo>
                        <a:pt x="136137" y="121079"/>
                        <a:pt x="140235" y="137469"/>
                        <a:pt x="176982" y="166021"/>
                      </a:cubicBezTo>
                      <a:cubicBezTo>
                        <a:pt x="213729" y="194572"/>
                        <a:pt x="287354" y="255905"/>
                        <a:pt x="315905" y="19047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21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73" name="Рисунок 3">
              <a:extLst>
                <a:ext uri="{FF2B5EF4-FFF2-40B4-BE49-F238E27FC236}">
                  <a16:creationId xmlns:a16="http://schemas.microsoft.com/office/drawing/2014/main" id="{A4A89930-0E5E-4A8C-A53E-B6F111A4D6EF}"/>
                </a:ext>
              </a:extLst>
            </p:cNvPr>
            <p:cNvGrpSpPr/>
            <p:nvPr/>
          </p:nvGrpSpPr>
          <p:grpSpPr>
            <a:xfrm>
              <a:off x="7893083" y="3450505"/>
              <a:ext cx="353480" cy="1373672"/>
              <a:chOff x="7893083" y="3450505"/>
              <a:chExt cx="353480" cy="1373672"/>
            </a:xfrm>
          </p:grpSpPr>
          <p:sp>
            <p:nvSpPr>
              <p:cNvPr id="74" name="Полилиния: фигура 73">
                <a:extLst>
                  <a:ext uri="{FF2B5EF4-FFF2-40B4-BE49-F238E27FC236}">
                    <a16:creationId xmlns:a16="http://schemas.microsoft.com/office/drawing/2014/main" id="{300E970B-4EC3-4E30-BAC7-D41C1ACC190C}"/>
                  </a:ext>
                </a:extLst>
              </p:cNvPr>
              <p:cNvSpPr/>
              <p:nvPr/>
            </p:nvSpPr>
            <p:spPr>
              <a:xfrm>
                <a:off x="7893083" y="3450505"/>
                <a:ext cx="353480" cy="1373672"/>
              </a:xfrm>
              <a:custGeom>
                <a:avLst/>
                <a:gdLst>
                  <a:gd name="connsiteX0" fmla="*/ 62691 w 353480"/>
                  <a:gd name="connsiteY0" fmla="*/ 0 h 1373672"/>
                  <a:gd name="connsiteX1" fmla="*/ 1358 w 353480"/>
                  <a:gd name="connsiteY1" fmla="*/ 151216 h 1373672"/>
                  <a:gd name="connsiteX2" fmla="*/ 148477 w 353480"/>
                  <a:gd name="connsiteY2" fmla="*/ 666066 h 1373672"/>
                  <a:gd name="connsiteX3" fmla="*/ 226068 w 353480"/>
                  <a:gd name="connsiteY3" fmla="*/ 1078739 h 1373672"/>
                  <a:gd name="connsiteX4" fmla="*/ 66656 w 353480"/>
                  <a:gd name="connsiteY4" fmla="*/ 1050187 h 1373672"/>
                  <a:gd name="connsiteX5" fmla="*/ 21714 w 353480"/>
                  <a:gd name="connsiteY5" fmla="*/ 1115618 h 1373672"/>
                  <a:gd name="connsiteX6" fmla="*/ 242326 w 353480"/>
                  <a:gd name="connsiteY6" fmla="*/ 1332132 h 1373672"/>
                  <a:gd name="connsiteX7" fmla="*/ 344503 w 353480"/>
                  <a:gd name="connsiteY7" fmla="*/ 1344425 h 1373672"/>
                  <a:gd name="connsiteX8" fmla="*/ 336440 w 353480"/>
                  <a:gd name="connsiteY8" fmla="*/ 1006567 h 1373672"/>
                  <a:gd name="connsiteX9" fmla="*/ 329435 w 353480"/>
                  <a:gd name="connsiteY9" fmla="*/ 524499 h 1373672"/>
                  <a:gd name="connsiteX10" fmla="*/ 324147 w 353480"/>
                  <a:gd name="connsiteY10" fmla="*/ 380156 h 1373672"/>
                  <a:gd name="connsiteX11" fmla="*/ 62559 w 353480"/>
                  <a:gd name="connsiteY11" fmla="*/ 132 h 1373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3480" h="1373672">
                    <a:moveTo>
                      <a:pt x="62691" y="0"/>
                    </a:moveTo>
                    <a:cubicBezTo>
                      <a:pt x="62691" y="0"/>
                      <a:pt x="-10802" y="102177"/>
                      <a:pt x="1358" y="151216"/>
                    </a:cubicBezTo>
                    <a:cubicBezTo>
                      <a:pt x="13519" y="200256"/>
                      <a:pt x="74852" y="433161"/>
                      <a:pt x="148477" y="666066"/>
                    </a:cubicBezTo>
                    <a:cubicBezTo>
                      <a:pt x="221970" y="898971"/>
                      <a:pt x="226068" y="1078739"/>
                      <a:pt x="226068" y="1078739"/>
                    </a:cubicBezTo>
                    <a:cubicBezTo>
                      <a:pt x="226068" y="1078739"/>
                      <a:pt x="136184" y="1074641"/>
                      <a:pt x="66656" y="1050187"/>
                    </a:cubicBezTo>
                    <a:cubicBezTo>
                      <a:pt x="-2871" y="1025734"/>
                      <a:pt x="-6837" y="1074641"/>
                      <a:pt x="21714" y="1115618"/>
                    </a:cubicBezTo>
                    <a:cubicBezTo>
                      <a:pt x="50266" y="1156594"/>
                      <a:pt x="168833" y="1279127"/>
                      <a:pt x="242326" y="1332132"/>
                    </a:cubicBezTo>
                    <a:cubicBezTo>
                      <a:pt x="315820" y="1385269"/>
                      <a:pt x="328113" y="1385269"/>
                      <a:pt x="344503" y="1344425"/>
                    </a:cubicBezTo>
                    <a:cubicBezTo>
                      <a:pt x="360894" y="1303581"/>
                      <a:pt x="352831" y="1104646"/>
                      <a:pt x="336440" y="1006567"/>
                    </a:cubicBezTo>
                    <a:cubicBezTo>
                      <a:pt x="320050" y="908488"/>
                      <a:pt x="326527" y="588211"/>
                      <a:pt x="329435" y="524499"/>
                    </a:cubicBezTo>
                    <a:cubicBezTo>
                      <a:pt x="333003" y="447040"/>
                      <a:pt x="324147" y="380156"/>
                      <a:pt x="324147" y="380156"/>
                    </a:cubicBezTo>
                    <a:lnTo>
                      <a:pt x="62559" y="132"/>
                    </a:lnTo>
                    <a:close/>
                  </a:path>
                </a:pathLst>
              </a:custGeom>
              <a:solidFill>
                <a:srgbClr val="FFFFFF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" name="Полилиния: фигура 74">
                <a:extLst>
                  <a:ext uri="{FF2B5EF4-FFF2-40B4-BE49-F238E27FC236}">
                    <a16:creationId xmlns:a16="http://schemas.microsoft.com/office/drawing/2014/main" id="{50E0F7C4-03CC-494E-8CAE-112BA13932DB}"/>
                  </a:ext>
                </a:extLst>
              </p:cNvPr>
              <p:cNvSpPr/>
              <p:nvPr/>
            </p:nvSpPr>
            <p:spPr>
              <a:xfrm>
                <a:off x="7945596" y="3621681"/>
                <a:ext cx="66487" cy="12557"/>
              </a:xfrm>
              <a:custGeom>
                <a:avLst/>
                <a:gdLst>
                  <a:gd name="connsiteX0" fmla="*/ 0 w 66487"/>
                  <a:gd name="connsiteY0" fmla="*/ 0 h 12557"/>
                  <a:gd name="connsiteX1" fmla="*/ 66488 w 66487"/>
                  <a:gd name="connsiteY1" fmla="*/ 12557 h 12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6487" h="12557">
                    <a:moveTo>
                      <a:pt x="0" y="0"/>
                    </a:moveTo>
                    <a:lnTo>
                      <a:pt x="66488" y="12557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76" name="Рисунок 3">
                <a:extLst>
                  <a:ext uri="{FF2B5EF4-FFF2-40B4-BE49-F238E27FC236}">
                    <a16:creationId xmlns:a16="http://schemas.microsoft.com/office/drawing/2014/main" id="{A4A89930-0E5E-4A8C-A53E-B6F111A4D6EF}"/>
                  </a:ext>
                </a:extLst>
              </p:cNvPr>
              <p:cNvGrpSpPr/>
              <p:nvPr/>
            </p:nvGrpSpPr>
            <p:grpSpPr>
              <a:xfrm>
                <a:off x="7898266" y="4494138"/>
                <a:ext cx="347451" cy="330039"/>
                <a:chOff x="7898266" y="4494138"/>
                <a:chExt cx="347451" cy="330039"/>
              </a:xfrm>
            </p:grpSpPr>
            <p:sp>
              <p:nvSpPr>
                <p:cNvPr id="77" name="Полилиния: фигура 76">
                  <a:extLst>
                    <a:ext uri="{FF2B5EF4-FFF2-40B4-BE49-F238E27FC236}">
                      <a16:creationId xmlns:a16="http://schemas.microsoft.com/office/drawing/2014/main" id="{65EA1F0A-5F73-49A7-BC68-DFCAD20D9F9E}"/>
                    </a:ext>
                  </a:extLst>
                </p:cNvPr>
                <p:cNvSpPr/>
                <p:nvPr/>
              </p:nvSpPr>
              <p:spPr>
                <a:xfrm>
                  <a:off x="7898266" y="4494138"/>
                  <a:ext cx="347451" cy="330039"/>
                </a:xfrm>
                <a:custGeom>
                  <a:avLst/>
                  <a:gdLst>
                    <a:gd name="connsiteX0" fmla="*/ 237408 w 347451"/>
                    <a:gd name="connsiteY0" fmla="*/ 104633 h 330039"/>
                    <a:gd name="connsiteX1" fmla="*/ 221017 w 347451"/>
                    <a:gd name="connsiteY1" fmla="*/ 35106 h 330039"/>
                    <a:gd name="connsiteX2" fmla="*/ 61605 w 347451"/>
                    <a:gd name="connsiteY2" fmla="*/ 6554 h 330039"/>
                    <a:gd name="connsiteX3" fmla="*/ 16664 w 347451"/>
                    <a:gd name="connsiteY3" fmla="*/ 71984 h 330039"/>
                    <a:gd name="connsiteX4" fmla="*/ 237276 w 347451"/>
                    <a:gd name="connsiteY4" fmla="*/ 288499 h 330039"/>
                    <a:gd name="connsiteX5" fmla="*/ 339452 w 347451"/>
                    <a:gd name="connsiteY5" fmla="*/ 300792 h 330039"/>
                    <a:gd name="connsiteX6" fmla="*/ 345533 w 347451"/>
                    <a:gd name="connsiteY6" fmla="*/ 135300 h 330039"/>
                    <a:gd name="connsiteX7" fmla="*/ 237408 w 347451"/>
                    <a:gd name="connsiteY7" fmla="*/ 104633 h 330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7451" h="330039">
                      <a:moveTo>
                        <a:pt x="237408" y="104633"/>
                      </a:moveTo>
                      <a:cubicBezTo>
                        <a:pt x="208856" y="63789"/>
                        <a:pt x="221017" y="35106"/>
                        <a:pt x="221017" y="35106"/>
                      </a:cubicBezTo>
                      <a:cubicBezTo>
                        <a:pt x="221017" y="35106"/>
                        <a:pt x="131133" y="31008"/>
                        <a:pt x="61605" y="6554"/>
                      </a:cubicBezTo>
                      <a:cubicBezTo>
                        <a:pt x="-7922" y="-17899"/>
                        <a:pt x="-11888" y="31008"/>
                        <a:pt x="16664" y="71984"/>
                      </a:cubicBezTo>
                      <a:cubicBezTo>
                        <a:pt x="45215" y="112829"/>
                        <a:pt x="163782" y="235494"/>
                        <a:pt x="237276" y="288499"/>
                      </a:cubicBezTo>
                      <a:cubicBezTo>
                        <a:pt x="310769" y="341636"/>
                        <a:pt x="323062" y="341636"/>
                        <a:pt x="339452" y="300792"/>
                      </a:cubicBezTo>
                      <a:cubicBezTo>
                        <a:pt x="347516" y="280700"/>
                        <a:pt x="349366" y="229413"/>
                        <a:pt x="345533" y="135300"/>
                      </a:cubicBezTo>
                      <a:cubicBezTo>
                        <a:pt x="317378" y="148386"/>
                        <a:pt x="258557" y="134903"/>
                        <a:pt x="237408" y="104633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3213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" name="Полилиния: фигура 77">
                  <a:extLst>
                    <a:ext uri="{FF2B5EF4-FFF2-40B4-BE49-F238E27FC236}">
                      <a16:creationId xmlns:a16="http://schemas.microsoft.com/office/drawing/2014/main" id="{3364033A-55FF-4EB0-A775-CBDFEB476FAD}"/>
                    </a:ext>
                  </a:extLst>
                </p:cNvPr>
                <p:cNvSpPr/>
                <p:nvPr/>
              </p:nvSpPr>
              <p:spPr>
                <a:xfrm>
                  <a:off x="7898362" y="4505847"/>
                  <a:ext cx="343057" cy="318330"/>
                </a:xfrm>
                <a:custGeom>
                  <a:avLst/>
                  <a:gdLst>
                    <a:gd name="connsiteX0" fmla="*/ 237312 w 343057"/>
                    <a:gd name="connsiteY0" fmla="*/ 276789 h 318330"/>
                    <a:gd name="connsiteX1" fmla="*/ 339489 w 343057"/>
                    <a:gd name="connsiteY1" fmla="*/ 289083 h 318330"/>
                    <a:gd name="connsiteX2" fmla="*/ 343058 w 343057"/>
                    <a:gd name="connsiteY2" fmla="*/ 275600 h 318330"/>
                    <a:gd name="connsiteX3" fmla="*/ 142405 w 343057"/>
                    <a:gd name="connsiteY3" fmla="*/ 155446 h 318330"/>
                    <a:gd name="connsiteX4" fmla="*/ 4010 w 343057"/>
                    <a:gd name="connsiteY4" fmla="*/ 0 h 318330"/>
                    <a:gd name="connsiteX5" fmla="*/ 16568 w 343057"/>
                    <a:gd name="connsiteY5" fmla="*/ 60275 h 318330"/>
                    <a:gd name="connsiteX6" fmla="*/ 237180 w 343057"/>
                    <a:gd name="connsiteY6" fmla="*/ 276789 h 318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43057" h="318330">
                      <a:moveTo>
                        <a:pt x="237312" y="276789"/>
                      </a:moveTo>
                      <a:cubicBezTo>
                        <a:pt x="310805" y="329927"/>
                        <a:pt x="323098" y="329927"/>
                        <a:pt x="339489" y="289083"/>
                      </a:cubicBezTo>
                      <a:cubicBezTo>
                        <a:pt x="340943" y="285513"/>
                        <a:pt x="342132" y="281019"/>
                        <a:pt x="343058" y="275600"/>
                      </a:cubicBezTo>
                      <a:cubicBezTo>
                        <a:pt x="286616" y="273221"/>
                        <a:pt x="224755" y="237796"/>
                        <a:pt x="142405" y="155446"/>
                      </a:cubicBezTo>
                      <a:cubicBezTo>
                        <a:pt x="64021" y="77062"/>
                        <a:pt x="19872" y="21017"/>
                        <a:pt x="4010" y="0"/>
                      </a:cubicBezTo>
                      <a:cubicBezTo>
                        <a:pt x="-4581" y="14011"/>
                        <a:pt x="1102" y="38201"/>
                        <a:pt x="16568" y="60275"/>
                      </a:cubicBezTo>
                      <a:cubicBezTo>
                        <a:pt x="45119" y="101119"/>
                        <a:pt x="163687" y="223785"/>
                        <a:pt x="237180" y="27678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21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79" name="Полилиния: фигура 78">
              <a:extLst>
                <a:ext uri="{FF2B5EF4-FFF2-40B4-BE49-F238E27FC236}">
                  <a16:creationId xmlns:a16="http://schemas.microsoft.com/office/drawing/2014/main" id="{00655C3E-F991-4846-9C21-B9C76C38B9DE}"/>
                </a:ext>
              </a:extLst>
            </p:cNvPr>
            <p:cNvSpPr/>
            <p:nvPr/>
          </p:nvSpPr>
          <p:spPr>
            <a:xfrm>
              <a:off x="7955614" y="3070349"/>
              <a:ext cx="1049402" cy="939947"/>
            </a:xfrm>
            <a:custGeom>
              <a:avLst/>
              <a:gdLst>
                <a:gd name="connsiteX0" fmla="*/ 323081 w 1049402"/>
                <a:gd name="connsiteY0" fmla="*/ 132 h 939947"/>
                <a:gd name="connsiteX1" fmla="*/ 292 w 1049402"/>
                <a:gd name="connsiteY1" fmla="*/ 380156 h 939947"/>
                <a:gd name="connsiteX2" fmla="*/ 122825 w 1049402"/>
                <a:gd name="connsiteY2" fmla="*/ 723433 h 939947"/>
                <a:gd name="connsiteX3" fmla="*/ 633577 w 1049402"/>
                <a:gd name="connsiteY3" fmla="*/ 939948 h 939947"/>
                <a:gd name="connsiteX4" fmla="*/ 866482 w 1049402"/>
                <a:gd name="connsiteY4" fmla="*/ 890908 h 939947"/>
                <a:gd name="connsiteX5" fmla="*/ 1048894 w 1049402"/>
                <a:gd name="connsiteY5" fmla="*/ 395621 h 939947"/>
                <a:gd name="connsiteX6" fmla="*/ 1029595 w 1049402"/>
                <a:gd name="connsiteY6" fmla="*/ 154389 h 939947"/>
                <a:gd name="connsiteX7" fmla="*/ 323081 w 1049402"/>
                <a:gd name="connsiteY7" fmla="*/ 0 h 93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9402" h="939947">
                  <a:moveTo>
                    <a:pt x="323081" y="132"/>
                  </a:moveTo>
                  <a:lnTo>
                    <a:pt x="292" y="380156"/>
                  </a:lnTo>
                  <a:cubicBezTo>
                    <a:pt x="292" y="380156"/>
                    <a:pt x="-12001" y="568119"/>
                    <a:pt x="122825" y="723433"/>
                  </a:cubicBezTo>
                  <a:cubicBezTo>
                    <a:pt x="257651" y="878747"/>
                    <a:pt x="449712" y="939948"/>
                    <a:pt x="633577" y="939948"/>
                  </a:cubicBezTo>
                  <a:cubicBezTo>
                    <a:pt x="817443" y="939948"/>
                    <a:pt x="866482" y="890908"/>
                    <a:pt x="866482" y="890908"/>
                  </a:cubicBezTo>
                  <a:cubicBezTo>
                    <a:pt x="866482" y="890908"/>
                    <a:pt x="1044003" y="583849"/>
                    <a:pt x="1048894" y="395621"/>
                  </a:cubicBezTo>
                  <a:cubicBezTo>
                    <a:pt x="1053123" y="231583"/>
                    <a:pt x="1029595" y="154389"/>
                    <a:pt x="1029595" y="154389"/>
                  </a:cubicBezTo>
                  <a:cubicBezTo>
                    <a:pt x="1029595" y="154389"/>
                    <a:pt x="637675" y="257491"/>
                    <a:pt x="323081" y="0"/>
                  </a:cubicBezTo>
                  <a:close/>
                </a:path>
              </a:pathLst>
            </a:custGeom>
            <a:solidFill>
              <a:srgbClr val="263238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80" name="Рисунок 3">
              <a:extLst>
                <a:ext uri="{FF2B5EF4-FFF2-40B4-BE49-F238E27FC236}">
                  <a16:creationId xmlns:a16="http://schemas.microsoft.com/office/drawing/2014/main" id="{A4A89930-0E5E-4A8C-A53E-B6F111A4D6EF}"/>
                </a:ext>
              </a:extLst>
            </p:cNvPr>
            <p:cNvGrpSpPr/>
            <p:nvPr/>
          </p:nvGrpSpPr>
          <p:grpSpPr>
            <a:xfrm>
              <a:off x="9004508" y="1840262"/>
              <a:ext cx="318030" cy="154124"/>
              <a:chOff x="9004508" y="1840262"/>
              <a:chExt cx="318030" cy="154124"/>
            </a:xfrm>
            <a:solidFill>
              <a:srgbClr val="FFFFFF"/>
            </a:solidFill>
          </p:grpSpPr>
          <p:sp>
            <p:nvSpPr>
              <p:cNvPr id="81" name="Полилиния: фигура 80">
                <a:extLst>
                  <a:ext uri="{FF2B5EF4-FFF2-40B4-BE49-F238E27FC236}">
                    <a16:creationId xmlns:a16="http://schemas.microsoft.com/office/drawing/2014/main" id="{F247B533-F5EB-4A7C-90E9-ABD115A4213F}"/>
                  </a:ext>
                </a:extLst>
              </p:cNvPr>
              <p:cNvSpPr/>
              <p:nvPr/>
            </p:nvSpPr>
            <p:spPr>
              <a:xfrm>
                <a:off x="9062800" y="1880181"/>
                <a:ext cx="56573" cy="108918"/>
              </a:xfrm>
              <a:custGeom>
                <a:avLst/>
                <a:gdLst>
                  <a:gd name="connsiteX0" fmla="*/ 56574 w 56573"/>
                  <a:gd name="connsiteY0" fmla="*/ 54459 h 108918"/>
                  <a:gd name="connsiteX1" fmla="*/ 28287 w 56573"/>
                  <a:gd name="connsiteY1" fmla="*/ 108918 h 108918"/>
                  <a:gd name="connsiteX2" fmla="*/ 0 w 56573"/>
                  <a:gd name="connsiteY2" fmla="*/ 54459 h 108918"/>
                  <a:gd name="connsiteX3" fmla="*/ 28287 w 56573"/>
                  <a:gd name="connsiteY3" fmla="*/ 0 h 108918"/>
                  <a:gd name="connsiteX4" fmla="*/ 56574 w 56573"/>
                  <a:gd name="connsiteY4" fmla="*/ 54459 h 108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73" h="108918">
                    <a:moveTo>
                      <a:pt x="56574" y="54459"/>
                    </a:moveTo>
                    <a:cubicBezTo>
                      <a:pt x="56574" y="84464"/>
                      <a:pt x="43885" y="108918"/>
                      <a:pt x="28287" y="108918"/>
                    </a:cubicBezTo>
                    <a:cubicBezTo>
                      <a:pt x="12690" y="108918"/>
                      <a:pt x="0" y="84597"/>
                      <a:pt x="0" y="54459"/>
                    </a:cubicBezTo>
                    <a:cubicBezTo>
                      <a:pt x="0" y="24322"/>
                      <a:pt x="12690" y="0"/>
                      <a:pt x="28287" y="0"/>
                    </a:cubicBezTo>
                    <a:cubicBezTo>
                      <a:pt x="43885" y="0"/>
                      <a:pt x="56574" y="24322"/>
                      <a:pt x="56574" y="5445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Полилиния: фигура 81">
                <a:extLst>
                  <a:ext uri="{FF2B5EF4-FFF2-40B4-BE49-F238E27FC236}">
                    <a16:creationId xmlns:a16="http://schemas.microsoft.com/office/drawing/2014/main" id="{E1233EF7-4E47-4E1F-8006-643CB5F11C5F}"/>
                  </a:ext>
                </a:extLst>
              </p:cNvPr>
              <p:cNvSpPr/>
              <p:nvPr/>
            </p:nvSpPr>
            <p:spPr>
              <a:xfrm>
                <a:off x="9091087" y="1840262"/>
                <a:ext cx="231451" cy="148704"/>
              </a:xfrm>
              <a:custGeom>
                <a:avLst/>
                <a:gdLst>
                  <a:gd name="connsiteX0" fmla="*/ 198802 w 231451"/>
                  <a:gd name="connsiteY0" fmla="*/ 0 h 148704"/>
                  <a:gd name="connsiteX1" fmla="*/ 192061 w 231451"/>
                  <a:gd name="connsiteY1" fmla="*/ 1322 h 148704"/>
                  <a:gd name="connsiteX2" fmla="*/ 0 w 231451"/>
                  <a:gd name="connsiteY2" fmla="*/ 39919 h 148704"/>
                  <a:gd name="connsiteX3" fmla="*/ 0 w 231451"/>
                  <a:gd name="connsiteY3" fmla="*/ 148705 h 148704"/>
                  <a:gd name="connsiteX4" fmla="*/ 198802 w 231451"/>
                  <a:gd name="connsiteY4" fmla="*/ 125837 h 148704"/>
                  <a:gd name="connsiteX5" fmla="*/ 231451 w 231451"/>
                  <a:gd name="connsiteY5" fmla="*/ 62919 h 148704"/>
                  <a:gd name="connsiteX6" fmla="*/ 198802 w 231451"/>
                  <a:gd name="connsiteY6" fmla="*/ 0 h 148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1451" h="148704">
                    <a:moveTo>
                      <a:pt x="198802" y="0"/>
                    </a:moveTo>
                    <a:cubicBezTo>
                      <a:pt x="196555" y="0"/>
                      <a:pt x="194308" y="529"/>
                      <a:pt x="192061" y="1322"/>
                    </a:cubicBezTo>
                    <a:lnTo>
                      <a:pt x="0" y="39919"/>
                    </a:lnTo>
                    <a:lnTo>
                      <a:pt x="0" y="148705"/>
                    </a:lnTo>
                    <a:lnTo>
                      <a:pt x="198802" y="125837"/>
                    </a:lnTo>
                    <a:cubicBezTo>
                      <a:pt x="216911" y="125837"/>
                      <a:pt x="231451" y="97683"/>
                      <a:pt x="231451" y="62919"/>
                    </a:cubicBezTo>
                    <a:cubicBezTo>
                      <a:pt x="231451" y="28155"/>
                      <a:pt x="216779" y="0"/>
                      <a:pt x="19880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" name="Полилиния: фигура 82">
                <a:extLst>
                  <a:ext uri="{FF2B5EF4-FFF2-40B4-BE49-F238E27FC236}">
                    <a16:creationId xmlns:a16="http://schemas.microsoft.com/office/drawing/2014/main" id="{92DB3D71-035E-4331-B5D3-416ECE286E99}"/>
                  </a:ext>
                </a:extLst>
              </p:cNvPr>
              <p:cNvSpPr/>
              <p:nvPr/>
            </p:nvSpPr>
            <p:spPr>
              <a:xfrm>
                <a:off x="9004508" y="1895778"/>
                <a:ext cx="93452" cy="98607"/>
              </a:xfrm>
              <a:custGeom>
                <a:avLst/>
                <a:gdLst>
                  <a:gd name="connsiteX0" fmla="*/ 69792 w 93452"/>
                  <a:gd name="connsiteY0" fmla="*/ 132 h 98607"/>
                  <a:gd name="connsiteX1" fmla="*/ 0 w 93452"/>
                  <a:gd name="connsiteY1" fmla="*/ 10839 h 98607"/>
                  <a:gd name="connsiteX2" fmla="*/ 4494 w 93452"/>
                  <a:gd name="connsiteY2" fmla="*/ 98608 h 98607"/>
                  <a:gd name="connsiteX3" fmla="*/ 69792 w 93452"/>
                  <a:gd name="connsiteY3" fmla="*/ 91206 h 98607"/>
                  <a:gd name="connsiteX4" fmla="*/ 93453 w 93452"/>
                  <a:gd name="connsiteY4" fmla="*/ 45603 h 98607"/>
                  <a:gd name="connsiteX5" fmla="*/ 69792 w 93452"/>
                  <a:gd name="connsiteY5" fmla="*/ 0 h 98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452" h="98607">
                    <a:moveTo>
                      <a:pt x="69792" y="132"/>
                    </a:moveTo>
                    <a:lnTo>
                      <a:pt x="0" y="10839"/>
                    </a:lnTo>
                    <a:lnTo>
                      <a:pt x="4494" y="98608"/>
                    </a:lnTo>
                    <a:lnTo>
                      <a:pt x="69792" y="91206"/>
                    </a:lnTo>
                    <a:cubicBezTo>
                      <a:pt x="82878" y="91206"/>
                      <a:pt x="93453" y="70850"/>
                      <a:pt x="93453" y="45603"/>
                    </a:cubicBezTo>
                    <a:cubicBezTo>
                      <a:pt x="93453" y="20356"/>
                      <a:pt x="82878" y="0"/>
                      <a:pt x="6979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84" name="Полилиния: фигура 83">
              <a:extLst>
                <a:ext uri="{FF2B5EF4-FFF2-40B4-BE49-F238E27FC236}">
                  <a16:creationId xmlns:a16="http://schemas.microsoft.com/office/drawing/2014/main" id="{09E9AEB9-012A-4AEB-AAE8-D9DACD958621}"/>
                </a:ext>
              </a:extLst>
            </p:cNvPr>
            <p:cNvSpPr/>
            <p:nvPr/>
          </p:nvSpPr>
          <p:spPr>
            <a:xfrm>
              <a:off x="9051465" y="1828853"/>
              <a:ext cx="249924" cy="283703"/>
            </a:xfrm>
            <a:custGeom>
              <a:avLst/>
              <a:gdLst>
                <a:gd name="connsiteX0" fmla="*/ 40680 w 249924"/>
                <a:gd name="connsiteY0" fmla="*/ 25948 h 283703"/>
                <a:gd name="connsiteX1" fmla="*/ 50858 w 249924"/>
                <a:gd name="connsiteY1" fmla="*/ 81068 h 283703"/>
                <a:gd name="connsiteX2" fmla="*/ 48611 w 249924"/>
                <a:gd name="connsiteY2" fmla="*/ 159849 h 283703"/>
                <a:gd name="connsiteX3" fmla="*/ 1422 w 249924"/>
                <a:gd name="connsiteY3" fmla="*/ 167780 h 283703"/>
                <a:gd name="connsiteX4" fmla="*/ 39622 w 249924"/>
                <a:gd name="connsiteY4" fmla="*/ 190251 h 283703"/>
                <a:gd name="connsiteX5" fmla="*/ 96989 w 249924"/>
                <a:gd name="connsiteY5" fmla="*/ 213911 h 283703"/>
                <a:gd name="connsiteX6" fmla="*/ 161098 w 249924"/>
                <a:gd name="connsiteY6" fmla="*/ 283704 h 283703"/>
                <a:gd name="connsiteX7" fmla="*/ 249924 w 249924"/>
                <a:gd name="connsiteY7" fmla="*/ 253302 h 283703"/>
                <a:gd name="connsiteX8" fmla="*/ 200488 w 249924"/>
                <a:gd name="connsiteY8" fmla="*/ 184699 h 283703"/>
                <a:gd name="connsiteX9" fmla="*/ 206172 w 249924"/>
                <a:gd name="connsiteY9" fmla="*/ 58729 h 283703"/>
                <a:gd name="connsiteX10" fmla="*/ 169029 w 249924"/>
                <a:gd name="connsiteY10" fmla="*/ 4667 h 283703"/>
                <a:gd name="connsiteX11" fmla="*/ 116156 w 249924"/>
                <a:gd name="connsiteY11" fmla="*/ 3477 h 283703"/>
                <a:gd name="connsiteX12" fmla="*/ 91438 w 249924"/>
                <a:gd name="connsiteY12" fmla="*/ 4667 h 283703"/>
                <a:gd name="connsiteX13" fmla="*/ 40812 w 249924"/>
                <a:gd name="connsiteY13" fmla="*/ 26080 h 28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924" h="283703">
                  <a:moveTo>
                    <a:pt x="40680" y="25948"/>
                  </a:moveTo>
                  <a:cubicBezTo>
                    <a:pt x="40680" y="25948"/>
                    <a:pt x="45174" y="55160"/>
                    <a:pt x="50858" y="81068"/>
                  </a:cubicBezTo>
                  <a:cubicBezTo>
                    <a:pt x="56542" y="106976"/>
                    <a:pt x="50858" y="154165"/>
                    <a:pt x="48611" y="159849"/>
                  </a:cubicBezTo>
                  <a:cubicBezTo>
                    <a:pt x="46364" y="165533"/>
                    <a:pt x="8163" y="157602"/>
                    <a:pt x="1422" y="167780"/>
                  </a:cubicBezTo>
                  <a:cubicBezTo>
                    <a:pt x="-5320" y="177958"/>
                    <a:pt x="12657" y="171216"/>
                    <a:pt x="39622" y="190251"/>
                  </a:cubicBezTo>
                  <a:cubicBezTo>
                    <a:pt x="66588" y="209417"/>
                    <a:pt x="80070" y="210475"/>
                    <a:pt x="96989" y="213911"/>
                  </a:cubicBezTo>
                  <a:cubicBezTo>
                    <a:pt x="113909" y="217348"/>
                    <a:pt x="161098" y="283704"/>
                    <a:pt x="161098" y="283704"/>
                  </a:cubicBezTo>
                  <a:lnTo>
                    <a:pt x="249924" y="253302"/>
                  </a:lnTo>
                  <a:lnTo>
                    <a:pt x="200488" y="184699"/>
                  </a:lnTo>
                  <a:cubicBezTo>
                    <a:pt x="200488" y="184699"/>
                    <a:pt x="210666" y="93626"/>
                    <a:pt x="206172" y="58729"/>
                  </a:cubicBezTo>
                  <a:cubicBezTo>
                    <a:pt x="201678" y="23833"/>
                    <a:pt x="179207" y="13787"/>
                    <a:pt x="169029" y="4667"/>
                  </a:cubicBezTo>
                  <a:cubicBezTo>
                    <a:pt x="158851" y="-4454"/>
                    <a:pt x="128581" y="2420"/>
                    <a:pt x="116156" y="3477"/>
                  </a:cubicBezTo>
                  <a:cubicBezTo>
                    <a:pt x="103731" y="4667"/>
                    <a:pt x="101484" y="7971"/>
                    <a:pt x="91438" y="4667"/>
                  </a:cubicBezTo>
                  <a:cubicBezTo>
                    <a:pt x="81260" y="1230"/>
                    <a:pt x="43059" y="173"/>
                    <a:pt x="40812" y="26080"/>
                  </a:cubicBez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Полилиния: фигура 84">
              <a:extLst>
                <a:ext uri="{FF2B5EF4-FFF2-40B4-BE49-F238E27FC236}">
                  <a16:creationId xmlns:a16="http://schemas.microsoft.com/office/drawing/2014/main" id="{354BD971-984E-45E1-AD58-869A7B69A21C}"/>
                </a:ext>
              </a:extLst>
            </p:cNvPr>
            <p:cNvSpPr/>
            <p:nvPr/>
          </p:nvSpPr>
          <p:spPr>
            <a:xfrm>
              <a:off x="8707111" y="1787781"/>
              <a:ext cx="338181" cy="408315"/>
            </a:xfrm>
            <a:custGeom>
              <a:avLst/>
              <a:gdLst>
                <a:gd name="connsiteX0" fmla="*/ 330706 w 338181"/>
                <a:gd name="connsiteY0" fmla="*/ 27631 h 408315"/>
                <a:gd name="connsiteX1" fmla="*/ 328591 w 338181"/>
                <a:gd name="connsiteY1" fmla="*/ 77860 h 408315"/>
                <a:gd name="connsiteX2" fmla="*/ 326476 w 338181"/>
                <a:gd name="connsiteY2" fmla="*/ 136416 h 408315"/>
                <a:gd name="connsiteX3" fmla="*/ 318149 w 338181"/>
                <a:gd name="connsiteY3" fmla="*/ 280759 h 408315"/>
                <a:gd name="connsiteX4" fmla="*/ 232363 w 338181"/>
                <a:gd name="connsiteY4" fmla="*/ 362316 h 408315"/>
                <a:gd name="connsiteX5" fmla="*/ 171691 w 338181"/>
                <a:gd name="connsiteY5" fmla="*/ 339316 h 408315"/>
                <a:gd name="connsiteX6" fmla="*/ 159134 w 338181"/>
                <a:gd name="connsiteY6" fmla="*/ 408315 h 408315"/>
                <a:gd name="connsiteX7" fmla="*/ 6331 w 338181"/>
                <a:gd name="connsiteY7" fmla="*/ 366414 h 408315"/>
                <a:gd name="connsiteX8" fmla="*/ 14658 w 338181"/>
                <a:gd name="connsiteY8" fmla="*/ 196956 h 408315"/>
                <a:gd name="connsiteX9" fmla="*/ 209231 w 338181"/>
                <a:gd name="connsiteY9" fmla="*/ 50498 h 408315"/>
                <a:gd name="connsiteX10" fmla="*/ 330574 w 338181"/>
                <a:gd name="connsiteY10" fmla="*/ 27498 h 408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8181" h="408315">
                  <a:moveTo>
                    <a:pt x="330706" y="27631"/>
                  </a:moveTo>
                  <a:cubicBezTo>
                    <a:pt x="330706" y="27631"/>
                    <a:pt x="332821" y="61073"/>
                    <a:pt x="328591" y="77860"/>
                  </a:cubicBezTo>
                  <a:cubicBezTo>
                    <a:pt x="324361" y="94647"/>
                    <a:pt x="309821" y="96630"/>
                    <a:pt x="326476" y="136416"/>
                  </a:cubicBezTo>
                  <a:cubicBezTo>
                    <a:pt x="343263" y="176203"/>
                    <a:pt x="343263" y="243088"/>
                    <a:pt x="318149" y="280759"/>
                  </a:cubicBezTo>
                  <a:cubicBezTo>
                    <a:pt x="293034" y="318431"/>
                    <a:pt x="265805" y="366546"/>
                    <a:pt x="232363" y="362316"/>
                  </a:cubicBezTo>
                  <a:cubicBezTo>
                    <a:pt x="198920" y="358086"/>
                    <a:pt x="171691" y="339316"/>
                    <a:pt x="171691" y="339316"/>
                  </a:cubicBezTo>
                  <a:lnTo>
                    <a:pt x="159134" y="408315"/>
                  </a:lnTo>
                  <a:lnTo>
                    <a:pt x="6331" y="366414"/>
                  </a:lnTo>
                  <a:cubicBezTo>
                    <a:pt x="6331" y="366414"/>
                    <a:pt x="-12439" y="247185"/>
                    <a:pt x="14658" y="196956"/>
                  </a:cubicBezTo>
                  <a:cubicBezTo>
                    <a:pt x="41888" y="146727"/>
                    <a:pt x="156887" y="98612"/>
                    <a:pt x="209231" y="50498"/>
                  </a:cubicBezTo>
                  <a:cubicBezTo>
                    <a:pt x="261575" y="2384"/>
                    <a:pt x="290787" y="-22731"/>
                    <a:pt x="330574" y="27498"/>
                  </a:cubicBez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Полилиния: фигура 85">
              <a:extLst>
                <a:ext uri="{FF2B5EF4-FFF2-40B4-BE49-F238E27FC236}">
                  <a16:creationId xmlns:a16="http://schemas.microsoft.com/office/drawing/2014/main" id="{AF69065C-9938-49EC-BAA0-5A5466CA9F84}"/>
                </a:ext>
              </a:extLst>
            </p:cNvPr>
            <p:cNvSpPr/>
            <p:nvPr/>
          </p:nvSpPr>
          <p:spPr>
            <a:xfrm>
              <a:off x="8692558" y="2135557"/>
              <a:ext cx="223916" cy="113015"/>
            </a:xfrm>
            <a:custGeom>
              <a:avLst/>
              <a:gdLst>
                <a:gd name="connsiteX0" fmla="*/ 18770 w 223916"/>
                <a:gd name="connsiteY0" fmla="*/ 0 h 113015"/>
                <a:gd name="connsiteX1" fmla="*/ 194572 w 223916"/>
                <a:gd name="connsiteY1" fmla="*/ 48114 h 113015"/>
                <a:gd name="connsiteX2" fmla="*/ 223917 w 223916"/>
                <a:gd name="connsiteY2" fmla="*/ 113016 h 113015"/>
                <a:gd name="connsiteX3" fmla="*/ 0 w 223916"/>
                <a:gd name="connsiteY3" fmla="*/ 50229 h 113015"/>
                <a:gd name="connsiteX4" fmla="*/ 18770 w 223916"/>
                <a:gd name="connsiteY4" fmla="*/ 0 h 113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916" h="113015">
                  <a:moveTo>
                    <a:pt x="18770" y="0"/>
                  </a:moveTo>
                  <a:cubicBezTo>
                    <a:pt x="18770" y="0"/>
                    <a:pt x="182015" y="37672"/>
                    <a:pt x="194572" y="48114"/>
                  </a:cubicBezTo>
                  <a:cubicBezTo>
                    <a:pt x="207129" y="58557"/>
                    <a:pt x="223917" y="113016"/>
                    <a:pt x="223917" y="113016"/>
                  </a:cubicBezTo>
                  <a:lnTo>
                    <a:pt x="0" y="50229"/>
                  </a:lnTo>
                  <a:lnTo>
                    <a:pt x="18770" y="0"/>
                  </a:ln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Полилиния: фигура 86">
              <a:extLst>
                <a:ext uri="{FF2B5EF4-FFF2-40B4-BE49-F238E27FC236}">
                  <a16:creationId xmlns:a16="http://schemas.microsoft.com/office/drawing/2014/main" id="{75562DCA-638E-4D4B-A18A-25D6BE7063A8}"/>
                </a:ext>
              </a:extLst>
            </p:cNvPr>
            <p:cNvSpPr/>
            <p:nvPr/>
          </p:nvSpPr>
          <p:spPr>
            <a:xfrm>
              <a:off x="8654093" y="2150097"/>
              <a:ext cx="308381" cy="146590"/>
            </a:xfrm>
            <a:custGeom>
              <a:avLst/>
              <a:gdLst>
                <a:gd name="connsiteX0" fmla="*/ 0 w 308381"/>
                <a:gd name="connsiteY0" fmla="*/ 0 h 146590"/>
                <a:gd name="connsiteX1" fmla="*/ 264496 w 308381"/>
                <a:gd name="connsiteY1" fmla="*/ 79574 h 146590"/>
                <a:gd name="connsiteX2" fmla="*/ 308381 w 308381"/>
                <a:gd name="connsiteY2" fmla="*/ 146590 h 146590"/>
                <a:gd name="connsiteX3" fmla="*/ 15465 w 308381"/>
                <a:gd name="connsiteY3" fmla="*/ 77591 h 146590"/>
                <a:gd name="connsiteX4" fmla="*/ 0 w 308381"/>
                <a:gd name="connsiteY4" fmla="*/ 0 h 146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381" h="146590">
                  <a:moveTo>
                    <a:pt x="0" y="0"/>
                  </a:moveTo>
                  <a:lnTo>
                    <a:pt x="264496" y="79574"/>
                  </a:lnTo>
                  <a:lnTo>
                    <a:pt x="308381" y="146590"/>
                  </a:lnTo>
                  <a:lnTo>
                    <a:pt x="15465" y="775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D3F"/>
            </a:solidFill>
            <a:ln w="1321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Полилиния: фигура 87">
              <a:extLst>
                <a:ext uri="{FF2B5EF4-FFF2-40B4-BE49-F238E27FC236}">
                  <a16:creationId xmlns:a16="http://schemas.microsoft.com/office/drawing/2014/main" id="{F8A7909C-4FB5-4D1D-AB22-F2567A8D1EB1}"/>
                </a:ext>
              </a:extLst>
            </p:cNvPr>
            <p:cNvSpPr/>
            <p:nvPr/>
          </p:nvSpPr>
          <p:spPr>
            <a:xfrm>
              <a:off x="7962722" y="1678135"/>
              <a:ext cx="216307" cy="246458"/>
            </a:xfrm>
            <a:custGeom>
              <a:avLst/>
              <a:gdLst>
                <a:gd name="connsiteX0" fmla="*/ 70511 w 216307"/>
                <a:gd name="connsiteY0" fmla="*/ 28490 h 246458"/>
                <a:gd name="connsiteX1" fmla="*/ 23718 w 216307"/>
                <a:gd name="connsiteY1" fmla="*/ 47260 h 246458"/>
                <a:gd name="connsiteX2" fmla="*/ 4949 w 216307"/>
                <a:gd name="connsiteY2" fmla="*/ 133972 h 246458"/>
                <a:gd name="connsiteX3" fmla="*/ 33103 w 216307"/>
                <a:gd name="connsiteY3" fmla="*/ 246459 h 246458"/>
                <a:gd name="connsiteX4" fmla="*/ 146119 w 216307"/>
                <a:gd name="connsiteY4" fmla="*/ 227424 h 246458"/>
                <a:gd name="connsiteX5" fmla="*/ 180751 w 216307"/>
                <a:gd name="connsiteY5" fmla="*/ 166885 h 246458"/>
                <a:gd name="connsiteX6" fmla="*/ 215911 w 216307"/>
                <a:gd name="connsiteY6" fmla="*/ 98943 h 246458"/>
                <a:gd name="connsiteX7" fmla="*/ 187756 w 216307"/>
                <a:gd name="connsiteY7" fmla="*/ 68541 h 246458"/>
                <a:gd name="connsiteX8" fmla="*/ 180751 w 216307"/>
                <a:gd name="connsiteY8" fmla="*/ 12364 h 246458"/>
                <a:gd name="connsiteX9" fmla="*/ 133958 w 216307"/>
                <a:gd name="connsiteY9" fmla="*/ 5358 h 246458"/>
                <a:gd name="connsiteX10" fmla="*/ 112942 w 216307"/>
                <a:gd name="connsiteY10" fmla="*/ 21749 h 246458"/>
                <a:gd name="connsiteX11" fmla="*/ 70775 w 216307"/>
                <a:gd name="connsiteY11" fmla="*/ 28755 h 246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307" h="246458">
                  <a:moveTo>
                    <a:pt x="70511" y="28490"/>
                  </a:moveTo>
                  <a:cubicBezTo>
                    <a:pt x="70511" y="28490"/>
                    <a:pt x="37730" y="28490"/>
                    <a:pt x="23718" y="47260"/>
                  </a:cubicBezTo>
                  <a:cubicBezTo>
                    <a:pt x="9707" y="66030"/>
                    <a:pt x="-9063" y="105817"/>
                    <a:pt x="4949" y="133972"/>
                  </a:cubicBezTo>
                  <a:cubicBezTo>
                    <a:pt x="18960" y="162126"/>
                    <a:pt x="33103" y="246459"/>
                    <a:pt x="33103" y="246459"/>
                  </a:cubicBezTo>
                  <a:lnTo>
                    <a:pt x="146119" y="227424"/>
                  </a:lnTo>
                  <a:cubicBezTo>
                    <a:pt x="146119" y="227424"/>
                    <a:pt x="178372" y="173891"/>
                    <a:pt x="180751" y="166885"/>
                  </a:cubicBezTo>
                  <a:cubicBezTo>
                    <a:pt x="183130" y="159879"/>
                    <a:pt x="220538" y="120092"/>
                    <a:pt x="215911" y="98943"/>
                  </a:cubicBezTo>
                  <a:cubicBezTo>
                    <a:pt x="211285" y="77926"/>
                    <a:pt x="192515" y="87179"/>
                    <a:pt x="187756" y="68541"/>
                  </a:cubicBezTo>
                  <a:cubicBezTo>
                    <a:pt x="183130" y="49772"/>
                    <a:pt x="194762" y="28755"/>
                    <a:pt x="180751" y="12364"/>
                  </a:cubicBezTo>
                  <a:cubicBezTo>
                    <a:pt x="166740" y="-4027"/>
                    <a:pt x="140964" y="-1647"/>
                    <a:pt x="133958" y="5358"/>
                  </a:cubicBezTo>
                  <a:cubicBezTo>
                    <a:pt x="126953" y="12364"/>
                    <a:pt x="112942" y="21749"/>
                    <a:pt x="112942" y="21749"/>
                  </a:cubicBezTo>
                  <a:cubicBezTo>
                    <a:pt x="112942" y="21749"/>
                    <a:pt x="105936" y="14743"/>
                    <a:pt x="70775" y="28755"/>
                  </a:cubicBez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Полилиния: фигура 88">
              <a:extLst>
                <a:ext uri="{FF2B5EF4-FFF2-40B4-BE49-F238E27FC236}">
                  <a16:creationId xmlns:a16="http://schemas.microsoft.com/office/drawing/2014/main" id="{6A5D36E1-0D22-4A56-BBBE-E7852050D906}"/>
                </a:ext>
              </a:extLst>
            </p:cNvPr>
            <p:cNvSpPr/>
            <p:nvPr/>
          </p:nvSpPr>
          <p:spPr>
            <a:xfrm>
              <a:off x="7995825" y="1883113"/>
              <a:ext cx="127555" cy="104664"/>
            </a:xfrm>
            <a:custGeom>
              <a:avLst/>
              <a:gdLst>
                <a:gd name="connsiteX0" fmla="*/ 7006 w 127555"/>
                <a:gd name="connsiteY0" fmla="*/ 104532 h 104664"/>
                <a:gd name="connsiteX1" fmla="*/ 0 w 127555"/>
                <a:gd name="connsiteY1" fmla="*/ 41349 h 104664"/>
                <a:gd name="connsiteX2" fmla="*/ 39787 w 127555"/>
                <a:gd name="connsiteY2" fmla="*/ 10947 h 104664"/>
                <a:gd name="connsiteX3" fmla="*/ 127556 w 127555"/>
                <a:gd name="connsiteY3" fmla="*/ 1430 h 104664"/>
                <a:gd name="connsiteX4" fmla="*/ 126366 w 127555"/>
                <a:gd name="connsiteY4" fmla="*/ 64878 h 104664"/>
                <a:gd name="connsiteX5" fmla="*/ 6874 w 127555"/>
                <a:gd name="connsiteY5" fmla="*/ 104664 h 10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7555" h="104664">
                  <a:moveTo>
                    <a:pt x="7006" y="104532"/>
                  </a:moveTo>
                  <a:lnTo>
                    <a:pt x="0" y="41349"/>
                  </a:lnTo>
                  <a:cubicBezTo>
                    <a:pt x="0" y="41349"/>
                    <a:pt x="4626" y="27338"/>
                    <a:pt x="39787" y="10947"/>
                  </a:cubicBezTo>
                  <a:cubicBezTo>
                    <a:pt x="74947" y="-5443"/>
                    <a:pt x="127556" y="1430"/>
                    <a:pt x="127556" y="1430"/>
                  </a:cubicBezTo>
                  <a:lnTo>
                    <a:pt x="126366" y="64878"/>
                  </a:lnTo>
                  <a:lnTo>
                    <a:pt x="6874" y="104664"/>
                  </a:lnTo>
                  <a:close/>
                </a:path>
              </a:pathLst>
            </a:custGeom>
            <a:solidFill>
              <a:srgbClr val="FFFFFF"/>
            </a:solidFill>
            <a:ln w="1321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90" name="Рисунок 3">
              <a:extLst>
                <a:ext uri="{FF2B5EF4-FFF2-40B4-BE49-F238E27FC236}">
                  <a16:creationId xmlns:a16="http://schemas.microsoft.com/office/drawing/2014/main" id="{A4A89930-0E5E-4A8C-A53E-B6F111A4D6EF}"/>
                </a:ext>
              </a:extLst>
            </p:cNvPr>
            <p:cNvGrpSpPr/>
            <p:nvPr/>
          </p:nvGrpSpPr>
          <p:grpSpPr>
            <a:xfrm>
              <a:off x="7979435" y="1917173"/>
              <a:ext cx="1635546" cy="1469400"/>
              <a:chOff x="7979435" y="1917173"/>
              <a:chExt cx="1635546" cy="1469400"/>
            </a:xfrm>
          </p:grpSpPr>
          <p:sp>
            <p:nvSpPr>
              <p:cNvPr id="91" name="Полилиния: фигура 90">
                <a:extLst>
                  <a:ext uri="{FF2B5EF4-FFF2-40B4-BE49-F238E27FC236}">
                    <a16:creationId xmlns:a16="http://schemas.microsoft.com/office/drawing/2014/main" id="{672B2F02-5B71-4B26-9BE9-90D905FF4577}"/>
                  </a:ext>
                </a:extLst>
              </p:cNvPr>
              <p:cNvSpPr/>
              <p:nvPr/>
            </p:nvSpPr>
            <p:spPr>
              <a:xfrm>
                <a:off x="7979435" y="1917173"/>
                <a:ext cx="1635546" cy="1469400"/>
              </a:xfrm>
              <a:custGeom>
                <a:avLst/>
                <a:gdLst>
                  <a:gd name="connsiteX0" fmla="*/ 1245817 w 1635546"/>
                  <a:gd name="connsiteY0" fmla="*/ 135373 h 1469400"/>
                  <a:gd name="connsiteX1" fmla="*/ 1245817 w 1635546"/>
                  <a:gd name="connsiteY1" fmla="*/ 135373 h 1469400"/>
                  <a:gd name="connsiteX2" fmla="*/ 1200214 w 1635546"/>
                  <a:gd name="connsiteY2" fmla="*/ 223010 h 1469400"/>
                  <a:gd name="connsiteX3" fmla="*/ 1264851 w 1635546"/>
                  <a:gd name="connsiteY3" fmla="*/ 499138 h 1469400"/>
                  <a:gd name="connsiteX4" fmla="*/ 1009475 w 1635546"/>
                  <a:gd name="connsiteY4" fmla="*/ 370261 h 1469400"/>
                  <a:gd name="connsiteX5" fmla="*/ 428535 w 1635546"/>
                  <a:gd name="connsiteY5" fmla="*/ 210981 h 1469400"/>
                  <a:gd name="connsiteX6" fmla="*/ 210698 w 1635546"/>
                  <a:gd name="connsiteY6" fmla="*/ 318710 h 1469400"/>
                  <a:gd name="connsiteX7" fmla="*/ 147515 w 1635546"/>
                  <a:gd name="connsiteY7" fmla="*/ 151 h 1469400"/>
                  <a:gd name="connsiteX8" fmla="*/ 72568 w 1635546"/>
                  <a:gd name="connsiteY8" fmla="*/ 11915 h 1469400"/>
                  <a:gd name="connsiteX9" fmla="*/ 0 w 1635546"/>
                  <a:gd name="connsiteY9" fmla="*/ 58708 h 1469400"/>
                  <a:gd name="connsiteX10" fmla="*/ 51551 w 1635546"/>
                  <a:gd name="connsiteY10" fmla="*/ 510771 h 1469400"/>
                  <a:gd name="connsiteX11" fmla="*/ 93717 w 1635546"/>
                  <a:gd name="connsiteY11" fmla="*/ 618499 h 1469400"/>
                  <a:gd name="connsiteX12" fmla="*/ 367731 w 1635546"/>
                  <a:gd name="connsiteY12" fmla="*/ 515397 h 1469400"/>
                  <a:gd name="connsiteX13" fmla="*/ 454442 w 1635546"/>
                  <a:gd name="connsiteY13" fmla="*/ 887886 h 1469400"/>
                  <a:gd name="connsiteX14" fmla="*/ 196819 w 1635546"/>
                  <a:gd name="connsiteY14" fmla="*/ 1250991 h 1469400"/>
                  <a:gd name="connsiteX15" fmla="*/ 597331 w 1635546"/>
                  <a:gd name="connsiteY15" fmla="*/ 1461821 h 1469400"/>
                  <a:gd name="connsiteX16" fmla="*/ 1037762 w 1635546"/>
                  <a:gd name="connsiteY16" fmla="*/ 1356472 h 1469400"/>
                  <a:gd name="connsiteX17" fmla="*/ 972200 w 1635546"/>
                  <a:gd name="connsiteY17" fmla="*/ 890398 h 1469400"/>
                  <a:gd name="connsiteX18" fmla="*/ 1033136 w 1635546"/>
                  <a:gd name="connsiteY18" fmla="*/ 733498 h 1469400"/>
                  <a:gd name="connsiteX19" fmla="*/ 1588301 w 1635546"/>
                  <a:gd name="connsiteY19" fmla="*/ 810824 h 1469400"/>
                  <a:gd name="connsiteX20" fmla="*/ 1632846 w 1635546"/>
                  <a:gd name="connsiteY20" fmla="*/ 728871 h 1469400"/>
                  <a:gd name="connsiteX21" fmla="*/ 1351695 w 1635546"/>
                  <a:gd name="connsiteY21" fmla="*/ 171327 h 1469400"/>
                  <a:gd name="connsiteX22" fmla="*/ 1246081 w 1635546"/>
                  <a:gd name="connsiteY22" fmla="*/ 135505 h 1469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35546" h="1469400">
                    <a:moveTo>
                      <a:pt x="1245817" y="135373"/>
                    </a:moveTo>
                    <a:lnTo>
                      <a:pt x="1245817" y="135373"/>
                    </a:lnTo>
                    <a:cubicBezTo>
                      <a:pt x="1212507" y="150838"/>
                      <a:pt x="1193737" y="186792"/>
                      <a:pt x="1200214" y="223010"/>
                    </a:cubicBezTo>
                    <a:lnTo>
                      <a:pt x="1264851" y="499138"/>
                    </a:lnTo>
                    <a:lnTo>
                      <a:pt x="1009475" y="370261"/>
                    </a:lnTo>
                    <a:cubicBezTo>
                      <a:pt x="1009475" y="370261"/>
                      <a:pt x="466074" y="203976"/>
                      <a:pt x="428535" y="210981"/>
                    </a:cubicBezTo>
                    <a:cubicBezTo>
                      <a:pt x="390995" y="217987"/>
                      <a:pt x="210698" y="318710"/>
                      <a:pt x="210698" y="318710"/>
                    </a:cubicBezTo>
                    <a:lnTo>
                      <a:pt x="147515" y="151"/>
                    </a:lnTo>
                    <a:cubicBezTo>
                      <a:pt x="147515" y="151"/>
                      <a:pt x="112355" y="-2228"/>
                      <a:pt x="72568" y="11915"/>
                    </a:cubicBezTo>
                    <a:cubicBezTo>
                      <a:pt x="32781" y="26058"/>
                      <a:pt x="0" y="58708"/>
                      <a:pt x="0" y="58708"/>
                    </a:cubicBezTo>
                    <a:cubicBezTo>
                      <a:pt x="0" y="58708"/>
                      <a:pt x="35161" y="447588"/>
                      <a:pt x="51551" y="510771"/>
                    </a:cubicBezTo>
                    <a:cubicBezTo>
                      <a:pt x="67942" y="573954"/>
                      <a:pt x="79706" y="618499"/>
                      <a:pt x="93717" y="618499"/>
                    </a:cubicBezTo>
                    <a:cubicBezTo>
                      <a:pt x="107728" y="618499"/>
                      <a:pt x="367731" y="515397"/>
                      <a:pt x="367731" y="515397"/>
                    </a:cubicBezTo>
                    <a:lnTo>
                      <a:pt x="454442" y="887886"/>
                    </a:lnTo>
                    <a:lnTo>
                      <a:pt x="196819" y="1250991"/>
                    </a:lnTo>
                    <a:cubicBezTo>
                      <a:pt x="196819" y="1250991"/>
                      <a:pt x="311553" y="1419655"/>
                      <a:pt x="597331" y="1461821"/>
                    </a:cubicBezTo>
                    <a:cubicBezTo>
                      <a:pt x="883109" y="1503988"/>
                      <a:pt x="1037762" y="1356472"/>
                      <a:pt x="1037762" y="1356472"/>
                    </a:cubicBezTo>
                    <a:lnTo>
                      <a:pt x="972200" y="890398"/>
                    </a:lnTo>
                    <a:lnTo>
                      <a:pt x="1033136" y="733498"/>
                    </a:lnTo>
                    <a:cubicBezTo>
                      <a:pt x="1033136" y="733498"/>
                      <a:pt x="1560146" y="815450"/>
                      <a:pt x="1588301" y="810824"/>
                    </a:cubicBezTo>
                    <a:cubicBezTo>
                      <a:pt x="1616456" y="806198"/>
                      <a:pt x="1644478" y="771037"/>
                      <a:pt x="1632846" y="728871"/>
                    </a:cubicBezTo>
                    <a:cubicBezTo>
                      <a:pt x="1623726" y="696090"/>
                      <a:pt x="1427832" y="316727"/>
                      <a:pt x="1351695" y="171327"/>
                    </a:cubicBezTo>
                    <a:cubicBezTo>
                      <a:pt x="1331736" y="133126"/>
                      <a:pt x="1285207" y="117396"/>
                      <a:pt x="1246081" y="135505"/>
                    </a:cubicBezTo>
                    <a:close/>
                  </a:path>
                </a:pathLst>
              </a:custGeom>
              <a:solidFill>
                <a:srgbClr val="006D3F"/>
              </a:solidFill>
              <a:ln w="1321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2" name="Полилиния: фигура 91">
                <a:extLst>
                  <a:ext uri="{FF2B5EF4-FFF2-40B4-BE49-F238E27FC236}">
                    <a16:creationId xmlns:a16="http://schemas.microsoft.com/office/drawing/2014/main" id="{74932FA8-8B41-4C9B-83BA-D29F2B97880B}"/>
                  </a:ext>
                </a:extLst>
              </p:cNvPr>
              <p:cNvSpPr/>
              <p:nvPr/>
            </p:nvSpPr>
            <p:spPr>
              <a:xfrm>
                <a:off x="9417973" y="2488880"/>
                <a:ext cx="39390" cy="16522"/>
              </a:xfrm>
              <a:custGeom>
                <a:avLst/>
                <a:gdLst>
                  <a:gd name="connsiteX0" fmla="*/ 0 w 39390"/>
                  <a:gd name="connsiteY0" fmla="*/ 0 h 16522"/>
                  <a:gd name="connsiteX1" fmla="*/ 39390 w 39390"/>
                  <a:gd name="connsiteY1" fmla="*/ 16523 h 16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390" h="16522">
                    <a:moveTo>
                      <a:pt x="0" y="0"/>
                    </a:moveTo>
                    <a:lnTo>
                      <a:pt x="39390" y="16523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3" name="Полилиния: фигура 92">
                <a:extLst>
                  <a:ext uri="{FF2B5EF4-FFF2-40B4-BE49-F238E27FC236}">
                    <a16:creationId xmlns:a16="http://schemas.microsoft.com/office/drawing/2014/main" id="{385CCEB2-B19B-4FCC-802F-D0C09F5F74E3}"/>
                  </a:ext>
                </a:extLst>
              </p:cNvPr>
              <p:cNvSpPr/>
              <p:nvPr/>
            </p:nvSpPr>
            <p:spPr>
              <a:xfrm>
                <a:off x="9244286" y="2416312"/>
                <a:ext cx="125837" cy="52608"/>
              </a:xfrm>
              <a:custGeom>
                <a:avLst/>
                <a:gdLst>
                  <a:gd name="connsiteX0" fmla="*/ 0 w 125837"/>
                  <a:gd name="connsiteY0" fmla="*/ 0 h 52608"/>
                  <a:gd name="connsiteX1" fmla="*/ 125837 w 125837"/>
                  <a:gd name="connsiteY1" fmla="*/ 52609 h 52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837" h="52608">
                    <a:moveTo>
                      <a:pt x="0" y="0"/>
                    </a:moveTo>
                    <a:lnTo>
                      <a:pt x="125837" y="52609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4" name="Полилиния: фигура 93">
                <a:extLst>
                  <a:ext uri="{FF2B5EF4-FFF2-40B4-BE49-F238E27FC236}">
                    <a16:creationId xmlns:a16="http://schemas.microsoft.com/office/drawing/2014/main" id="{F38E729C-87A7-4928-BA3A-3D61FAAA01BE}"/>
                  </a:ext>
                </a:extLst>
              </p:cNvPr>
              <p:cNvSpPr/>
              <p:nvPr/>
            </p:nvSpPr>
            <p:spPr>
              <a:xfrm>
                <a:off x="8305000" y="2259411"/>
                <a:ext cx="42166" cy="173290"/>
              </a:xfrm>
              <a:custGeom>
                <a:avLst/>
                <a:gdLst>
                  <a:gd name="connsiteX0" fmla="*/ 42166 w 42166"/>
                  <a:gd name="connsiteY0" fmla="*/ 173291 h 173290"/>
                  <a:gd name="connsiteX1" fmla="*/ 0 w 42166"/>
                  <a:gd name="connsiteY1" fmla="*/ 0 h 173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166" h="173290">
                    <a:moveTo>
                      <a:pt x="42166" y="173291"/>
                    </a:moveTo>
                    <a:lnTo>
                      <a:pt x="0" y="0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5" name="Полилиния: фигура 94">
                <a:extLst>
                  <a:ext uri="{FF2B5EF4-FFF2-40B4-BE49-F238E27FC236}">
                    <a16:creationId xmlns:a16="http://schemas.microsoft.com/office/drawing/2014/main" id="{FFC27F69-31BE-47B7-B139-D8C67C1A7FD4}"/>
                  </a:ext>
                </a:extLst>
              </p:cNvPr>
              <p:cNvSpPr/>
              <p:nvPr/>
            </p:nvSpPr>
            <p:spPr>
              <a:xfrm>
                <a:off x="8063635" y="2236015"/>
                <a:ext cx="126498" cy="49171"/>
              </a:xfrm>
              <a:custGeom>
                <a:avLst/>
                <a:gdLst>
                  <a:gd name="connsiteX0" fmla="*/ 126498 w 126498"/>
                  <a:gd name="connsiteY0" fmla="*/ 0 h 49171"/>
                  <a:gd name="connsiteX1" fmla="*/ 0 w 126498"/>
                  <a:gd name="connsiteY1" fmla="*/ 49172 h 49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498" h="49171">
                    <a:moveTo>
                      <a:pt x="126498" y="0"/>
                    </a:moveTo>
                    <a:lnTo>
                      <a:pt x="0" y="49172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Полилиния: фигура 95">
                <a:extLst>
                  <a:ext uri="{FF2B5EF4-FFF2-40B4-BE49-F238E27FC236}">
                    <a16:creationId xmlns:a16="http://schemas.microsoft.com/office/drawing/2014/main" id="{6930FA8E-AEDC-4E00-AA45-10871E55A522}"/>
                  </a:ext>
                </a:extLst>
              </p:cNvPr>
              <p:cNvSpPr/>
              <p:nvPr/>
            </p:nvSpPr>
            <p:spPr>
              <a:xfrm>
                <a:off x="8721109" y="2708038"/>
                <a:ext cx="33574" cy="43223"/>
              </a:xfrm>
              <a:custGeom>
                <a:avLst/>
                <a:gdLst>
                  <a:gd name="connsiteX0" fmla="*/ 0 w 33574"/>
                  <a:gd name="connsiteY0" fmla="*/ 0 h 43223"/>
                  <a:gd name="connsiteX1" fmla="*/ 33574 w 33574"/>
                  <a:gd name="connsiteY1" fmla="*/ 43224 h 43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574" h="43223">
                    <a:moveTo>
                      <a:pt x="0" y="0"/>
                    </a:moveTo>
                    <a:cubicBezTo>
                      <a:pt x="11235" y="16523"/>
                      <a:pt x="22471" y="31327"/>
                      <a:pt x="33574" y="43224"/>
                    </a:cubicBezTo>
                  </a:path>
                </a:pathLst>
              </a:custGeom>
              <a:noFill/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7" name="Полилиния: фигура 96">
                <a:extLst>
                  <a:ext uri="{FF2B5EF4-FFF2-40B4-BE49-F238E27FC236}">
                    <a16:creationId xmlns:a16="http://schemas.microsoft.com/office/drawing/2014/main" id="{73348622-1353-4A95-8DCB-28A4DA74312A}"/>
                  </a:ext>
                </a:extLst>
              </p:cNvPr>
              <p:cNvSpPr/>
              <p:nvPr/>
            </p:nvSpPr>
            <p:spPr>
              <a:xfrm>
                <a:off x="8567249" y="2385910"/>
                <a:ext cx="124119" cy="274013"/>
              </a:xfrm>
              <a:custGeom>
                <a:avLst/>
                <a:gdLst>
                  <a:gd name="connsiteX0" fmla="*/ 0 w 124119"/>
                  <a:gd name="connsiteY0" fmla="*/ 0 h 274013"/>
                  <a:gd name="connsiteX1" fmla="*/ 124119 w 124119"/>
                  <a:gd name="connsiteY1" fmla="*/ 274014 h 274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119" h="274013">
                    <a:moveTo>
                      <a:pt x="0" y="0"/>
                    </a:moveTo>
                    <a:cubicBezTo>
                      <a:pt x="0" y="0"/>
                      <a:pt x="57367" y="157032"/>
                      <a:pt x="124119" y="274014"/>
                    </a:cubicBezTo>
                  </a:path>
                </a:pathLst>
              </a:custGeom>
              <a:noFill/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8" name="Полилиния: фигура 97">
                <a:extLst>
                  <a:ext uri="{FF2B5EF4-FFF2-40B4-BE49-F238E27FC236}">
                    <a16:creationId xmlns:a16="http://schemas.microsoft.com/office/drawing/2014/main" id="{44DD5C23-17F7-44C7-AF56-C91479BDE193}"/>
                  </a:ext>
                </a:extLst>
              </p:cNvPr>
              <p:cNvSpPr/>
              <p:nvPr/>
            </p:nvSpPr>
            <p:spPr>
              <a:xfrm>
                <a:off x="8635191" y="2678693"/>
                <a:ext cx="121739" cy="128877"/>
              </a:xfrm>
              <a:custGeom>
                <a:avLst/>
                <a:gdLst>
                  <a:gd name="connsiteX0" fmla="*/ 0 w 121739"/>
                  <a:gd name="connsiteY0" fmla="*/ 0 h 128877"/>
                  <a:gd name="connsiteX1" fmla="*/ 121740 w 121739"/>
                  <a:gd name="connsiteY1" fmla="*/ 128878 h 128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739" h="128877">
                    <a:moveTo>
                      <a:pt x="0" y="0"/>
                    </a:moveTo>
                    <a:cubicBezTo>
                      <a:pt x="0" y="0"/>
                      <a:pt x="81953" y="96096"/>
                      <a:pt x="121740" y="128878"/>
                    </a:cubicBezTo>
                  </a:path>
                </a:pathLst>
              </a:custGeom>
              <a:noFill/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" name="Полилиния: фигура 98">
                <a:extLst>
                  <a:ext uri="{FF2B5EF4-FFF2-40B4-BE49-F238E27FC236}">
                    <a16:creationId xmlns:a16="http://schemas.microsoft.com/office/drawing/2014/main" id="{F886221C-A4BB-461E-9854-674B29ED780A}"/>
                  </a:ext>
                </a:extLst>
              </p:cNvPr>
              <p:cNvSpPr/>
              <p:nvPr/>
            </p:nvSpPr>
            <p:spPr>
              <a:xfrm>
                <a:off x="8878802" y="2648291"/>
                <a:ext cx="133503" cy="2247"/>
              </a:xfrm>
              <a:custGeom>
                <a:avLst/>
                <a:gdLst>
                  <a:gd name="connsiteX0" fmla="*/ 133504 w 133503"/>
                  <a:gd name="connsiteY0" fmla="*/ 2247 h 2247"/>
                  <a:gd name="connsiteX1" fmla="*/ 0 w 133503"/>
                  <a:gd name="connsiteY1" fmla="*/ 0 h 2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3503" h="2247">
                    <a:moveTo>
                      <a:pt x="133504" y="2247"/>
                    </a:moveTo>
                    <a:lnTo>
                      <a:pt x="0" y="0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" name="Полилиния: фигура 99">
                <a:extLst>
                  <a:ext uri="{FF2B5EF4-FFF2-40B4-BE49-F238E27FC236}">
                    <a16:creationId xmlns:a16="http://schemas.microsoft.com/office/drawing/2014/main" id="{F4695810-88E1-48E3-B3FC-A38E5AC88275}"/>
                  </a:ext>
                </a:extLst>
              </p:cNvPr>
              <p:cNvSpPr/>
              <p:nvPr/>
            </p:nvSpPr>
            <p:spPr>
              <a:xfrm>
                <a:off x="8262833" y="2266417"/>
                <a:ext cx="70188" cy="98343"/>
              </a:xfrm>
              <a:custGeom>
                <a:avLst/>
                <a:gdLst>
                  <a:gd name="connsiteX0" fmla="*/ 70189 w 70188"/>
                  <a:gd name="connsiteY0" fmla="*/ 98344 h 98343"/>
                  <a:gd name="connsiteX1" fmla="*/ 0 w 70188"/>
                  <a:gd name="connsiteY1" fmla="*/ 0 h 98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0188" h="98343">
                    <a:moveTo>
                      <a:pt x="70189" y="98344"/>
                    </a:moveTo>
                    <a:lnTo>
                      <a:pt x="0" y="0"/>
                    </a:lnTo>
                  </a:path>
                </a:pathLst>
              </a:custGeom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1" name="Рисунок 3">
              <a:extLst>
                <a:ext uri="{FF2B5EF4-FFF2-40B4-BE49-F238E27FC236}">
                  <a16:creationId xmlns:a16="http://schemas.microsoft.com/office/drawing/2014/main" id="{A4A89930-0E5E-4A8C-A53E-B6F111A4D6EF}"/>
                </a:ext>
              </a:extLst>
            </p:cNvPr>
            <p:cNvGrpSpPr/>
            <p:nvPr/>
          </p:nvGrpSpPr>
          <p:grpSpPr>
            <a:xfrm>
              <a:off x="8072705" y="1536598"/>
              <a:ext cx="1042361" cy="786006"/>
              <a:chOff x="8072705" y="1536598"/>
              <a:chExt cx="1042361" cy="786006"/>
            </a:xfrm>
          </p:grpSpPr>
          <p:sp>
            <p:nvSpPr>
              <p:cNvPr id="102" name="Полилиния: фигура 101">
                <a:extLst>
                  <a:ext uri="{FF2B5EF4-FFF2-40B4-BE49-F238E27FC236}">
                    <a16:creationId xmlns:a16="http://schemas.microsoft.com/office/drawing/2014/main" id="{4D3F27E9-5FEF-412F-867D-93EC24E769F9}"/>
                  </a:ext>
                </a:extLst>
              </p:cNvPr>
              <p:cNvSpPr/>
              <p:nvPr/>
            </p:nvSpPr>
            <p:spPr>
              <a:xfrm>
                <a:off x="8072705" y="1536598"/>
                <a:ext cx="1042361" cy="786006"/>
              </a:xfrm>
              <a:custGeom>
                <a:avLst/>
                <a:gdLst>
                  <a:gd name="connsiteX0" fmla="*/ 935768 w 1042361"/>
                  <a:gd name="connsiteY0" fmla="*/ 314371 h 786006"/>
                  <a:gd name="connsiteX1" fmla="*/ 866769 w 1042361"/>
                  <a:gd name="connsiteY1" fmla="*/ 423157 h 786006"/>
                  <a:gd name="connsiteX2" fmla="*/ 707754 w 1042361"/>
                  <a:gd name="connsiteY2" fmla="*/ 513173 h 786006"/>
                  <a:gd name="connsiteX3" fmla="*/ 653295 w 1042361"/>
                  <a:gd name="connsiteY3" fmla="*/ 722417 h 786006"/>
                  <a:gd name="connsiteX4" fmla="*/ 462820 w 1042361"/>
                  <a:gd name="connsiteY4" fmla="*/ 770532 h 786006"/>
                  <a:gd name="connsiteX5" fmla="*/ 312133 w 1042361"/>
                  <a:gd name="connsiteY5" fmla="*/ 628304 h 786006"/>
                  <a:gd name="connsiteX6" fmla="*/ 115446 w 1042361"/>
                  <a:gd name="connsiteY6" fmla="*/ 542517 h 786006"/>
                  <a:gd name="connsiteX7" fmla="*/ 50544 w 1042361"/>
                  <a:gd name="connsiteY7" fmla="*/ 347945 h 786006"/>
                  <a:gd name="connsiteX8" fmla="*/ 98658 w 1042361"/>
                  <a:gd name="connsiteY8" fmla="*/ 272601 h 786006"/>
                  <a:gd name="connsiteX9" fmla="*/ 33757 w 1042361"/>
                  <a:gd name="connsiteY9" fmla="*/ 314503 h 786006"/>
                  <a:gd name="connsiteX10" fmla="*/ 35872 w 1042361"/>
                  <a:gd name="connsiteY10" fmla="*/ 368962 h 786006"/>
                  <a:gd name="connsiteX11" fmla="*/ 315 w 1042361"/>
                  <a:gd name="connsiteY11" fmla="*/ 304061 h 786006"/>
                  <a:gd name="connsiteX12" fmla="*/ 180215 w 1042361"/>
                  <a:gd name="connsiteY12" fmla="*/ 170160 h 786006"/>
                  <a:gd name="connsiteX13" fmla="*/ 435459 w 1042361"/>
                  <a:gd name="connsiteY13" fmla="*/ 203602 h 786006"/>
                  <a:gd name="connsiteX14" fmla="*/ 740932 w 1042361"/>
                  <a:gd name="connsiteY14" fmla="*/ 570 h 786006"/>
                  <a:gd name="connsiteX15" fmla="*/ 943964 w 1042361"/>
                  <a:gd name="connsiteY15" fmla="*/ 75914 h 786006"/>
                  <a:gd name="connsiteX16" fmla="*/ 1036094 w 1042361"/>
                  <a:gd name="connsiteY16" fmla="*/ 203602 h 786006"/>
                  <a:gd name="connsiteX17" fmla="*/ 935636 w 1042361"/>
                  <a:gd name="connsiteY17" fmla="*/ 314503 h 786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42361" h="786006">
                    <a:moveTo>
                      <a:pt x="935768" y="314371"/>
                    </a:moveTo>
                    <a:cubicBezTo>
                      <a:pt x="935768" y="314371"/>
                      <a:pt x="925326" y="375042"/>
                      <a:pt x="866769" y="423157"/>
                    </a:cubicBezTo>
                    <a:cubicBezTo>
                      <a:pt x="808212" y="471271"/>
                      <a:pt x="722426" y="475501"/>
                      <a:pt x="707754" y="513173"/>
                    </a:cubicBezTo>
                    <a:cubicBezTo>
                      <a:pt x="693082" y="550845"/>
                      <a:pt x="688984" y="655401"/>
                      <a:pt x="653295" y="722417"/>
                    </a:cubicBezTo>
                    <a:cubicBezTo>
                      <a:pt x="617738" y="789434"/>
                      <a:pt x="544509" y="799876"/>
                      <a:pt x="462820" y="770532"/>
                    </a:cubicBezTo>
                    <a:cubicBezTo>
                      <a:pt x="381264" y="741187"/>
                      <a:pt x="379149" y="661746"/>
                      <a:pt x="312133" y="628304"/>
                    </a:cubicBezTo>
                    <a:cubicBezTo>
                      <a:pt x="245116" y="594861"/>
                      <a:pt x="169905" y="598959"/>
                      <a:pt x="115446" y="542517"/>
                    </a:cubicBezTo>
                    <a:cubicBezTo>
                      <a:pt x="60987" y="486075"/>
                      <a:pt x="17102" y="423289"/>
                      <a:pt x="50544" y="347945"/>
                    </a:cubicBezTo>
                    <a:cubicBezTo>
                      <a:pt x="83986" y="272601"/>
                      <a:pt x="98658" y="272601"/>
                      <a:pt x="98658" y="272601"/>
                    </a:cubicBezTo>
                    <a:cubicBezTo>
                      <a:pt x="98658" y="272601"/>
                      <a:pt x="48429" y="283044"/>
                      <a:pt x="33757" y="314503"/>
                    </a:cubicBezTo>
                    <a:cubicBezTo>
                      <a:pt x="19085" y="345830"/>
                      <a:pt x="35872" y="368962"/>
                      <a:pt x="35872" y="368962"/>
                    </a:cubicBezTo>
                    <a:cubicBezTo>
                      <a:pt x="35872" y="368962"/>
                      <a:pt x="-3915" y="358520"/>
                      <a:pt x="315" y="304061"/>
                    </a:cubicBezTo>
                    <a:cubicBezTo>
                      <a:pt x="4545" y="249602"/>
                      <a:pt x="69314" y="178488"/>
                      <a:pt x="180215" y="170160"/>
                    </a:cubicBezTo>
                    <a:cubicBezTo>
                      <a:pt x="291116" y="161833"/>
                      <a:pt x="343460" y="220389"/>
                      <a:pt x="435459" y="203602"/>
                    </a:cubicBezTo>
                    <a:cubicBezTo>
                      <a:pt x="527590" y="186815"/>
                      <a:pt x="632146" y="-11987"/>
                      <a:pt x="740932" y="570"/>
                    </a:cubicBezTo>
                    <a:cubicBezTo>
                      <a:pt x="849718" y="13128"/>
                      <a:pt x="862275" y="80144"/>
                      <a:pt x="943964" y="75914"/>
                    </a:cubicBezTo>
                    <a:cubicBezTo>
                      <a:pt x="1025520" y="71684"/>
                      <a:pt x="1056979" y="124028"/>
                      <a:pt x="1036094" y="203602"/>
                    </a:cubicBezTo>
                    <a:cubicBezTo>
                      <a:pt x="1015210" y="283176"/>
                      <a:pt x="935636" y="314503"/>
                      <a:pt x="935636" y="3145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321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" name="Полилиния: фигура 102">
                <a:extLst>
                  <a:ext uri="{FF2B5EF4-FFF2-40B4-BE49-F238E27FC236}">
                    <a16:creationId xmlns:a16="http://schemas.microsoft.com/office/drawing/2014/main" id="{3D17F230-1FDD-4D32-95F4-E54D2A7B36A9}"/>
                  </a:ext>
                </a:extLst>
              </p:cNvPr>
              <p:cNvSpPr/>
              <p:nvPr/>
            </p:nvSpPr>
            <p:spPr>
              <a:xfrm>
                <a:off x="8703000" y="1812777"/>
                <a:ext cx="305473" cy="43768"/>
              </a:xfrm>
              <a:custGeom>
                <a:avLst/>
                <a:gdLst>
                  <a:gd name="connsiteX0" fmla="*/ 305473 w 305473"/>
                  <a:gd name="connsiteY0" fmla="*/ 38191 h 43768"/>
                  <a:gd name="connsiteX1" fmla="*/ 175802 w 305473"/>
                  <a:gd name="connsiteY1" fmla="*/ 25634 h 43768"/>
                  <a:gd name="connsiteX2" fmla="*/ 0 w 305473"/>
                  <a:gd name="connsiteY2" fmla="*/ 27749 h 43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5473" h="43768">
                    <a:moveTo>
                      <a:pt x="305473" y="38191"/>
                    </a:moveTo>
                    <a:cubicBezTo>
                      <a:pt x="305473" y="38191"/>
                      <a:pt x="249031" y="56961"/>
                      <a:pt x="175802" y="25634"/>
                    </a:cubicBezTo>
                    <a:cubicBezTo>
                      <a:pt x="102573" y="-5693"/>
                      <a:pt x="31459" y="-12038"/>
                      <a:pt x="0" y="27749"/>
                    </a:cubicBezTo>
                  </a:path>
                </a:pathLst>
              </a:custGeom>
              <a:noFill/>
              <a:ln w="13213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" name="Полилиния: фигура 103">
                <a:extLst>
                  <a:ext uri="{FF2B5EF4-FFF2-40B4-BE49-F238E27FC236}">
                    <a16:creationId xmlns:a16="http://schemas.microsoft.com/office/drawing/2014/main" id="{B7256E65-32F6-4462-B9D3-F302A6CD0AFE}"/>
                  </a:ext>
                </a:extLst>
              </p:cNvPr>
              <p:cNvSpPr/>
              <p:nvPr/>
            </p:nvSpPr>
            <p:spPr>
              <a:xfrm>
                <a:off x="8723885" y="1737725"/>
                <a:ext cx="246916" cy="63014"/>
              </a:xfrm>
              <a:custGeom>
                <a:avLst/>
                <a:gdLst>
                  <a:gd name="connsiteX0" fmla="*/ 0 w 246916"/>
                  <a:gd name="connsiteY0" fmla="*/ 63015 h 63014"/>
                  <a:gd name="connsiteX1" fmla="*/ 102573 w 246916"/>
                  <a:gd name="connsiteY1" fmla="*/ 228 h 63014"/>
                  <a:gd name="connsiteX2" fmla="*/ 246916 w 246916"/>
                  <a:gd name="connsiteY2" fmla="*/ 8555 h 63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916" h="63014">
                    <a:moveTo>
                      <a:pt x="0" y="63015"/>
                    </a:moveTo>
                    <a:cubicBezTo>
                      <a:pt x="0" y="63015"/>
                      <a:pt x="35557" y="4458"/>
                      <a:pt x="102573" y="228"/>
                    </a:cubicBezTo>
                    <a:cubicBezTo>
                      <a:pt x="169590" y="-4002"/>
                      <a:pt x="198802" y="52572"/>
                      <a:pt x="246916" y="8555"/>
                    </a:cubicBezTo>
                  </a:path>
                </a:pathLst>
              </a:custGeom>
              <a:noFill/>
              <a:ln w="13213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24" name="Рисунок 2">
            <a:extLst>
              <a:ext uri="{FF2B5EF4-FFF2-40B4-BE49-F238E27FC236}">
                <a16:creationId xmlns:a16="http://schemas.microsoft.com/office/drawing/2014/main" id="{E1C817BB-5F9F-49D5-A3F4-E4E809796E50}"/>
              </a:ext>
            </a:extLst>
          </p:cNvPr>
          <p:cNvGrpSpPr/>
          <p:nvPr/>
        </p:nvGrpSpPr>
        <p:grpSpPr>
          <a:xfrm>
            <a:off x="823295" y="845375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24305933-DC93-423F-ABA7-E814A07D882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BC0EE0CB-835A-4C55-AF54-8507A76F869F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D8CE3834-88FC-4B55-A516-DF3C7FDF6E12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A75A1CDD-D8CA-4201-8D13-26AC224E7C50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</p:grpSp>
      <p:grpSp>
        <p:nvGrpSpPr>
          <p:cNvPr id="33" name="CDIConf_Black">
            <a:extLst>
              <a:ext uri="{FF2B5EF4-FFF2-40B4-BE49-F238E27FC236}">
                <a16:creationId xmlns:a16="http://schemas.microsoft.com/office/drawing/2014/main" id="{5B7DF3E0-0FA5-431A-BA80-05FB67A9FEC9}"/>
              </a:ext>
            </a:extLst>
          </p:cNvPr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B8A1F4DF-D29F-4E22-8CA3-A0BE77E047CD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5713B08D-F3B3-4CA3-A54A-7F87BDFCFCBF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ED3297AE-6AEE-4146-9966-86EFA70DEC57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E5E3243E-660B-4278-B254-1B426FFB8DEC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7" name="Заголовок">
            <a:extLst>
              <a:ext uri="{FF2B5EF4-FFF2-40B4-BE49-F238E27FC236}">
                <a16:creationId xmlns:a16="http://schemas.microsoft.com/office/drawing/2014/main" id="{0C336591-A4C1-4C08-BEFA-A6FBA99C517D}"/>
              </a:ext>
            </a:extLst>
          </p:cNvPr>
          <p:cNvSpPr txBox="1"/>
          <p:nvPr/>
        </p:nvSpPr>
        <p:spPr>
          <a:xfrm>
            <a:off x="723776" y="2261017"/>
            <a:ext cx="458811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b="1" dirty="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Будущее</a:t>
            </a:r>
          </a:p>
          <a:p>
            <a:r>
              <a:rPr lang="ru-RU" sz="5400" b="1" dirty="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не за горами!</a:t>
            </a: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EB327E5-CCA2-44B7-88E1-A007D03433B4}"/>
              </a:ext>
            </a:extLst>
          </p:cNvPr>
          <p:cNvGrpSpPr/>
          <p:nvPr/>
        </p:nvGrpSpPr>
        <p:grpSpPr>
          <a:xfrm>
            <a:off x="823295" y="5509934"/>
            <a:ext cx="3202071" cy="762000"/>
            <a:chOff x="1217541" y="5509934"/>
            <a:chExt cx="3202071" cy="762000"/>
          </a:xfrm>
        </p:grpSpPr>
        <p:grpSp>
          <p:nvGrpSpPr>
            <p:cNvPr id="46" name="Группа 45">
              <a:extLst>
                <a:ext uri="{FF2B5EF4-FFF2-40B4-BE49-F238E27FC236}">
                  <a16:creationId xmlns:a16="http://schemas.microsoft.com/office/drawing/2014/main" id="{C63E9FA5-B8D3-4493-BE1C-0D312C1268A3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50" name="Rounded Rectangle">
                <a:extLst>
                  <a:ext uri="{FF2B5EF4-FFF2-40B4-BE49-F238E27FC236}">
                    <a16:creationId xmlns:a16="http://schemas.microsoft.com/office/drawing/2014/main" id="{7EA9A5DE-57A5-433A-A458-C131E734CF7E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1" name="Market analysis">
                <a:extLst>
                  <a:ext uri="{FF2B5EF4-FFF2-40B4-BE49-F238E27FC236}">
                    <a16:creationId xmlns:a16="http://schemas.microsoft.com/office/drawing/2014/main" id="{EDE810FB-63D5-48FC-BFDE-8065603B1DFF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accent2"/>
                    </a:solidFill>
                    <a:latin typeface="Roboto" pitchFamily="2" charset="0"/>
                    <a:ea typeface="Roboto" pitchFamily="2" charset="0"/>
                    <a:cs typeface="Poppins SemiBold"/>
                  </a:rPr>
                  <a:t>Дмитрий Локтев</a:t>
                </a:r>
              </a:p>
            </p:txBody>
          </p:sp>
          <p:sp>
            <p:nvSpPr>
              <p:cNvPr id="52" name="Market analysis">
                <a:extLst>
                  <a:ext uri="{FF2B5EF4-FFF2-40B4-BE49-F238E27FC236}">
                    <a16:creationId xmlns:a16="http://schemas.microsoft.com/office/drawing/2014/main" id="{324013C5-1519-45D6-9B4C-FC0CD18E836C}"/>
                  </a:ext>
                </a:extLst>
              </p:cNvPr>
              <p:cNvSpPr txBox="1"/>
              <p:nvPr/>
            </p:nvSpPr>
            <p:spPr>
              <a:xfrm>
                <a:off x="1307014" y="1830776"/>
                <a:ext cx="2168875" cy="2877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Roboto Light" panose="02000000000000000000" pitchFamily="2" charset="0"/>
                    <a:ea typeface="Roboto Light" panose="02000000000000000000" pitchFamily="2" charset="0"/>
                  </a:rPr>
                  <a:t>Владелец платформы по работе с клиентскими данными</a:t>
                </a:r>
                <a:endPara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</p:grpSp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702782E9-7ED1-4C87-8439-A21F214F38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450" b="29690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pic>
        <p:nvPicPr>
          <p:cNvPr id="106" name="ОТП_Logo">
            <a:extLst>
              <a:ext uri="{FF2B5EF4-FFF2-40B4-BE49-F238E27FC236}">
                <a16:creationId xmlns:a16="http://schemas.microsoft.com/office/drawing/2014/main" id="{06BBB019-618F-4342-8F0E-88CC8666201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850" y="407745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2408295"/>
      </p:ext>
    </p:extLst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3730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pic>
        <p:nvPicPr>
          <p:cNvPr id="1015" name="Рисунок 1014">
            <a:extLst>
              <a:ext uri="{FF2B5EF4-FFF2-40B4-BE49-F238E27FC236}">
                <a16:creationId xmlns:a16="http://schemas.microsoft.com/office/drawing/2014/main" id="{5399BF01-33A0-4E42-8643-270EEF4B61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339226" y="2807816"/>
            <a:ext cx="707460" cy="1242368"/>
          </a:xfrm>
          <a:prstGeom prst="rect">
            <a:avLst/>
          </a:prstGeom>
        </p:spPr>
      </p:pic>
      <p:grpSp>
        <p:nvGrpSpPr>
          <p:cNvPr id="423" name="CRM">
            <a:extLst>
              <a:ext uri="{FF2B5EF4-FFF2-40B4-BE49-F238E27FC236}">
                <a16:creationId xmlns:a16="http://schemas.microsoft.com/office/drawing/2014/main" id="{A3F61585-39DA-4C2E-AF33-B57587D040AE}"/>
              </a:ext>
            </a:extLst>
          </p:cNvPr>
          <p:cNvGrpSpPr/>
          <p:nvPr/>
        </p:nvGrpSpPr>
        <p:grpSpPr>
          <a:xfrm>
            <a:off x="326727" y="1628198"/>
            <a:ext cx="1990842" cy="2217437"/>
            <a:chOff x="2450726" y="1495697"/>
            <a:chExt cx="2224863" cy="2478094"/>
          </a:xfrm>
        </p:grpSpPr>
        <p:sp>
          <p:nvSpPr>
            <p:cNvPr id="424" name="Shape_фон">
              <a:extLst>
                <a:ext uri="{FF2B5EF4-FFF2-40B4-BE49-F238E27FC236}">
                  <a16:creationId xmlns:a16="http://schemas.microsoft.com/office/drawing/2014/main" id="{7878CDE7-F528-408C-87CD-39749D6BBA12}"/>
                </a:ext>
              </a:extLst>
            </p:cNvPr>
            <p:cNvSpPr/>
            <p:nvPr/>
          </p:nvSpPr>
          <p:spPr>
            <a:xfrm>
              <a:off x="2450726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5" name="Описание">
              <a:extLst>
                <a:ext uri="{FF2B5EF4-FFF2-40B4-BE49-F238E27FC236}">
                  <a16:creationId xmlns:a16="http://schemas.microsoft.com/office/drawing/2014/main" id="{DFFCD45F-9501-4B00-B673-679611028C43}"/>
                </a:ext>
              </a:extLst>
            </p:cNvPr>
            <p:cNvSpPr txBox="1"/>
            <p:nvPr/>
          </p:nvSpPr>
          <p:spPr>
            <a:xfrm>
              <a:off x="3213650" y="1661541"/>
              <a:ext cx="699017" cy="378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426" name="Группа 425">
              <a:extLst>
                <a:ext uri="{FF2B5EF4-FFF2-40B4-BE49-F238E27FC236}">
                  <a16:creationId xmlns:a16="http://schemas.microsoft.com/office/drawing/2014/main" id="{E843A88F-BF01-4D9A-B2C4-225A4BC4E112}"/>
                </a:ext>
              </a:extLst>
            </p:cNvPr>
            <p:cNvGrpSpPr/>
            <p:nvPr/>
          </p:nvGrpSpPr>
          <p:grpSpPr>
            <a:xfrm>
              <a:off x="2602581" y="2185291"/>
              <a:ext cx="1823301" cy="295269"/>
              <a:chOff x="2554158" y="1493927"/>
              <a:chExt cx="3536455" cy="572700"/>
            </a:xfrm>
          </p:grpSpPr>
          <p:sp>
            <p:nvSpPr>
              <p:cNvPr id="507" name="Rounded Rectangle">
                <a:extLst>
                  <a:ext uri="{FF2B5EF4-FFF2-40B4-BE49-F238E27FC236}">
                    <a16:creationId xmlns:a16="http://schemas.microsoft.com/office/drawing/2014/main" id="{2001BEB1-3129-43D5-B9AF-B780C191B98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08" name="Market analysis">
                <a:extLst>
                  <a:ext uri="{FF2B5EF4-FFF2-40B4-BE49-F238E27FC236}">
                    <a16:creationId xmlns:a16="http://schemas.microsoft.com/office/drawing/2014/main" id="{0E251291-E46C-4104-88B4-DFD89B1C8EF9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09" name="Группа 508">
                <a:extLst>
                  <a:ext uri="{FF2B5EF4-FFF2-40B4-BE49-F238E27FC236}">
                    <a16:creationId xmlns:a16="http://schemas.microsoft.com/office/drawing/2014/main" id="{A6B1CA66-38E0-4664-8584-8D592CA18A8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10" name="Circle">
                  <a:extLst>
                    <a:ext uri="{FF2B5EF4-FFF2-40B4-BE49-F238E27FC236}">
                      <a16:creationId xmlns:a16="http://schemas.microsoft.com/office/drawing/2014/main" id="{399E168E-8E09-4CDF-840E-91509301C36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11" name="Группа 510">
                  <a:extLst>
                    <a:ext uri="{FF2B5EF4-FFF2-40B4-BE49-F238E27FC236}">
                      <a16:creationId xmlns:a16="http://schemas.microsoft.com/office/drawing/2014/main" id="{DED5F3D6-2998-46C7-86DF-529C63D78D4B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12" name="Полилиния: фигура 511">
                    <a:extLst>
                      <a:ext uri="{FF2B5EF4-FFF2-40B4-BE49-F238E27FC236}">
                        <a16:creationId xmlns:a16="http://schemas.microsoft.com/office/drawing/2014/main" id="{59439FD0-1B63-47A3-B44E-58A09694302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13" name="Карточка 1_Ава">
                    <a:extLst>
                      <a:ext uri="{FF2B5EF4-FFF2-40B4-BE49-F238E27FC236}">
                        <a16:creationId xmlns:a16="http://schemas.microsoft.com/office/drawing/2014/main" id="{550D69D0-E53A-4518-911B-F05875E47F9D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14" name="Карточка 1_Ава">
                      <a:extLst>
                        <a:ext uri="{FF2B5EF4-FFF2-40B4-BE49-F238E27FC236}">
                          <a16:creationId xmlns:a16="http://schemas.microsoft.com/office/drawing/2014/main" id="{CFF179E0-A736-46C1-AC94-F515DD8F71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20" name="Полилиния: фигура 519">
                        <a:extLst>
                          <a:ext uri="{FF2B5EF4-FFF2-40B4-BE49-F238E27FC236}">
                            <a16:creationId xmlns:a16="http://schemas.microsoft.com/office/drawing/2014/main" id="{406D109B-0A15-4879-BE7C-683BE87513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1" name="Полилиния: фигура 520">
                        <a:extLst>
                          <a:ext uri="{FF2B5EF4-FFF2-40B4-BE49-F238E27FC236}">
                            <a16:creationId xmlns:a16="http://schemas.microsoft.com/office/drawing/2014/main" id="{B555FD09-4780-4DA1-838F-03FB857DD3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2" name="Полилиния: фигура 521">
                        <a:extLst>
                          <a:ext uri="{FF2B5EF4-FFF2-40B4-BE49-F238E27FC236}">
                            <a16:creationId xmlns:a16="http://schemas.microsoft.com/office/drawing/2014/main" id="{7F49EE6B-CE61-4AA4-8AAD-0B919A2450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3" name="Полилиния: фигура 522">
                        <a:extLst>
                          <a:ext uri="{FF2B5EF4-FFF2-40B4-BE49-F238E27FC236}">
                            <a16:creationId xmlns:a16="http://schemas.microsoft.com/office/drawing/2014/main" id="{2448845D-7285-48F3-9595-14958E0C95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4" name="Полилиния: фигура 523">
                        <a:extLst>
                          <a:ext uri="{FF2B5EF4-FFF2-40B4-BE49-F238E27FC236}">
                            <a16:creationId xmlns:a16="http://schemas.microsoft.com/office/drawing/2014/main" id="{65D2EA56-B892-4817-97C4-4C635B95D4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5" name="Полилиния: фигура 524">
                        <a:extLst>
                          <a:ext uri="{FF2B5EF4-FFF2-40B4-BE49-F238E27FC236}">
                            <a16:creationId xmlns:a16="http://schemas.microsoft.com/office/drawing/2014/main" id="{FFAD1468-30CB-4A31-A3EE-FA4942AAEA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6" name="Полилиния: фигура 525">
                        <a:extLst>
                          <a:ext uri="{FF2B5EF4-FFF2-40B4-BE49-F238E27FC236}">
                            <a16:creationId xmlns:a16="http://schemas.microsoft.com/office/drawing/2014/main" id="{95E0CE84-451D-4111-A94B-7C66BDB7A7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7" name="Полилиния: фигура 526">
                        <a:extLst>
                          <a:ext uri="{FF2B5EF4-FFF2-40B4-BE49-F238E27FC236}">
                            <a16:creationId xmlns:a16="http://schemas.microsoft.com/office/drawing/2014/main" id="{71E941D3-62BB-4D8E-A233-07A04027DC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8" name="Полилиния: фигура 527">
                        <a:extLst>
                          <a:ext uri="{FF2B5EF4-FFF2-40B4-BE49-F238E27FC236}">
                            <a16:creationId xmlns:a16="http://schemas.microsoft.com/office/drawing/2014/main" id="{E9039AD8-9D63-4305-9DFC-44C19020CC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9" name="Полилиния: фигура 528">
                        <a:extLst>
                          <a:ext uri="{FF2B5EF4-FFF2-40B4-BE49-F238E27FC236}">
                            <a16:creationId xmlns:a16="http://schemas.microsoft.com/office/drawing/2014/main" id="{64AE1832-AF6C-44BE-948C-57F470B9F6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0" name="Полилиния: фигура 529">
                        <a:extLst>
                          <a:ext uri="{FF2B5EF4-FFF2-40B4-BE49-F238E27FC236}">
                            <a16:creationId xmlns:a16="http://schemas.microsoft.com/office/drawing/2014/main" id="{B94DF908-4733-4E4A-8495-8AA1553E0D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1" name="Полилиния: фигура 530">
                        <a:extLst>
                          <a:ext uri="{FF2B5EF4-FFF2-40B4-BE49-F238E27FC236}">
                            <a16:creationId xmlns:a16="http://schemas.microsoft.com/office/drawing/2014/main" id="{9741B104-13B5-491D-9679-5E555D22EE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15" name="Карточка 1_Ава">
                      <a:extLst>
                        <a:ext uri="{FF2B5EF4-FFF2-40B4-BE49-F238E27FC236}">
                          <a16:creationId xmlns:a16="http://schemas.microsoft.com/office/drawing/2014/main" id="{EEC038D0-0EF0-493E-8FCA-EE2C3B648F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16" name="Полилиния: фигура 515">
                        <a:extLst>
                          <a:ext uri="{FF2B5EF4-FFF2-40B4-BE49-F238E27FC236}">
                            <a16:creationId xmlns:a16="http://schemas.microsoft.com/office/drawing/2014/main" id="{F8A372F1-12CF-4B70-AA2A-CADE175D19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7" name="Полилиния: фигура 516">
                        <a:extLst>
                          <a:ext uri="{FF2B5EF4-FFF2-40B4-BE49-F238E27FC236}">
                            <a16:creationId xmlns:a16="http://schemas.microsoft.com/office/drawing/2014/main" id="{63C87A1D-1687-4DF6-B774-F6289F26B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8" name="Полилиния: фигура 517">
                        <a:extLst>
                          <a:ext uri="{FF2B5EF4-FFF2-40B4-BE49-F238E27FC236}">
                            <a16:creationId xmlns:a16="http://schemas.microsoft.com/office/drawing/2014/main" id="{2E17D723-EDE0-4F4C-B68F-7FF282D756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9" name="Полилиния: фигура 518">
                        <a:extLst>
                          <a:ext uri="{FF2B5EF4-FFF2-40B4-BE49-F238E27FC236}">
                            <a16:creationId xmlns:a16="http://schemas.microsoft.com/office/drawing/2014/main" id="{C3DC3479-B0CA-4047-8664-DEA49580C7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7" name="Группа 426">
              <a:extLst>
                <a:ext uri="{FF2B5EF4-FFF2-40B4-BE49-F238E27FC236}">
                  <a16:creationId xmlns:a16="http://schemas.microsoft.com/office/drawing/2014/main" id="{61425FC2-670A-442D-B8B2-A7C30ECB7369}"/>
                </a:ext>
              </a:extLst>
            </p:cNvPr>
            <p:cNvGrpSpPr/>
            <p:nvPr/>
          </p:nvGrpSpPr>
          <p:grpSpPr>
            <a:xfrm>
              <a:off x="2602581" y="3442801"/>
              <a:ext cx="1823301" cy="295269"/>
              <a:chOff x="2554158" y="1493927"/>
              <a:chExt cx="3536455" cy="572700"/>
            </a:xfrm>
          </p:grpSpPr>
          <p:sp>
            <p:nvSpPr>
              <p:cNvPr id="480" name="Rounded Rectangle">
                <a:extLst>
                  <a:ext uri="{FF2B5EF4-FFF2-40B4-BE49-F238E27FC236}">
                    <a16:creationId xmlns:a16="http://schemas.microsoft.com/office/drawing/2014/main" id="{2CA65C8F-03E3-4A6E-9956-D5C92C1B7CD8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81" name="Market analysis">
                <a:extLst>
                  <a:ext uri="{FF2B5EF4-FFF2-40B4-BE49-F238E27FC236}">
                    <a16:creationId xmlns:a16="http://schemas.microsoft.com/office/drawing/2014/main" id="{A99854CA-5B1A-417F-B920-E5524BB96D88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82" name="Группа 481">
                <a:extLst>
                  <a:ext uri="{FF2B5EF4-FFF2-40B4-BE49-F238E27FC236}">
                    <a16:creationId xmlns:a16="http://schemas.microsoft.com/office/drawing/2014/main" id="{1CBC767F-1319-40D9-8EB1-79D7E19611F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83" name="Circle">
                  <a:extLst>
                    <a:ext uri="{FF2B5EF4-FFF2-40B4-BE49-F238E27FC236}">
                      <a16:creationId xmlns:a16="http://schemas.microsoft.com/office/drawing/2014/main" id="{456B70BB-2E23-4D60-8471-24B22E13507C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84" name="Группа 483">
                  <a:extLst>
                    <a:ext uri="{FF2B5EF4-FFF2-40B4-BE49-F238E27FC236}">
                      <a16:creationId xmlns:a16="http://schemas.microsoft.com/office/drawing/2014/main" id="{1EF80A3E-FB77-4BA4-AF74-329CE7F770D5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85" name="Полилиния: фигура 484">
                    <a:extLst>
                      <a:ext uri="{FF2B5EF4-FFF2-40B4-BE49-F238E27FC236}">
                        <a16:creationId xmlns:a16="http://schemas.microsoft.com/office/drawing/2014/main" id="{ED2EA330-5487-4310-BC8D-097BAB8E60CA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86" name="Карточка 1_Ава">
                    <a:extLst>
                      <a:ext uri="{FF2B5EF4-FFF2-40B4-BE49-F238E27FC236}">
                        <a16:creationId xmlns:a16="http://schemas.microsoft.com/office/drawing/2014/main" id="{A7F4D18F-8360-4D6E-A772-28244A26BCF7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87" name="Карточка 1_Ава">
                      <a:extLst>
                        <a:ext uri="{FF2B5EF4-FFF2-40B4-BE49-F238E27FC236}">
                          <a16:creationId xmlns:a16="http://schemas.microsoft.com/office/drawing/2014/main" id="{F15F7CBE-CD5A-4629-9E21-47BC09502F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95" name="Полилиния: фигура 494">
                        <a:extLst>
                          <a:ext uri="{FF2B5EF4-FFF2-40B4-BE49-F238E27FC236}">
                            <a16:creationId xmlns:a16="http://schemas.microsoft.com/office/drawing/2014/main" id="{8EE2070B-6468-4256-89D3-984F7A9551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6" name="Полилиния: фигура 495">
                        <a:extLst>
                          <a:ext uri="{FF2B5EF4-FFF2-40B4-BE49-F238E27FC236}">
                            <a16:creationId xmlns:a16="http://schemas.microsoft.com/office/drawing/2014/main" id="{1C761FD0-3143-4F89-A61B-E355D1C5DF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7" name="Полилиния: фигура 496">
                        <a:extLst>
                          <a:ext uri="{FF2B5EF4-FFF2-40B4-BE49-F238E27FC236}">
                            <a16:creationId xmlns:a16="http://schemas.microsoft.com/office/drawing/2014/main" id="{61865543-A961-4CB6-956D-BEC2658AA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8" name="Полилиния: фигура 497">
                        <a:extLst>
                          <a:ext uri="{FF2B5EF4-FFF2-40B4-BE49-F238E27FC236}">
                            <a16:creationId xmlns:a16="http://schemas.microsoft.com/office/drawing/2014/main" id="{307B1BCC-C986-4131-AC97-4B8DACA244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9" name="Полилиния: фигура 498">
                        <a:extLst>
                          <a:ext uri="{FF2B5EF4-FFF2-40B4-BE49-F238E27FC236}">
                            <a16:creationId xmlns:a16="http://schemas.microsoft.com/office/drawing/2014/main" id="{82A96983-3998-4652-8FAE-230CDE6772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0" name="Полилиния: фигура 499">
                        <a:extLst>
                          <a:ext uri="{FF2B5EF4-FFF2-40B4-BE49-F238E27FC236}">
                            <a16:creationId xmlns:a16="http://schemas.microsoft.com/office/drawing/2014/main" id="{63320C22-1DC5-4970-85B0-379B12F592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1" name="Полилиния: фигура 500">
                        <a:extLst>
                          <a:ext uri="{FF2B5EF4-FFF2-40B4-BE49-F238E27FC236}">
                            <a16:creationId xmlns:a16="http://schemas.microsoft.com/office/drawing/2014/main" id="{C1A28B5E-B267-47FD-9248-9A26A90D1B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2" name="Полилиния: фигура 501">
                        <a:extLst>
                          <a:ext uri="{FF2B5EF4-FFF2-40B4-BE49-F238E27FC236}">
                            <a16:creationId xmlns:a16="http://schemas.microsoft.com/office/drawing/2014/main" id="{C94FF993-4AE7-4B79-AC6D-4D500F2285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3" name="Полилиния: фигура 502">
                        <a:extLst>
                          <a:ext uri="{FF2B5EF4-FFF2-40B4-BE49-F238E27FC236}">
                            <a16:creationId xmlns:a16="http://schemas.microsoft.com/office/drawing/2014/main" id="{F6BF10C4-979B-4C43-88DC-6AFEAED388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4" name="Полилиния: фигура 503">
                        <a:extLst>
                          <a:ext uri="{FF2B5EF4-FFF2-40B4-BE49-F238E27FC236}">
                            <a16:creationId xmlns:a16="http://schemas.microsoft.com/office/drawing/2014/main" id="{1766256F-DFEF-43ED-AD6F-35A3696110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5" name="Полилиния: фигура 504">
                        <a:extLst>
                          <a:ext uri="{FF2B5EF4-FFF2-40B4-BE49-F238E27FC236}">
                            <a16:creationId xmlns:a16="http://schemas.microsoft.com/office/drawing/2014/main" id="{60DDAC27-CFC0-4F15-A34C-0766527E32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6" name="Полилиния: фигура 505">
                        <a:extLst>
                          <a:ext uri="{FF2B5EF4-FFF2-40B4-BE49-F238E27FC236}">
                            <a16:creationId xmlns:a16="http://schemas.microsoft.com/office/drawing/2014/main" id="{6E32D738-7CCC-4D45-91B1-5EBBD32CED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88" name="Карточка 1_Ава">
                      <a:extLst>
                        <a:ext uri="{FF2B5EF4-FFF2-40B4-BE49-F238E27FC236}">
                          <a16:creationId xmlns:a16="http://schemas.microsoft.com/office/drawing/2014/main" id="{96AFF877-251A-4D63-8F31-79B5C2D5948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91" name="Полилиния: фигура 490">
                        <a:extLst>
                          <a:ext uri="{FF2B5EF4-FFF2-40B4-BE49-F238E27FC236}">
                            <a16:creationId xmlns:a16="http://schemas.microsoft.com/office/drawing/2014/main" id="{A2E2F93E-CC38-482F-913E-851276A714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2" name="Полилиния: фигура 491">
                        <a:extLst>
                          <a:ext uri="{FF2B5EF4-FFF2-40B4-BE49-F238E27FC236}">
                            <a16:creationId xmlns:a16="http://schemas.microsoft.com/office/drawing/2014/main" id="{84F7B742-0803-463E-9455-75E207CF49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3" name="Полилиния: фигура 492">
                        <a:extLst>
                          <a:ext uri="{FF2B5EF4-FFF2-40B4-BE49-F238E27FC236}">
                            <a16:creationId xmlns:a16="http://schemas.microsoft.com/office/drawing/2014/main" id="{56500E88-A81E-4563-A470-28D61299DF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4" name="Полилиния: фигура 493">
                        <a:extLst>
                          <a:ext uri="{FF2B5EF4-FFF2-40B4-BE49-F238E27FC236}">
                            <a16:creationId xmlns:a16="http://schemas.microsoft.com/office/drawing/2014/main" id="{5BC719B6-BBDC-429C-8AD9-06CDE96475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8" name="Группа 427">
              <a:extLst>
                <a:ext uri="{FF2B5EF4-FFF2-40B4-BE49-F238E27FC236}">
                  <a16:creationId xmlns:a16="http://schemas.microsoft.com/office/drawing/2014/main" id="{3A8651F0-708C-4CA7-9153-E4070D0A0165}"/>
                </a:ext>
              </a:extLst>
            </p:cNvPr>
            <p:cNvGrpSpPr/>
            <p:nvPr/>
          </p:nvGrpSpPr>
          <p:grpSpPr>
            <a:xfrm>
              <a:off x="2602581" y="2604461"/>
              <a:ext cx="1823301" cy="295269"/>
              <a:chOff x="2554158" y="1493927"/>
              <a:chExt cx="3536455" cy="572700"/>
            </a:xfrm>
          </p:grpSpPr>
          <p:sp>
            <p:nvSpPr>
              <p:cNvPr id="455" name="Rounded Rectangle">
                <a:extLst>
                  <a:ext uri="{FF2B5EF4-FFF2-40B4-BE49-F238E27FC236}">
                    <a16:creationId xmlns:a16="http://schemas.microsoft.com/office/drawing/2014/main" id="{FD5C4707-977C-41CE-90F5-D343358D6F8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56" name="Market analysis">
                <a:extLst>
                  <a:ext uri="{FF2B5EF4-FFF2-40B4-BE49-F238E27FC236}">
                    <a16:creationId xmlns:a16="http://schemas.microsoft.com/office/drawing/2014/main" id="{89B1CE1B-A35F-4CEA-93A9-FFFAF94D1E15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57" name="Группа 456">
                <a:extLst>
                  <a:ext uri="{FF2B5EF4-FFF2-40B4-BE49-F238E27FC236}">
                    <a16:creationId xmlns:a16="http://schemas.microsoft.com/office/drawing/2014/main" id="{33F7363E-A732-4BE7-A38F-8635781D1B4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58" name="Circle">
                  <a:extLst>
                    <a:ext uri="{FF2B5EF4-FFF2-40B4-BE49-F238E27FC236}">
                      <a16:creationId xmlns:a16="http://schemas.microsoft.com/office/drawing/2014/main" id="{3B2CC185-F5E5-4C8F-843F-FFB921FFD79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59" name="Группа 458">
                  <a:extLst>
                    <a:ext uri="{FF2B5EF4-FFF2-40B4-BE49-F238E27FC236}">
                      <a16:creationId xmlns:a16="http://schemas.microsoft.com/office/drawing/2014/main" id="{F99CA689-8A92-4E72-9EA5-9644734FD46A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60" name="Полилиния: фигура 459">
                    <a:extLst>
                      <a:ext uri="{FF2B5EF4-FFF2-40B4-BE49-F238E27FC236}">
                        <a16:creationId xmlns:a16="http://schemas.microsoft.com/office/drawing/2014/main" id="{71A9961E-9F16-45C1-861C-DAAFA0664F7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61" name="Карточка 1_Ава">
                    <a:extLst>
                      <a:ext uri="{FF2B5EF4-FFF2-40B4-BE49-F238E27FC236}">
                        <a16:creationId xmlns:a16="http://schemas.microsoft.com/office/drawing/2014/main" id="{DD6F7009-A6CC-48E9-84C3-5118824B11A8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62" name="Карточка 1_Ава">
                      <a:extLst>
                        <a:ext uri="{FF2B5EF4-FFF2-40B4-BE49-F238E27FC236}">
                          <a16:creationId xmlns:a16="http://schemas.microsoft.com/office/drawing/2014/main" id="{BB27BFB3-7B12-43FA-A55A-0F89C7B59F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68" name="Полилиния: фигура 467">
                        <a:extLst>
                          <a:ext uri="{FF2B5EF4-FFF2-40B4-BE49-F238E27FC236}">
                            <a16:creationId xmlns:a16="http://schemas.microsoft.com/office/drawing/2014/main" id="{A326D694-3261-4E71-B817-DB188929B1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9" name="Полилиния: фигура 468">
                        <a:extLst>
                          <a:ext uri="{FF2B5EF4-FFF2-40B4-BE49-F238E27FC236}">
                            <a16:creationId xmlns:a16="http://schemas.microsoft.com/office/drawing/2014/main" id="{FE73562B-4336-4AD5-93A4-599246A39C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0" name="Полилиния: фигура 469">
                        <a:extLst>
                          <a:ext uri="{FF2B5EF4-FFF2-40B4-BE49-F238E27FC236}">
                            <a16:creationId xmlns:a16="http://schemas.microsoft.com/office/drawing/2014/main" id="{94C7FCD3-96C8-4556-BC5B-01930A254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1" name="Полилиния: фигура 470">
                        <a:extLst>
                          <a:ext uri="{FF2B5EF4-FFF2-40B4-BE49-F238E27FC236}">
                            <a16:creationId xmlns:a16="http://schemas.microsoft.com/office/drawing/2014/main" id="{F1E64F4F-CB0D-4864-896F-08FC846FF2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2" name="Полилиния: фигура 471">
                        <a:extLst>
                          <a:ext uri="{FF2B5EF4-FFF2-40B4-BE49-F238E27FC236}">
                            <a16:creationId xmlns:a16="http://schemas.microsoft.com/office/drawing/2014/main" id="{E4416BD4-B57D-4326-A9C3-2ABC138B85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3" name="Полилиния: фигура 472">
                        <a:extLst>
                          <a:ext uri="{FF2B5EF4-FFF2-40B4-BE49-F238E27FC236}">
                            <a16:creationId xmlns:a16="http://schemas.microsoft.com/office/drawing/2014/main" id="{BDDDE06F-6732-4FF1-B2BE-01DC70A0D5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4" name="Полилиния: фигура 473">
                        <a:extLst>
                          <a:ext uri="{FF2B5EF4-FFF2-40B4-BE49-F238E27FC236}">
                            <a16:creationId xmlns:a16="http://schemas.microsoft.com/office/drawing/2014/main" id="{12637B7D-5666-4996-AF00-E6A45F7D9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5" name="Полилиния: фигура 474">
                        <a:extLst>
                          <a:ext uri="{FF2B5EF4-FFF2-40B4-BE49-F238E27FC236}">
                            <a16:creationId xmlns:a16="http://schemas.microsoft.com/office/drawing/2014/main" id="{FC5FDCF0-9B09-4BF7-ACAC-CEF4A71732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6" name="Полилиния: фигура 475">
                        <a:extLst>
                          <a:ext uri="{FF2B5EF4-FFF2-40B4-BE49-F238E27FC236}">
                            <a16:creationId xmlns:a16="http://schemas.microsoft.com/office/drawing/2014/main" id="{E7599BC2-986E-4626-ABE4-F78D5FC7E6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7" name="Полилиния: фигура 476">
                        <a:extLst>
                          <a:ext uri="{FF2B5EF4-FFF2-40B4-BE49-F238E27FC236}">
                            <a16:creationId xmlns:a16="http://schemas.microsoft.com/office/drawing/2014/main" id="{1135FFA8-DDD7-4444-B569-D1BCB8500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8" name="Полилиния: фигура 477">
                        <a:extLst>
                          <a:ext uri="{FF2B5EF4-FFF2-40B4-BE49-F238E27FC236}">
                            <a16:creationId xmlns:a16="http://schemas.microsoft.com/office/drawing/2014/main" id="{1E5135C5-813E-4724-92E6-587FC29FA2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9" name="Полилиния: фигура 478">
                        <a:extLst>
                          <a:ext uri="{FF2B5EF4-FFF2-40B4-BE49-F238E27FC236}">
                            <a16:creationId xmlns:a16="http://schemas.microsoft.com/office/drawing/2014/main" id="{C1A2C35C-6648-43BA-B12B-F7C6827688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63" name="Карточка 1_Ава">
                      <a:extLst>
                        <a:ext uri="{FF2B5EF4-FFF2-40B4-BE49-F238E27FC236}">
                          <a16:creationId xmlns:a16="http://schemas.microsoft.com/office/drawing/2014/main" id="{5CF0686B-CD61-4F53-B7CC-8133CEF7E4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64" name="Полилиния: фигура 463">
                        <a:extLst>
                          <a:ext uri="{FF2B5EF4-FFF2-40B4-BE49-F238E27FC236}">
                            <a16:creationId xmlns:a16="http://schemas.microsoft.com/office/drawing/2014/main" id="{54516CFB-D142-47A6-8BF9-080D2FE035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5" name="Полилиния: фигура 464">
                        <a:extLst>
                          <a:ext uri="{FF2B5EF4-FFF2-40B4-BE49-F238E27FC236}">
                            <a16:creationId xmlns:a16="http://schemas.microsoft.com/office/drawing/2014/main" id="{F120232A-18E5-42C7-8FDD-97D8205E7C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6" name="Полилиния: фигура 465">
                        <a:extLst>
                          <a:ext uri="{FF2B5EF4-FFF2-40B4-BE49-F238E27FC236}">
                            <a16:creationId xmlns:a16="http://schemas.microsoft.com/office/drawing/2014/main" id="{4C7AA9EB-5B83-4EE0-8D12-B0EECBA569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7" name="Полилиния: фигура 466">
                        <a:extLst>
                          <a:ext uri="{FF2B5EF4-FFF2-40B4-BE49-F238E27FC236}">
                            <a16:creationId xmlns:a16="http://schemas.microsoft.com/office/drawing/2014/main" id="{913F7452-E411-4DE9-BA31-1D4E767291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9" name="Группа 428">
              <a:extLst>
                <a:ext uri="{FF2B5EF4-FFF2-40B4-BE49-F238E27FC236}">
                  <a16:creationId xmlns:a16="http://schemas.microsoft.com/office/drawing/2014/main" id="{23AC4740-F5A6-4CD7-9B9D-5CC90530413E}"/>
                </a:ext>
              </a:extLst>
            </p:cNvPr>
            <p:cNvGrpSpPr/>
            <p:nvPr/>
          </p:nvGrpSpPr>
          <p:grpSpPr>
            <a:xfrm>
              <a:off x="2602581" y="3023631"/>
              <a:ext cx="1823301" cy="295269"/>
              <a:chOff x="2554158" y="1493927"/>
              <a:chExt cx="3536455" cy="572700"/>
            </a:xfrm>
          </p:grpSpPr>
          <p:sp>
            <p:nvSpPr>
              <p:cNvPr id="430" name="Rounded Rectangle">
                <a:extLst>
                  <a:ext uri="{FF2B5EF4-FFF2-40B4-BE49-F238E27FC236}">
                    <a16:creationId xmlns:a16="http://schemas.microsoft.com/office/drawing/2014/main" id="{B365A9B2-8E66-445A-8D7D-4D89FDBB6776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31" name="Market analysis">
                <a:extLst>
                  <a:ext uri="{FF2B5EF4-FFF2-40B4-BE49-F238E27FC236}">
                    <a16:creationId xmlns:a16="http://schemas.microsoft.com/office/drawing/2014/main" id="{6CFBA5B6-030C-4E28-9A42-CC6CF0950203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32" name="Группа 431">
                <a:extLst>
                  <a:ext uri="{FF2B5EF4-FFF2-40B4-BE49-F238E27FC236}">
                    <a16:creationId xmlns:a16="http://schemas.microsoft.com/office/drawing/2014/main" id="{590AD656-235D-42E6-9694-F39DEBD877D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33" name="Circle">
                  <a:extLst>
                    <a:ext uri="{FF2B5EF4-FFF2-40B4-BE49-F238E27FC236}">
                      <a16:creationId xmlns:a16="http://schemas.microsoft.com/office/drawing/2014/main" id="{31A4A39D-86D1-4549-80B5-543903F57A3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34" name="Группа 433">
                  <a:extLst>
                    <a:ext uri="{FF2B5EF4-FFF2-40B4-BE49-F238E27FC236}">
                      <a16:creationId xmlns:a16="http://schemas.microsoft.com/office/drawing/2014/main" id="{5D3D6D78-C20D-4AD9-941D-E76E156FE113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35" name="Полилиния: фигура 434">
                    <a:extLst>
                      <a:ext uri="{FF2B5EF4-FFF2-40B4-BE49-F238E27FC236}">
                        <a16:creationId xmlns:a16="http://schemas.microsoft.com/office/drawing/2014/main" id="{4B73840D-F945-4416-8A1B-34EECB763410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36" name="Карточка 1_Ава">
                    <a:extLst>
                      <a:ext uri="{FF2B5EF4-FFF2-40B4-BE49-F238E27FC236}">
                        <a16:creationId xmlns:a16="http://schemas.microsoft.com/office/drawing/2014/main" id="{8940F4F1-10CF-4A2A-A019-F2D06406F93E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37" name="Карточка 1_Ава">
                      <a:extLst>
                        <a:ext uri="{FF2B5EF4-FFF2-40B4-BE49-F238E27FC236}">
                          <a16:creationId xmlns:a16="http://schemas.microsoft.com/office/drawing/2014/main" id="{75B9A704-B2BC-4190-8F4D-9AB3536B9E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43" name="Полилиния: фигура 442">
                        <a:extLst>
                          <a:ext uri="{FF2B5EF4-FFF2-40B4-BE49-F238E27FC236}">
                            <a16:creationId xmlns:a16="http://schemas.microsoft.com/office/drawing/2014/main" id="{0F6CEA1F-E1C8-4187-B2A6-FB36733571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4" name="Полилиния: фигура 443">
                        <a:extLst>
                          <a:ext uri="{FF2B5EF4-FFF2-40B4-BE49-F238E27FC236}">
                            <a16:creationId xmlns:a16="http://schemas.microsoft.com/office/drawing/2014/main" id="{DCEE02BB-1F55-432B-84D4-1750ACC3BA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5" name="Полилиния: фигура 444">
                        <a:extLst>
                          <a:ext uri="{FF2B5EF4-FFF2-40B4-BE49-F238E27FC236}">
                            <a16:creationId xmlns:a16="http://schemas.microsoft.com/office/drawing/2014/main" id="{9D64A0E1-3D63-4E54-929F-8E223108F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6" name="Полилиния: фигура 445">
                        <a:extLst>
                          <a:ext uri="{FF2B5EF4-FFF2-40B4-BE49-F238E27FC236}">
                            <a16:creationId xmlns:a16="http://schemas.microsoft.com/office/drawing/2014/main" id="{219863A7-3BE3-4855-B032-7F18BB2B8D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7" name="Полилиния: фигура 446">
                        <a:extLst>
                          <a:ext uri="{FF2B5EF4-FFF2-40B4-BE49-F238E27FC236}">
                            <a16:creationId xmlns:a16="http://schemas.microsoft.com/office/drawing/2014/main" id="{222FA527-049D-4080-B83E-62807BCB4C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8" name="Полилиния: фигура 447">
                        <a:extLst>
                          <a:ext uri="{FF2B5EF4-FFF2-40B4-BE49-F238E27FC236}">
                            <a16:creationId xmlns:a16="http://schemas.microsoft.com/office/drawing/2014/main" id="{4DF3ED31-D9E0-43F9-AA76-C111FA6771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9" name="Полилиния: фигура 448">
                        <a:extLst>
                          <a:ext uri="{FF2B5EF4-FFF2-40B4-BE49-F238E27FC236}">
                            <a16:creationId xmlns:a16="http://schemas.microsoft.com/office/drawing/2014/main" id="{BDD24AF0-0A68-4EEE-B7F1-14A838AFAB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0" name="Полилиния: фигура 449">
                        <a:extLst>
                          <a:ext uri="{FF2B5EF4-FFF2-40B4-BE49-F238E27FC236}">
                            <a16:creationId xmlns:a16="http://schemas.microsoft.com/office/drawing/2014/main" id="{861AF3B1-624C-41E6-8C1F-B14EC161D6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1" name="Полилиния: фигура 450">
                        <a:extLst>
                          <a:ext uri="{FF2B5EF4-FFF2-40B4-BE49-F238E27FC236}">
                            <a16:creationId xmlns:a16="http://schemas.microsoft.com/office/drawing/2014/main" id="{E9774A0A-59E2-4916-92F8-2DA535E53F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2" name="Полилиния: фигура 451">
                        <a:extLst>
                          <a:ext uri="{FF2B5EF4-FFF2-40B4-BE49-F238E27FC236}">
                            <a16:creationId xmlns:a16="http://schemas.microsoft.com/office/drawing/2014/main" id="{6006A2D1-FD33-476A-A80F-EC5C63217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3" name="Полилиния: фигура 452">
                        <a:extLst>
                          <a:ext uri="{FF2B5EF4-FFF2-40B4-BE49-F238E27FC236}">
                            <a16:creationId xmlns:a16="http://schemas.microsoft.com/office/drawing/2014/main" id="{D288A26A-8277-4F55-B586-F40BEFA3A2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4" name="Полилиния: фигура 453">
                        <a:extLst>
                          <a:ext uri="{FF2B5EF4-FFF2-40B4-BE49-F238E27FC236}">
                            <a16:creationId xmlns:a16="http://schemas.microsoft.com/office/drawing/2014/main" id="{1E6E730D-1014-4190-BE75-FF423422A5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38" name="Карточка 1_Ава">
                      <a:extLst>
                        <a:ext uri="{FF2B5EF4-FFF2-40B4-BE49-F238E27FC236}">
                          <a16:creationId xmlns:a16="http://schemas.microsoft.com/office/drawing/2014/main" id="{D7312DD7-1AD5-4E62-9A17-0064032761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39" name="Полилиния: фигура 438">
                        <a:extLst>
                          <a:ext uri="{FF2B5EF4-FFF2-40B4-BE49-F238E27FC236}">
                            <a16:creationId xmlns:a16="http://schemas.microsoft.com/office/drawing/2014/main" id="{895219D3-46F9-4612-9D6C-00F602E4D7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0" name="Полилиния: фигура 439">
                        <a:extLst>
                          <a:ext uri="{FF2B5EF4-FFF2-40B4-BE49-F238E27FC236}">
                            <a16:creationId xmlns:a16="http://schemas.microsoft.com/office/drawing/2014/main" id="{35787BB2-E41F-4B3F-BD80-E1C4F886A7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1" name="Полилиния: фигура 440">
                        <a:extLst>
                          <a:ext uri="{FF2B5EF4-FFF2-40B4-BE49-F238E27FC236}">
                            <a16:creationId xmlns:a16="http://schemas.microsoft.com/office/drawing/2014/main" id="{5A9127F8-27AD-49CD-86E6-75D5142245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2" name="Полилиния: фигура 441">
                        <a:extLst>
                          <a:ext uri="{FF2B5EF4-FFF2-40B4-BE49-F238E27FC236}">
                            <a16:creationId xmlns:a16="http://schemas.microsoft.com/office/drawing/2014/main" id="{80256AD4-589C-4E1C-A63C-26E5E4E7D1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532" name="АБС">
            <a:extLst>
              <a:ext uri="{FF2B5EF4-FFF2-40B4-BE49-F238E27FC236}">
                <a16:creationId xmlns:a16="http://schemas.microsoft.com/office/drawing/2014/main" id="{6DADECEF-1852-46BA-9DC5-2543F630F23C}"/>
              </a:ext>
            </a:extLst>
          </p:cNvPr>
          <p:cNvGrpSpPr/>
          <p:nvPr/>
        </p:nvGrpSpPr>
        <p:grpSpPr>
          <a:xfrm>
            <a:off x="2407471" y="1627897"/>
            <a:ext cx="1990842" cy="2217437"/>
            <a:chOff x="5218769" y="1495697"/>
            <a:chExt cx="2224863" cy="2478094"/>
          </a:xfrm>
        </p:grpSpPr>
        <p:sp>
          <p:nvSpPr>
            <p:cNvPr id="533" name="Shape_фон">
              <a:extLst>
                <a:ext uri="{FF2B5EF4-FFF2-40B4-BE49-F238E27FC236}">
                  <a16:creationId xmlns:a16="http://schemas.microsoft.com/office/drawing/2014/main" id="{6C9EE9C2-B9C9-4D8E-941B-E5408D804D30}"/>
                </a:ext>
              </a:extLst>
            </p:cNvPr>
            <p:cNvSpPr/>
            <p:nvPr/>
          </p:nvSpPr>
          <p:spPr>
            <a:xfrm>
              <a:off x="5218769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34" name="Описание">
              <a:extLst>
                <a:ext uri="{FF2B5EF4-FFF2-40B4-BE49-F238E27FC236}">
                  <a16:creationId xmlns:a16="http://schemas.microsoft.com/office/drawing/2014/main" id="{AA4342D2-3DAD-4D4D-8F9B-6CEDFD24E53A}"/>
                </a:ext>
              </a:extLst>
            </p:cNvPr>
            <p:cNvSpPr txBox="1"/>
            <p:nvPr/>
          </p:nvSpPr>
          <p:spPr>
            <a:xfrm>
              <a:off x="6010354" y="1663083"/>
              <a:ext cx="641691" cy="378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АБС</a:t>
              </a:r>
            </a:p>
          </p:txBody>
        </p:sp>
        <p:grpSp>
          <p:nvGrpSpPr>
            <p:cNvPr id="535" name="Группа 534">
              <a:extLst>
                <a:ext uri="{FF2B5EF4-FFF2-40B4-BE49-F238E27FC236}">
                  <a16:creationId xmlns:a16="http://schemas.microsoft.com/office/drawing/2014/main" id="{0511C410-4FF3-45B4-B725-B94F3C6AD8DF}"/>
                </a:ext>
              </a:extLst>
            </p:cNvPr>
            <p:cNvGrpSpPr/>
            <p:nvPr/>
          </p:nvGrpSpPr>
          <p:grpSpPr>
            <a:xfrm>
              <a:off x="5455160" y="2185291"/>
              <a:ext cx="1823301" cy="295269"/>
              <a:chOff x="2554158" y="1493927"/>
              <a:chExt cx="3536455" cy="572700"/>
            </a:xfrm>
          </p:grpSpPr>
          <p:sp>
            <p:nvSpPr>
              <p:cNvPr id="588" name="Rounded Rectangle">
                <a:extLst>
                  <a:ext uri="{FF2B5EF4-FFF2-40B4-BE49-F238E27FC236}">
                    <a16:creationId xmlns:a16="http://schemas.microsoft.com/office/drawing/2014/main" id="{1A4E7C93-48D2-485C-9953-7651F5EAC809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89" name="Market analysis">
                <a:extLst>
                  <a:ext uri="{FF2B5EF4-FFF2-40B4-BE49-F238E27FC236}">
                    <a16:creationId xmlns:a16="http://schemas.microsoft.com/office/drawing/2014/main" id="{1A5701E0-323B-4E73-80F0-267B57736F9D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90" name="Группа 589">
                <a:extLst>
                  <a:ext uri="{FF2B5EF4-FFF2-40B4-BE49-F238E27FC236}">
                    <a16:creationId xmlns:a16="http://schemas.microsoft.com/office/drawing/2014/main" id="{E9C26C44-3DE3-407D-9B15-96DDDD83DAA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91" name="Circle">
                  <a:extLst>
                    <a:ext uri="{FF2B5EF4-FFF2-40B4-BE49-F238E27FC236}">
                      <a16:creationId xmlns:a16="http://schemas.microsoft.com/office/drawing/2014/main" id="{AA8D897D-71FB-4879-93F9-042B7B67848F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92" name="Группа 591">
                  <a:extLst>
                    <a:ext uri="{FF2B5EF4-FFF2-40B4-BE49-F238E27FC236}">
                      <a16:creationId xmlns:a16="http://schemas.microsoft.com/office/drawing/2014/main" id="{B2FF3C4D-AE15-4C6A-8CEB-9FF575174FA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93" name="Полилиния: фигура 592">
                    <a:extLst>
                      <a:ext uri="{FF2B5EF4-FFF2-40B4-BE49-F238E27FC236}">
                        <a16:creationId xmlns:a16="http://schemas.microsoft.com/office/drawing/2014/main" id="{BD529CF0-AF11-4275-A6A5-0874AC9F8779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94" name="Карточка 1_Ава">
                    <a:extLst>
                      <a:ext uri="{FF2B5EF4-FFF2-40B4-BE49-F238E27FC236}">
                        <a16:creationId xmlns:a16="http://schemas.microsoft.com/office/drawing/2014/main" id="{C3035900-6D61-400F-BABC-86A39BD5E94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95" name="Карточка 1_Ава">
                      <a:extLst>
                        <a:ext uri="{FF2B5EF4-FFF2-40B4-BE49-F238E27FC236}">
                          <a16:creationId xmlns:a16="http://schemas.microsoft.com/office/drawing/2014/main" id="{871AE15F-B126-4A56-AC13-2523BE929CB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01" name="Полилиния: фигура 600">
                        <a:extLst>
                          <a:ext uri="{FF2B5EF4-FFF2-40B4-BE49-F238E27FC236}">
                            <a16:creationId xmlns:a16="http://schemas.microsoft.com/office/drawing/2014/main" id="{6163113E-4840-427D-89EE-B7971C6443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2" name="Полилиния: фигура 601">
                        <a:extLst>
                          <a:ext uri="{FF2B5EF4-FFF2-40B4-BE49-F238E27FC236}">
                            <a16:creationId xmlns:a16="http://schemas.microsoft.com/office/drawing/2014/main" id="{5E687C68-F81A-42E5-BF96-3115C1E466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3" name="Полилиния: фигура 602">
                        <a:extLst>
                          <a:ext uri="{FF2B5EF4-FFF2-40B4-BE49-F238E27FC236}">
                            <a16:creationId xmlns:a16="http://schemas.microsoft.com/office/drawing/2014/main" id="{918EC7A0-9E91-42D3-A168-FE524CDF07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4" name="Полилиния: фигура 603">
                        <a:extLst>
                          <a:ext uri="{FF2B5EF4-FFF2-40B4-BE49-F238E27FC236}">
                            <a16:creationId xmlns:a16="http://schemas.microsoft.com/office/drawing/2014/main" id="{5E0307F8-3813-4159-8D01-EF7F57EB18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5" name="Полилиния: фигура 604">
                        <a:extLst>
                          <a:ext uri="{FF2B5EF4-FFF2-40B4-BE49-F238E27FC236}">
                            <a16:creationId xmlns:a16="http://schemas.microsoft.com/office/drawing/2014/main" id="{4C0CCC51-3977-45AE-BE90-ADF578DDEF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6" name="Полилиния: фигура 605">
                        <a:extLst>
                          <a:ext uri="{FF2B5EF4-FFF2-40B4-BE49-F238E27FC236}">
                            <a16:creationId xmlns:a16="http://schemas.microsoft.com/office/drawing/2014/main" id="{47F3DB23-BEB7-44C5-8BF0-E24EFF4740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7" name="Полилиния: фигура 606">
                        <a:extLst>
                          <a:ext uri="{FF2B5EF4-FFF2-40B4-BE49-F238E27FC236}">
                            <a16:creationId xmlns:a16="http://schemas.microsoft.com/office/drawing/2014/main" id="{09582B10-D69A-488B-9BEF-540C4DFAF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8" name="Полилиния: фигура 607">
                        <a:extLst>
                          <a:ext uri="{FF2B5EF4-FFF2-40B4-BE49-F238E27FC236}">
                            <a16:creationId xmlns:a16="http://schemas.microsoft.com/office/drawing/2014/main" id="{93CA744E-0D7A-4081-8425-BA971AE31A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9" name="Полилиния: фигура 608">
                        <a:extLst>
                          <a:ext uri="{FF2B5EF4-FFF2-40B4-BE49-F238E27FC236}">
                            <a16:creationId xmlns:a16="http://schemas.microsoft.com/office/drawing/2014/main" id="{B0288564-CE0B-4A8B-9B8F-B53BDB934B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0" name="Полилиния: фигура 609">
                        <a:extLst>
                          <a:ext uri="{FF2B5EF4-FFF2-40B4-BE49-F238E27FC236}">
                            <a16:creationId xmlns:a16="http://schemas.microsoft.com/office/drawing/2014/main" id="{867C6EF4-166C-4943-BEC5-FD3F4B8C8A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1" name="Полилиния: фигура 610">
                        <a:extLst>
                          <a:ext uri="{FF2B5EF4-FFF2-40B4-BE49-F238E27FC236}">
                            <a16:creationId xmlns:a16="http://schemas.microsoft.com/office/drawing/2014/main" id="{FF3AB058-87E7-435A-8CFE-21A23C2F66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2" name="Полилиния: фигура 611">
                        <a:extLst>
                          <a:ext uri="{FF2B5EF4-FFF2-40B4-BE49-F238E27FC236}">
                            <a16:creationId xmlns:a16="http://schemas.microsoft.com/office/drawing/2014/main" id="{326C2EEB-799F-4F53-83E2-42C9C579A2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96" name="Карточка 1_Ава">
                      <a:extLst>
                        <a:ext uri="{FF2B5EF4-FFF2-40B4-BE49-F238E27FC236}">
                          <a16:creationId xmlns:a16="http://schemas.microsoft.com/office/drawing/2014/main" id="{F2F9C42E-CE5C-4F6A-9FCD-945923DF22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97" name="Полилиния: фигура 596">
                        <a:extLst>
                          <a:ext uri="{FF2B5EF4-FFF2-40B4-BE49-F238E27FC236}">
                            <a16:creationId xmlns:a16="http://schemas.microsoft.com/office/drawing/2014/main" id="{482224C5-151F-4BDF-8092-CC25CC3F83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8" name="Полилиния: фигура 597">
                        <a:extLst>
                          <a:ext uri="{FF2B5EF4-FFF2-40B4-BE49-F238E27FC236}">
                            <a16:creationId xmlns:a16="http://schemas.microsoft.com/office/drawing/2014/main" id="{DD5B8B1F-E547-40E9-8984-B26A9E61F5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9" name="Полилиния: фигура 598">
                        <a:extLst>
                          <a:ext uri="{FF2B5EF4-FFF2-40B4-BE49-F238E27FC236}">
                            <a16:creationId xmlns:a16="http://schemas.microsoft.com/office/drawing/2014/main" id="{42AAA5CF-CC38-4425-94EC-364BFDBA6D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0" name="Полилиния: фигура 599">
                        <a:extLst>
                          <a:ext uri="{FF2B5EF4-FFF2-40B4-BE49-F238E27FC236}">
                            <a16:creationId xmlns:a16="http://schemas.microsoft.com/office/drawing/2014/main" id="{4C211752-A84B-4FA4-8F3A-E5CC324994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36" name="Группа 535">
              <a:extLst>
                <a:ext uri="{FF2B5EF4-FFF2-40B4-BE49-F238E27FC236}">
                  <a16:creationId xmlns:a16="http://schemas.microsoft.com/office/drawing/2014/main" id="{4E51CC28-330D-4E79-A5E2-4819DBBE8A52}"/>
                </a:ext>
              </a:extLst>
            </p:cNvPr>
            <p:cNvGrpSpPr/>
            <p:nvPr/>
          </p:nvGrpSpPr>
          <p:grpSpPr>
            <a:xfrm>
              <a:off x="5455160" y="2604461"/>
              <a:ext cx="1823301" cy="295269"/>
              <a:chOff x="2554158" y="1493927"/>
              <a:chExt cx="3536455" cy="572700"/>
            </a:xfrm>
          </p:grpSpPr>
          <p:sp>
            <p:nvSpPr>
              <p:cNvPr id="563" name="Rounded Rectangle">
                <a:extLst>
                  <a:ext uri="{FF2B5EF4-FFF2-40B4-BE49-F238E27FC236}">
                    <a16:creationId xmlns:a16="http://schemas.microsoft.com/office/drawing/2014/main" id="{0B936BF0-BFE8-47D3-95F6-3CEE62797ACD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64" name="Market analysis">
                <a:extLst>
                  <a:ext uri="{FF2B5EF4-FFF2-40B4-BE49-F238E27FC236}">
                    <a16:creationId xmlns:a16="http://schemas.microsoft.com/office/drawing/2014/main" id="{B8DCC671-CDD9-45C1-A4EC-AAB30FE18F7D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65" name="Группа 564">
                <a:extLst>
                  <a:ext uri="{FF2B5EF4-FFF2-40B4-BE49-F238E27FC236}">
                    <a16:creationId xmlns:a16="http://schemas.microsoft.com/office/drawing/2014/main" id="{F4145D00-61C0-46EF-817E-EB0FF327EA4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66" name="Circle">
                  <a:extLst>
                    <a:ext uri="{FF2B5EF4-FFF2-40B4-BE49-F238E27FC236}">
                      <a16:creationId xmlns:a16="http://schemas.microsoft.com/office/drawing/2014/main" id="{F40D1D62-A8D4-4BA0-8BF7-99D7D587029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67" name="Группа 566">
                  <a:extLst>
                    <a:ext uri="{FF2B5EF4-FFF2-40B4-BE49-F238E27FC236}">
                      <a16:creationId xmlns:a16="http://schemas.microsoft.com/office/drawing/2014/main" id="{792F1921-99E7-46A7-A06F-9FC33AFC428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68" name="Полилиния: фигура 567">
                    <a:extLst>
                      <a:ext uri="{FF2B5EF4-FFF2-40B4-BE49-F238E27FC236}">
                        <a16:creationId xmlns:a16="http://schemas.microsoft.com/office/drawing/2014/main" id="{6CDF8F11-6F5C-4A4A-9542-92D2B70F610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69" name="Карточка 1_Ава">
                    <a:extLst>
                      <a:ext uri="{FF2B5EF4-FFF2-40B4-BE49-F238E27FC236}">
                        <a16:creationId xmlns:a16="http://schemas.microsoft.com/office/drawing/2014/main" id="{FCEB8ABE-19FF-46D4-B115-7B3EB5B0EF37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70" name="Карточка 1_Ава">
                      <a:extLst>
                        <a:ext uri="{FF2B5EF4-FFF2-40B4-BE49-F238E27FC236}">
                          <a16:creationId xmlns:a16="http://schemas.microsoft.com/office/drawing/2014/main" id="{5C4A7192-1CD5-45AF-A969-FD54F9E94E9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76" name="Полилиния: фигура 575">
                        <a:extLst>
                          <a:ext uri="{FF2B5EF4-FFF2-40B4-BE49-F238E27FC236}">
                            <a16:creationId xmlns:a16="http://schemas.microsoft.com/office/drawing/2014/main" id="{20E03FC0-CF64-4E3D-A134-642AB82E74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7" name="Полилиния: фигура 576">
                        <a:extLst>
                          <a:ext uri="{FF2B5EF4-FFF2-40B4-BE49-F238E27FC236}">
                            <a16:creationId xmlns:a16="http://schemas.microsoft.com/office/drawing/2014/main" id="{A87132A0-C46C-4F10-AEC1-2C3B3FEF8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8" name="Полилиния: фигура 577">
                        <a:extLst>
                          <a:ext uri="{FF2B5EF4-FFF2-40B4-BE49-F238E27FC236}">
                            <a16:creationId xmlns:a16="http://schemas.microsoft.com/office/drawing/2014/main" id="{A3991F76-A15B-4BE7-9C2A-7956E6D9C9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9" name="Полилиния: фигура 578">
                        <a:extLst>
                          <a:ext uri="{FF2B5EF4-FFF2-40B4-BE49-F238E27FC236}">
                            <a16:creationId xmlns:a16="http://schemas.microsoft.com/office/drawing/2014/main" id="{42E99B3C-11F4-4714-AEE7-7032896A77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0" name="Полилиния: фигура 579">
                        <a:extLst>
                          <a:ext uri="{FF2B5EF4-FFF2-40B4-BE49-F238E27FC236}">
                            <a16:creationId xmlns:a16="http://schemas.microsoft.com/office/drawing/2014/main" id="{F43961FF-C7E1-409A-9909-3CC8BEEE7B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1" name="Полилиния: фигура 580">
                        <a:extLst>
                          <a:ext uri="{FF2B5EF4-FFF2-40B4-BE49-F238E27FC236}">
                            <a16:creationId xmlns:a16="http://schemas.microsoft.com/office/drawing/2014/main" id="{27C7E63B-5EC7-4D2E-A047-B15B03E5D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2" name="Полилиния: фигура 581">
                        <a:extLst>
                          <a:ext uri="{FF2B5EF4-FFF2-40B4-BE49-F238E27FC236}">
                            <a16:creationId xmlns:a16="http://schemas.microsoft.com/office/drawing/2014/main" id="{4DFBF636-4D2A-49D1-B717-37C7B76885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3" name="Полилиния: фигура 582">
                        <a:extLst>
                          <a:ext uri="{FF2B5EF4-FFF2-40B4-BE49-F238E27FC236}">
                            <a16:creationId xmlns:a16="http://schemas.microsoft.com/office/drawing/2014/main" id="{3DDF1172-F785-4D3A-BC22-6EE65B7AE1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4" name="Полилиния: фигура 583">
                        <a:extLst>
                          <a:ext uri="{FF2B5EF4-FFF2-40B4-BE49-F238E27FC236}">
                            <a16:creationId xmlns:a16="http://schemas.microsoft.com/office/drawing/2014/main" id="{385F8E6D-3B46-44E1-87A2-2B24CB6692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5" name="Полилиния: фигура 584">
                        <a:extLst>
                          <a:ext uri="{FF2B5EF4-FFF2-40B4-BE49-F238E27FC236}">
                            <a16:creationId xmlns:a16="http://schemas.microsoft.com/office/drawing/2014/main" id="{120280D9-8945-44E1-8D32-41870AF6F7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6" name="Полилиния: фигура 585">
                        <a:extLst>
                          <a:ext uri="{FF2B5EF4-FFF2-40B4-BE49-F238E27FC236}">
                            <a16:creationId xmlns:a16="http://schemas.microsoft.com/office/drawing/2014/main" id="{81D99EDD-4AA9-4D93-8901-EA81790212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7" name="Полилиния: фигура 586">
                        <a:extLst>
                          <a:ext uri="{FF2B5EF4-FFF2-40B4-BE49-F238E27FC236}">
                            <a16:creationId xmlns:a16="http://schemas.microsoft.com/office/drawing/2014/main" id="{E0E9D7CB-3BB8-4F7E-85B5-BD5F506D96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71" name="Карточка 1_Ава">
                      <a:extLst>
                        <a:ext uri="{FF2B5EF4-FFF2-40B4-BE49-F238E27FC236}">
                          <a16:creationId xmlns:a16="http://schemas.microsoft.com/office/drawing/2014/main" id="{23860484-CD1A-44AB-AD92-507635CCEE2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72" name="Полилиния: фигура 571">
                        <a:extLst>
                          <a:ext uri="{FF2B5EF4-FFF2-40B4-BE49-F238E27FC236}">
                            <a16:creationId xmlns:a16="http://schemas.microsoft.com/office/drawing/2014/main" id="{8ADE9D1C-E134-4735-9DA8-ADF753A39B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3" name="Полилиния: фигура 572">
                        <a:extLst>
                          <a:ext uri="{FF2B5EF4-FFF2-40B4-BE49-F238E27FC236}">
                            <a16:creationId xmlns:a16="http://schemas.microsoft.com/office/drawing/2014/main" id="{1B520EEF-3287-4860-A7F3-A9219802EA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4" name="Полилиния: фигура 573">
                        <a:extLst>
                          <a:ext uri="{FF2B5EF4-FFF2-40B4-BE49-F238E27FC236}">
                            <a16:creationId xmlns:a16="http://schemas.microsoft.com/office/drawing/2014/main" id="{0C309CB5-AAE1-4AB0-94E2-AC10DA4E58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5" name="Полилиния: фигура 574">
                        <a:extLst>
                          <a:ext uri="{FF2B5EF4-FFF2-40B4-BE49-F238E27FC236}">
                            <a16:creationId xmlns:a16="http://schemas.microsoft.com/office/drawing/2014/main" id="{98337333-69DB-4C4C-B53A-3BFECCDA86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37" name="Группа 536">
              <a:extLst>
                <a:ext uri="{FF2B5EF4-FFF2-40B4-BE49-F238E27FC236}">
                  <a16:creationId xmlns:a16="http://schemas.microsoft.com/office/drawing/2014/main" id="{673B1E53-5D3F-46BB-9511-221DB789F3B9}"/>
                </a:ext>
              </a:extLst>
            </p:cNvPr>
            <p:cNvGrpSpPr/>
            <p:nvPr/>
          </p:nvGrpSpPr>
          <p:grpSpPr>
            <a:xfrm>
              <a:off x="5455160" y="3023631"/>
              <a:ext cx="1823301" cy="295269"/>
              <a:chOff x="2554158" y="1493927"/>
              <a:chExt cx="3536455" cy="572700"/>
            </a:xfrm>
          </p:grpSpPr>
          <p:sp>
            <p:nvSpPr>
              <p:cNvPr id="538" name="Rounded Rectangle">
                <a:extLst>
                  <a:ext uri="{FF2B5EF4-FFF2-40B4-BE49-F238E27FC236}">
                    <a16:creationId xmlns:a16="http://schemas.microsoft.com/office/drawing/2014/main" id="{13C52870-D1B7-445E-91C1-54ED89AA7C3B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39" name="Market analysis">
                <a:extLst>
                  <a:ext uri="{FF2B5EF4-FFF2-40B4-BE49-F238E27FC236}">
                    <a16:creationId xmlns:a16="http://schemas.microsoft.com/office/drawing/2014/main" id="{69DA38A0-852D-42B8-8C3F-CE9FF76DA8AB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40" name="Группа 539">
                <a:extLst>
                  <a:ext uri="{FF2B5EF4-FFF2-40B4-BE49-F238E27FC236}">
                    <a16:creationId xmlns:a16="http://schemas.microsoft.com/office/drawing/2014/main" id="{F69D1011-D9ED-4FBA-ADCA-3FFC63237F9C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41" name="Circle">
                  <a:extLst>
                    <a:ext uri="{FF2B5EF4-FFF2-40B4-BE49-F238E27FC236}">
                      <a16:creationId xmlns:a16="http://schemas.microsoft.com/office/drawing/2014/main" id="{E5BF11E5-1612-48A1-9126-1BB9BC1BC764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42" name="Группа 541">
                  <a:extLst>
                    <a:ext uri="{FF2B5EF4-FFF2-40B4-BE49-F238E27FC236}">
                      <a16:creationId xmlns:a16="http://schemas.microsoft.com/office/drawing/2014/main" id="{042AF5B6-0A8F-4EBC-AAE3-14BAC65DFA77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43" name="Полилиния: фигура 542">
                    <a:extLst>
                      <a:ext uri="{FF2B5EF4-FFF2-40B4-BE49-F238E27FC236}">
                        <a16:creationId xmlns:a16="http://schemas.microsoft.com/office/drawing/2014/main" id="{5E61B83F-261C-46FC-9E42-D9CA8CC8B6DB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44" name="Карточка 1_Ава">
                    <a:extLst>
                      <a:ext uri="{FF2B5EF4-FFF2-40B4-BE49-F238E27FC236}">
                        <a16:creationId xmlns:a16="http://schemas.microsoft.com/office/drawing/2014/main" id="{95293E0A-D34B-4DF9-94D7-4808BB4E1AB6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45" name="Карточка 1_Ава">
                      <a:extLst>
                        <a:ext uri="{FF2B5EF4-FFF2-40B4-BE49-F238E27FC236}">
                          <a16:creationId xmlns:a16="http://schemas.microsoft.com/office/drawing/2014/main" id="{9491E4B6-D94B-42B5-8DBB-60851F6D377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51" name="Полилиния: фигура 550">
                        <a:extLst>
                          <a:ext uri="{FF2B5EF4-FFF2-40B4-BE49-F238E27FC236}">
                            <a16:creationId xmlns:a16="http://schemas.microsoft.com/office/drawing/2014/main" id="{5516D2A7-7562-4255-98B8-F738AEF9BA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2" name="Полилиния: фигура 551">
                        <a:extLst>
                          <a:ext uri="{FF2B5EF4-FFF2-40B4-BE49-F238E27FC236}">
                            <a16:creationId xmlns:a16="http://schemas.microsoft.com/office/drawing/2014/main" id="{E873BFBC-400C-453E-9FB5-0E614E57D6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3" name="Полилиния: фигура 552">
                        <a:extLst>
                          <a:ext uri="{FF2B5EF4-FFF2-40B4-BE49-F238E27FC236}">
                            <a16:creationId xmlns:a16="http://schemas.microsoft.com/office/drawing/2014/main" id="{22E532F4-308B-46CC-BB56-A27440289B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4" name="Полилиния: фигура 553">
                        <a:extLst>
                          <a:ext uri="{FF2B5EF4-FFF2-40B4-BE49-F238E27FC236}">
                            <a16:creationId xmlns:a16="http://schemas.microsoft.com/office/drawing/2014/main" id="{C06091DF-8C47-472D-BCE3-E5D1FF4D66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5" name="Полилиния: фигура 554">
                        <a:extLst>
                          <a:ext uri="{FF2B5EF4-FFF2-40B4-BE49-F238E27FC236}">
                            <a16:creationId xmlns:a16="http://schemas.microsoft.com/office/drawing/2014/main" id="{29564B6D-C93B-4849-AF65-874D48499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6" name="Полилиния: фигура 555">
                        <a:extLst>
                          <a:ext uri="{FF2B5EF4-FFF2-40B4-BE49-F238E27FC236}">
                            <a16:creationId xmlns:a16="http://schemas.microsoft.com/office/drawing/2014/main" id="{1D9EA2B2-C033-4430-9CAB-239A7B5A9A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7" name="Полилиния: фигура 556">
                        <a:extLst>
                          <a:ext uri="{FF2B5EF4-FFF2-40B4-BE49-F238E27FC236}">
                            <a16:creationId xmlns:a16="http://schemas.microsoft.com/office/drawing/2014/main" id="{7D28E052-9A5E-4D5D-A89E-248CDB480E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8" name="Полилиния: фигура 557">
                        <a:extLst>
                          <a:ext uri="{FF2B5EF4-FFF2-40B4-BE49-F238E27FC236}">
                            <a16:creationId xmlns:a16="http://schemas.microsoft.com/office/drawing/2014/main" id="{734394DD-9F30-42D8-A4A5-A54B1E6EF6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9" name="Полилиния: фигура 558">
                        <a:extLst>
                          <a:ext uri="{FF2B5EF4-FFF2-40B4-BE49-F238E27FC236}">
                            <a16:creationId xmlns:a16="http://schemas.microsoft.com/office/drawing/2014/main" id="{B4BCE7C5-9819-4F32-ADDB-746BDFAC64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0" name="Полилиния: фигура 559">
                        <a:extLst>
                          <a:ext uri="{FF2B5EF4-FFF2-40B4-BE49-F238E27FC236}">
                            <a16:creationId xmlns:a16="http://schemas.microsoft.com/office/drawing/2014/main" id="{9658378A-97FB-4D78-9561-9E905CC97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1" name="Полилиния: фигура 560">
                        <a:extLst>
                          <a:ext uri="{FF2B5EF4-FFF2-40B4-BE49-F238E27FC236}">
                            <a16:creationId xmlns:a16="http://schemas.microsoft.com/office/drawing/2014/main" id="{187A9592-A434-4C05-BC4D-B3A32326D6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2" name="Полилиния: фигура 561">
                        <a:extLst>
                          <a:ext uri="{FF2B5EF4-FFF2-40B4-BE49-F238E27FC236}">
                            <a16:creationId xmlns:a16="http://schemas.microsoft.com/office/drawing/2014/main" id="{263A51C7-C7D7-4531-8C7B-B36DEA15E7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46" name="Карточка 1_Ава">
                      <a:extLst>
                        <a:ext uri="{FF2B5EF4-FFF2-40B4-BE49-F238E27FC236}">
                          <a16:creationId xmlns:a16="http://schemas.microsoft.com/office/drawing/2014/main" id="{7F9D16C1-FB11-49C2-BA92-16BD2736B3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47" name="Полилиния: фигура 546">
                        <a:extLst>
                          <a:ext uri="{FF2B5EF4-FFF2-40B4-BE49-F238E27FC236}">
                            <a16:creationId xmlns:a16="http://schemas.microsoft.com/office/drawing/2014/main" id="{9D5D571E-3053-40F3-86DF-1401F5C24C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48" name="Полилиния: фигура 547">
                        <a:extLst>
                          <a:ext uri="{FF2B5EF4-FFF2-40B4-BE49-F238E27FC236}">
                            <a16:creationId xmlns:a16="http://schemas.microsoft.com/office/drawing/2014/main" id="{8578D3F6-012F-48D7-8A34-772A6269FD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49" name="Полилиния: фигура 548">
                        <a:extLst>
                          <a:ext uri="{FF2B5EF4-FFF2-40B4-BE49-F238E27FC236}">
                            <a16:creationId xmlns:a16="http://schemas.microsoft.com/office/drawing/2014/main" id="{B97EA60C-B35D-4AF5-AF90-B3A443466A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0" name="Полилиния: фигура 549">
                        <a:extLst>
                          <a:ext uri="{FF2B5EF4-FFF2-40B4-BE49-F238E27FC236}">
                            <a16:creationId xmlns:a16="http://schemas.microsoft.com/office/drawing/2014/main" id="{E3109870-BA9E-42D0-94D2-DFA1EBCB50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613" name="Процессинг">
            <a:extLst>
              <a:ext uri="{FF2B5EF4-FFF2-40B4-BE49-F238E27FC236}">
                <a16:creationId xmlns:a16="http://schemas.microsoft.com/office/drawing/2014/main" id="{58FE067B-CC82-4AE5-8B25-FF6904CA76E1}"/>
              </a:ext>
            </a:extLst>
          </p:cNvPr>
          <p:cNvGrpSpPr/>
          <p:nvPr/>
        </p:nvGrpSpPr>
        <p:grpSpPr>
          <a:xfrm>
            <a:off x="4487768" y="1625186"/>
            <a:ext cx="1990842" cy="2217437"/>
            <a:chOff x="8021775" y="1495697"/>
            <a:chExt cx="2224863" cy="2478094"/>
          </a:xfrm>
        </p:grpSpPr>
        <p:sp>
          <p:nvSpPr>
            <p:cNvPr id="614" name="Shape_фон">
              <a:extLst>
                <a:ext uri="{FF2B5EF4-FFF2-40B4-BE49-F238E27FC236}">
                  <a16:creationId xmlns:a16="http://schemas.microsoft.com/office/drawing/2014/main" id="{271EF52F-E6F4-4373-9D35-E5926E13FC0A}"/>
                </a:ext>
              </a:extLst>
            </p:cNvPr>
            <p:cNvSpPr/>
            <p:nvPr/>
          </p:nvSpPr>
          <p:spPr>
            <a:xfrm>
              <a:off x="8021775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15" name="Описание">
              <a:extLst>
                <a:ext uri="{FF2B5EF4-FFF2-40B4-BE49-F238E27FC236}">
                  <a16:creationId xmlns:a16="http://schemas.microsoft.com/office/drawing/2014/main" id="{C3210E04-F1EC-42AA-9240-277087318374}"/>
                </a:ext>
              </a:extLst>
            </p:cNvPr>
            <p:cNvSpPr txBox="1"/>
            <p:nvPr/>
          </p:nvSpPr>
          <p:spPr>
            <a:xfrm>
              <a:off x="8323667" y="1637650"/>
              <a:ext cx="1621078" cy="3783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Процессинг</a:t>
              </a:r>
            </a:p>
          </p:txBody>
        </p:sp>
        <p:grpSp>
          <p:nvGrpSpPr>
            <p:cNvPr id="616" name="Группа 615">
              <a:extLst>
                <a:ext uri="{FF2B5EF4-FFF2-40B4-BE49-F238E27FC236}">
                  <a16:creationId xmlns:a16="http://schemas.microsoft.com/office/drawing/2014/main" id="{42AC1C9B-A388-4004-AE9E-A75A0DD52A82}"/>
                </a:ext>
              </a:extLst>
            </p:cNvPr>
            <p:cNvGrpSpPr/>
            <p:nvPr/>
          </p:nvGrpSpPr>
          <p:grpSpPr>
            <a:xfrm>
              <a:off x="8244168" y="2185291"/>
              <a:ext cx="1823301" cy="295269"/>
              <a:chOff x="2554158" y="1493927"/>
              <a:chExt cx="3536455" cy="572700"/>
            </a:xfrm>
          </p:grpSpPr>
          <p:sp>
            <p:nvSpPr>
              <p:cNvPr id="643" name="Rounded Rectangle">
                <a:extLst>
                  <a:ext uri="{FF2B5EF4-FFF2-40B4-BE49-F238E27FC236}">
                    <a16:creationId xmlns:a16="http://schemas.microsoft.com/office/drawing/2014/main" id="{7F1F3EB1-72ED-40AE-9234-F5D5327FFC64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44" name="Market analysis">
                <a:extLst>
                  <a:ext uri="{FF2B5EF4-FFF2-40B4-BE49-F238E27FC236}">
                    <a16:creationId xmlns:a16="http://schemas.microsoft.com/office/drawing/2014/main" id="{C44ECCEE-D6E5-4E67-B987-F9BBFBA1CFFF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45" name="Группа 644">
                <a:extLst>
                  <a:ext uri="{FF2B5EF4-FFF2-40B4-BE49-F238E27FC236}">
                    <a16:creationId xmlns:a16="http://schemas.microsoft.com/office/drawing/2014/main" id="{6BCBD71E-DA19-496A-B257-88C65950528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46" name="Circle">
                  <a:extLst>
                    <a:ext uri="{FF2B5EF4-FFF2-40B4-BE49-F238E27FC236}">
                      <a16:creationId xmlns:a16="http://schemas.microsoft.com/office/drawing/2014/main" id="{D530B663-722E-4348-8716-334405AF6AD7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47" name="Группа 646">
                  <a:extLst>
                    <a:ext uri="{FF2B5EF4-FFF2-40B4-BE49-F238E27FC236}">
                      <a16:creationId xmlns:a16="http://schemas.microsoft.com/office/drawing/2014/main" id="{6FD26018-4BD1-4D7A-8276-F55F3365F986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48" name="Полилиния: фигура 647">
                    <a:extLst>
                      <a:ext uri="{FF2B5EF4-FFF2-40B4-BE49-F238E27FC236}">
                        <a16:creationId xmlns:a16="http://schemas.microsoft.com/office/drawing/2014/main" id="{626CAEDD-8AD0-41F9-9C51-27E65E02767B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49" name="Карточка 1_Ава">
                    <a:extLst>
                      <a:ext uri="{FF2B5EF4-FFF2-40B4-BE49-F238E27FC236}">
                        <a16:creationId xmlns:a16="http://schemas.microsoft.com/office/drawing/2014/main" id="{7C002BBF-71DB-44E5-9369-C26937E30FF0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50" name="Карточка 1_Ава">
                      <a:extLst>
                        <a:ext uri="{FF2B5EF4-FFF2-40B4-BE49-F238E27FC236}">
                          <a16:creationId xmlns:a16="http://schemas.microsoft.com/office/drawing/2014/main" id="{37405153-B3B8-49AD-B70E-E1111C4030F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56" name="Полилиния: фигура 655">
                        <a:extLst>
                          <a:ext uri="{FF2B5EF4-FFF2-40B4-BE49-F238E27FC236}">
                            <a16:creationId xmlns:a16="http://schemas.microsoft.com/office/drawing/2014/main" id="{8B5098C8-1818-4A74-9F05-A085EDDB1F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7" name="Полилиния: фигура 656">
                        <a:extLst>
                          <a:ext uri="{FF2B5EF4-FFF2-40B4-BE49-F238E27FC236}">
                            <a16:creationId xmlns:a16="http://schemas.microsoft.com/office/drawing/2014/main" id="{98146FBD-4889-49D4-82B1-559FF7B159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8" name="Полилиния: фигура 657">
                        <a:extLst>
                          <a:ext uri="{FF2B5EF4-FFF2-40B4-BE49-F238E27FC236}">
                            <a16:creationId xmlns:a16="http://schemas.microsoft.com/office/drawing/2014/main" id="{9DE63293-B086-4285-AE3C-7432746C12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9" name="Полилиния: фигура 658">
                        <a:extLst>
                          <a:ext uri="{FF2B5EF4-FFF2-40B4-BE49-F238E27FC236}">
                            <a16:creationId xmlns:a16="http://schemas.microsoft.com/office/drawing/2014/main" id="{D49D36E9-BA5D-43B0-A60B-977CC0B4E9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0" name="Полилиния: фигура 659">
                        <a:extLst>
                          <a:ext uri="{FF2B5EF4-FFF2-40B4-BE49-F238E27FC236}">
                            <a16:creationId xmlns:a16="http://schemas.microsoft.com/office/drawing/2014/main" id="{9795BA8D-28C5-4058-A7AE-F1711314E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1" name="Полилиния: фигура 660">
                        <a:extLst>
                          <a:ext uri="{FF2B5EF4-FFF2-40B4-BE49-F238E27FC236}">
                            <a16:creationId xmlns:a16="http://schemas.microsoft.com/office/drawing/2014/main" id="{19D34744-C5F3-4E9A-840E-3E8B859FDF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2" name="Полилиния: фигура 661">
                        <a:extLst>
                          <a:ext uri="{FF2B5EF4-FFF2-40B4-BE49-F238E27FC236}">
                            <a16:creationId xmlns:a16="http://schemas.microsoft.com/office/drawing/2014/main" id="{728BBC97-DFBE-45F9-B830-BD6168DEE9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3" name="Полилиния: фигура 662">
                        <a:extLst>
                          <a:ext uri="{FF2B5EF4-FFF2-40B4-BE49-F238E27FC236}">
                            <a16:creationId xmlns:a16="http://schemas.microsoft.com/office/drawing/2014/main" id="{218BE016-3188-4A74-8945-0C9F8879F3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4" name="Полилиния: фигура 663">
                        <a:extLst>
                          <a:ext uri="{FF2B5EF4-FFF2-40B4-BE49-F238E27FC236}">
                            <a16:creationId xmlns:a16="http://schemas.microsoft.com/office/drawing/2014/main" id="{336F9FC7-A9F4-4E5C-A365-CE7C8C473C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5" name="Полилиния: фигура 664">
                        <a:extLst>
                          <a:ext uri="{FF2B5EF4-FFF2-40B4-BE49-F238E27FC236}">
                            <a16:creationId xmlns:a16="http://schemas.microsoft.com/office/drawing/2014/main" id="{AE21A03A-1669-4012-8FED-EE406193E2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6" name="Полилиния: фигура 665">
                        <a:extLst>
                          <a:ext uri="{FF2B5EF4-FFF2-40B4-BE49-F238E27FC236}">
                            <a16:creationId xmlns:a16="http://schemas.microsoft.com/office/drawing/2014/main" id="{8885F2AE-8244-4A04-B975-9D2A767C9A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7" name="Полилиния: фигура 666">
                        <a:extLst>
                          <a:ext uri="{FF2B5EF4-FFF2-40B4-BE49-F238E27FC236}">
                            <a16:creationId xmlns:a16="http://schemas.microsoft.com/office/drawing/2014/main" id="{EB41711A-A856-4345-91D3-66E0769A6C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51" name="Карточка 1_Ава">
                      <a:extLst>
                        <a:ext uri="{FF2B5EF4-FFF2-40B4-BE49-F238E27FC236}">
                          <a16:creationId xmlns:a16="http://schemas.microsoft.com/office/drawing/2014/main" id="{E114930F-17B1-4081-931A-BF12250C11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52" name="Полилиния: фигура 651">
                        <a:extLst>
                          <a:ext uri="{FF2B5EF4-FFF2-40B4-BE49-F238E27FC236}">
                            <a16:creationId xmlns:a16="http://schemas.microsoft.com/office/drawing/2014/main" id="{7EE38963-192A-4D2B-A42A-194A707E63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3" name="Полилиния: фигура 652">
                        <a:extLst>
                          <a:ext uri="{FF2B5EF4-FFF2-40B4-BE49-F238E27FC236}">
                            <a16:creationId xmlns:a16="http://schemas.microsoft.com/office/drawing/2014/main" id="{F6B63D1D-C804-45EB-9220-B9DA15DCE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4" name="Полилиния: фигура 653">
                        <a:extLst>
                          <a:ext uri="{FF2B5EF4-FFF2-40B4-BE49-F238E27FC236}">
                            <a16:creationId xmlns:a16="http://schemas.microsoft.com/office/drawing/2014/main" id="{44070113-4699-438F-BCA9-47FDAD26F4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5" name="Полилиния: фигура 654">
                        <a:extLst>
                          <a:ext uri="{FF2B5EF4-FFF2-40B4-BE49-F238E27FC236}">
                            <a16:creationId xmlns:a16="http://schemas.microsoft.com/office/drawing/2014/main" id="{4412C956-801D-4D2F-97CA-C598AF38EF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17" name="Группа 616">
              <a:extLst>
                <a:ext uri="{FF2B5EF4-FFF2-40B4-BE49-F238E27FC236}">
                  <a16:creationId xmlns:a16="http://schemas.microsoft.com/office/drawing/2014/main" id="{935CC6A9-B257-43D1-AFC9-A252B8DD62B1}"/>
                </a:ext>
              </a:extLst>
            </p:cNvPr>
            <p:cNvGrpSpPr/>
            <p:nvPr/>
          </p:nvGrpSpPr>
          <p:grpSpPr>
            <a:xfrm>
              <a:off x="8244168" y="2604461"/>
              <a:ext cx="1823301" cy="295269"/>
              <a:chOff x="2554158" y="1493927"/>
              <a:chExt cx="3536455" cy="572700"/>
            </a:xfrm>
          </p:grpSpPr>
          <p:sp>
            <p:nvSpPr>
              <p:cNvPr id="618" name="Rounded Rectangle">
                <a:extLst>
                  <a:ext uri="{FF2B5EF4-FFF2-40B4-BE49-F238E27FC236}">
                    <a16:creationId xmlns:a16="http://schemas.microsoft.com/office/drawing/2014/main" id="{78AEC9AB-0A81-4700-8C65-FB3AD0E26778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19" name="Market analysis">
                <a:extLst>
                  <a:ext uri="{FF2B5EF4-FFF2-40B4-BE49-F238E27FC236}">
                    <a16:creationId xmlns:a16="http://schemas.microsoft.com/office/drawing/2014/main" id="{8710BA5A-04A8-40F8-AC54-F1A2A276093A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20" name="Группа 619">
                <a:extLst>
                  <a:ext uri="{FF2B5EF4-FFF2-40B4-BE49-F238E27FC236}">
                    <a16:creationId xmlns:a16="http://schemas.microsoft.com/office/drawing/2014/main" id="{30CF52B6-34A3-49A6-8A32-4F023E287E3A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21" name="Circle">
                  <a:extLst>
                    <a:ext uri="{FF2B5EF4-FFF2-40B4-BE49-F238E27FC236}">
                      <a16:creationId xmlns:a16="http://schemas.microsoft.com/office/drawing/2014/main" id="{E5A5772A-2FF1-4123-B45D-842E2A15DC21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22" name="Группа 621">
                  <a:extLst>
                    <a:ext uri="{FF2B5EF4-FFF2-40B4-BE49-F238E27FC236}">
                      <a16:creationId xmlns:a16="http://schemas.microsoft.com/office/drawing/2014/main" id="{016A24BE-AF4E-4B99-8E1F-70C03CB5C19A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23" name="Полилиния: фигура 622">
                    <a:extLst>
                      <a:ext uri="{FF2B5EF4-FFF2-40B4-BE49-F238E27FC236}">
                        <a16:creationId xmlns:a16="http://schemas.microsoft.com/office/drawing/2014/main" id="{D7B7936F-7FB4-43F5-918C-13A97A779BAA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24" name="Карточка 1_Ава">
                    <a:extLst>
                      <a:ext uri="{FF2B5EF4-FFF2-40B4-BE49-F238E27FC236}">
                        <a16:creationId xmlns:a16="http://schemas.microsoft.com/office/drawing/2014/main" id="{BED75E78-E4A3-4C6C-A176-837435059721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25" name="Карточка 1_Ава">
                      <a:extLst>
                        <a:ext uri="{FF2B5EF4-FFF2-40B4-BE49-F238E27FC236}">
                          <a16:creationId xmlns:a16="http://schemas.microsoft.com/office/drawing/2014/main" id="{1BD691F2-9FF4-4265-A8EE-E9B370CA17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31" name="Полилиния: фигура 630">
                        <a:extLst>
                          <a:ext uri="{FF2B5EF4-FFF2-40B4-BE49-F238E27FC236}">
                            <a16:creationId xmlns:a16="http://schemas.microsoft.com/office/drawing/2014/main" id="{3839B6E0-E901-44FA-AD73-DDEB80EE22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2" name="Полилиния: фигура 631">
                        <a:extLst>
                          <a:ext uri="{FF2B5EF4-FFF2-40B4-BE49-F238E27FC236}">
                            <a16:creationId xmlns:a16="http://schemas.microsoft.com/office/drawing/2014/main" id="{5C6EFBDE-649F-49FA-9C17-091E0D3510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3" name="Полилиния: фигура 632">
                        <a:extLst>
                          <a:ext uri="{FF2B5EF4-FFF2-40B4-BE49-F238E27FC236}">
                            <a16:creationId xmlns:a16="http://schemas.microsoft.com/office/drawing/2014/main" id="{95C67D1B-0884-4031-B3C9-FFC1DC2A5D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4" name="Полилиния: фигура 633">
                        <a:extLst>
                          <a:ext uri="{FF2B5EF4-FFF2-40B4-BE49-F238E27FC236}">
                            <a16:creationId xmlns:a16="http://schemas.microsoft.com/office/drawing/2014/main" id="{2B81A90A-BAA7-442F-9A1E-0B7AF93BD8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5" name="Полилиния: фигура 634">
                        <a:extLst>
                          <a:ext uri="{FF2B5EF4-FFF2-40B4-BE49-F238E27FC236}">
                            <a16:creationId xmlns:a16="http://schemas.microsoft.com/office/drawing/2014/main" id="{F5B540B9-0D72-4DC6-96D4-37AFB04D2F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6" name="Полилиния: фигура 635">
                        <a:extLst>
                          <a:ext uri="{FF2B5EF4-FFF2-40B4-BE49-F238E27FC236}">
                            <a16:creationId xmlns:a16="http://schemas.microsoft.com/office/drawing/2014/main" id="{AB97E415-9FB2-4535-8B74-22DAF7A8E7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7" name="Полилиния: фигура 636">
                        <a:extLst>
                          <a:ext uri="{FF2B5EF4-FFF2-40B4-BE49-F238E27FC236}">
                            <a16:creationId xmlns:a16="http://schemas.microsoft.com/office/drawing/2014/main" id="{3FAAE2AC-45A3-49B2-9D65-069CE5F8A2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8" name="Полилиния: фигура 637">
                        <a:extLst>
                          <a:ext uri="{FF2B5EF4-FFF2-40B4-BE49-F238E27FC236}">
                            <a16:creationId xmlns:a16="http://schemas.microsoft.com/office/drawing/2014/main" id="{74FE12BA-FDDF-4890-B0ED-8FC2CA61F1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9" name="Полилиния: фигура 638">
                        <a:extLst>
                          <a:ext uri="{FF2B5EF4-FFF2-40B4-BE49-F238E27FC236}">
                            <a16:creationId xmlns:a16="http://schemas.microsoft.com/office/drawing/2014/main" id="{FE7C2718-5BB3-4457-A340-B76500BE9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0" name="Полилиния: фигура 639">
                        <a:extLst>
                          <a:ext uri="{FF2B5EF4-FFF2-40B4-BE49-F238E27FC236}">
                            <a16:creationId xmlns:a16="http://schemas.microsoft.com/office/drawing/2014/main" id="{3CC48F5E-1FF2-489C-9DC8-7EE25D8CE5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1" name="Полилиния: фигура 640">
                        <a:extLst>
                          <a:ext uri="{FF2B5EF4-FFF2-40B4-BE49-F238E27FC236}">
                            <a16:creationId xmlns:a16="http://schemas.microsoft.com/office/drawing/2014/main" id="{ED1C846D-919B-41A1-9298-9BB95760F3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2" name="Полилиния: фигура 641">
                        <a:extLst>
                          <a:ext uri="{FF2B5EF4-FFF2-40B4-BE49-F238E27FC236}">
                            <a16:creationId xmlns:a16="http://schemas.microsoft.com/office/drawing/2014/main" id="{94E8511B-E3A7-4C20-871D-AAAA40BF33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26" name="Карточка 1_Ава">
                      <a:extLst>
                        <a:ext uri="{FF2B5EF4-FFF2-40B4-BE49-F238E27FC236}">
                          <a16:creationId xmlns:a16="http://schemas.microsoft.com/office/drawing/2014/main" id="{AD226115-A934-471B-9612-199B3C0478F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27" name="Полилиния: фигура 626">
                        <a:extLst>
                          <a:ext uri="{FF2B5EF4-FFF2-40B4-BE49-F238E27FC236}">
                            <a16:creationId xmlns:a16="http://schemas.microsoft.com/office/drawing/2014/main" id="{F58D38EF-6818-471A-B8BD-B65887A5B5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8" name="Полилиния: фигура 627">
                        <a:extLst>
                          <a:ext uri="{FF2B5EF4-FFF2-40B4-BE49-F238E27FC236}">
                            <a16:creationId xmlns:a16="http://schemas.microsoft.com/office/drawing/2014/main" id="{82238C46-9667-48F6-8A4C-4E4A04E724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9" name="Полилиния: фигура 628">
                        <a:extLst>
                          <a:ext uri="{FF2B5EF4-FFF2-40B4-BE49-F238E27FC236}">
                            <a16:creationId xmlns:a16="http://schemas.microsoft.com/office/drawing/2014/main" id="{7A47439A-25DD-42EE-B26B-D337E14F70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0" name="Полилиния: фигура 629">
                        <a:extLst>
                          <a:ext uri="{FF2B5EF4-FFF2-40B4-BE49-F238E27FC236}">
                            <a16:creationId xmlns:a16="http://schemas.microsoft.com/office/drawing/2014/main" id="{77F71116-D1AD-4B39-AF00-65C396FA63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668" name="ДБО">
            <a:extLst>
              <a:ext uri="{FF2B5EF4-FFF2-40B4-BE49-F238E27FC236}">
                <a16:creationId xmlns:a16="http://schemas.microsoft.com/office/drawing/2014/main" id="{FFD453DC-8C91-47FB-B26D-E7A08C5C0DE3}"/>
              </a:ext>
            </a:extLst>
          </p:cNvPr>
          <p:cNvGrpSpPr/>
          <p:nvPr/>
        </p:nvGrpSpPr>
        <p:grpSpPr>
          <a:xfrm>
            <a:off x="3543865" y="3639267"/>
            <a:ext cx="1990842" cy="1734428"/>
            <a:chOff x="6762441" y="3744634"/>
            <a:chExt cx="2224863" cy="1938308"/>
          </a:xfrm>
        </p:grpSpPr>
        <p:sp>
          <p:nvSpPr>
            <p:cNvPr id="669" name="Shape_фон">
              <a:extLst>
                <a:ext uri="{FF2B5EF4-FFF2-40B4-BE49-F238E27FC236}">
                  <a16:creationId xmlns:a16="http://schemas.microsoft.com/office/drawing/2014/main" id="{6A50BB0C-91FC-476A-8611-B8EC7546DA82}"/>
                </a:ext>
              </a:extLst>
            </p:cNvPr>
            <p:cNvSpPr/>
            <p:nvPr/>
          </p:nvSpPr>
          <p:spPr>
            <a:xfrm>
              <a:off x="6762441" y="3744634"/>
              <a:ext cx="2224863" cy="193830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0" name="Описание">
              <a:extLst>
                <a:ext uri="{FF2B5EF4-FFF2-40B4-BE49-F238E27FC236}">
                  <a16:creationId xmlns:a16="http://schemas.microsoft.com/office/drawing/2014/main" id="{5BF05E17-BF19-46EB-B8A5-1C30AD728032}"/>
                </a:ext>
              </a:extLst>
            </p:cNvPr>
            <p:cNvSpPr txBox="1"/>
            <p:nvPr/>
          </p:nvSpPr>
          <p:spPr>
            <a:xfrm>
              <a:off x="7064333" y="3886587"/>
              <a:ext cx="1621078" cy="3783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ДБО</a:t>
              </a:r>
            </a:p>
          </p:txBody>
        </p:sp>
        <p:grpSp>
          <p:nvGrpSpPr>
            <p:cNvPr id="671" name="Группа 670">
              <a:extLst>
                <a:ext uri="{FF2B5EF4-FFF2-40B4-BE49-F238E27FC236}">
                  <a16:creationId xmlns:a16="http://schemas.microsoft.com/office/drawing/2014/main" id="{A6D8C613-B5F2-452D-BB33-D42074C88B42}"/>
                </a:ext>
              </a:extLst>
            </p:cNvPr>
            <p:cNvGrpSpPr/>
            <p:nvPr/>
          </p:nvGrpSpPr>
          <p:grpSpPr>
            <a:xfrm>
              <a:off x="6984834" y="4434228"/>
              <a:ext cx="1823301" cy="295269"/>
              <a:chOff x="2554158" y="1493927"/>
              <a:chExt cx="3536455" cy="572700"/>
            </a:xfrm>
          </p:grpSpPr>
          <p:sp>
            <p:nvSpPr>
              <p:cNvPr id="698" name="Rounded Rectangle">
                <a:extLst>
                  <a:ext uri="{FF2B5EF4-FFF2-40B4-BE49-F238E27FC236}">
                    <a16:creationId xmlns:a16="http://schemas.microsoft.com/office/drawing/2014/main" id="{47D15581-0FE7-4BFD-980D-CA8393231463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99" name="Market analysis">
                <a:extLst>
                  <a:ext uri="{FF2B5EF4-FFF2-40B4-BE49-F238E27FC236}">
                    <a16:creationId xmlns:a16="http://schemas.microsoft.com/office/drawing/2014/main" id="{E96D06AC-156C-4270-B2E4-2E4A1641502D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00" name="Группа 699">
                <a:extLst>
                  <a:ext uri="{FF2B5EF4-FFF2-40B4-BE49-F238E27FC236}">
                    <a16:creationId xmlns:a16="http://schemas.microsoft.com/office/drawing/2014/main" id="{30511896-4B9A-41D9-B92A-3013585FCB30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01" name="Circle">
                  <a:extLst>
                    <a:ext uri="{FF2B5EF4-FFF2-40B4-BE49-F238E27FC236}">
                      <a16:creationId xmlns:a16="http://schemas.microsoft.com/office/drawing/2014/main" id="{2855C77E-B9A3-4716-8AC6-B50C206182B8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02" name="Группа 701">
                  <a:extLst>
                    <a:ext uri="{FF2B5EF4-FFF2-40B4-BE49-F238E27FC236}">
                      <a16:creationId xmlns:a16="http://schemas.microsoft.com/office/drawing/2014/main" id="{669C5CE0-FA4F-480E-BCA9-F30E58CE643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03" name="Полилиния: фигура 702">
                    <a:extLst>
                      <a:ext uri="{FF2B5EF4-FFF2-40B4-BE49-F238E27FC236}">
                        <a16:creationId xmlns:a16="http://schemas.microsoft.com/office/drawing/2014/main" id="{EE187BB7-1E0B-4F84-9BAC-0CFF394023BE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04" name="Карточка 1_Ава">
                    <a:extLst>
                      <a:ext uri="{FF2B5EF4-FFF2-40B4-BE49-F238E27FC236}">
                        <a16:creationId xmlns:a16="http://schemas.microsoft.com/office/drawing/2014/main" id="{89C7B1D7-6D2E-44B9-94D8-9D27418A3385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05" name="Карточка 1_Ава">
                      <a:extLst>
                        <a:ext uri="{FF2B5EF4-FFF2-40B4-BE49-F238E27FC236}">
                          <a16:creationId xmlns:a16="http://schemas.microsoft.com/office/drawing/2014/main" id="{3EBF12E2-EEF8-48D8-A422-5F27786AD1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11" name="Полилиния: фигура 710">
                        <a:extLst>
                          <a:ext uri="{FF2B5EF4-FFF2-40B4-BE49-F238E27FC236}">
                            <a16:creationId xmlns:a16="http://schemas.microsoft.com/office/drawing/2014/main" id="{306AD584-9E3E-4CC0-B758-16723F425A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2" name="Полилиния: фигура 711">
                        <a:extLst>
                          <a:ext uri="{FF2B5EF4-FFF2-40B4-BE49-F238E27FC236}">
                            <a16:creationId xmlns:a16="http://schemas.microsoft.com/office/drawing/2014/main" id="{4F8261AD-7267-4F7C-A6D0-1CA87B3933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3" name="Полилиния: фигура 712">
                        <a:extLst>
                          <a:ext uri="{FF2B5EF4-FFF2-40B4-BE49-F238E27FC236}">
                            <a16:creationId xmlns:a16="http://schemas.microsoft.com/office/drawing/2014/main" id="{9460C9F2-CB1E-4682-B271-2BEB11B37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4" name="Полилиния: фигура 713">
                        <a:extLst>
                          <a:ext uri="{FF2B5EF4-FFF2-40B4-BE49-F238E27FC236}">
                            <a16:creationId xmlns:a16="http://schemas.microsoft.com/office/drawing/2014/main" id="{8EA7245A-FCD7-41B8-B6C0-DC81397680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5" name="Полилиния: фигура 714">
                        <a:extLst>
                          <a:ext uri="{FF2B5EF4-FFF2-40B4-BE49-F238E27FC236}">
                            <a16:creationId xmlns:a16="http://schemas.microsoft.com/office/drawing/2014/main" id="{AD20C87B-1D1C-413D-8289-47522AA753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6" name="Полилиния: фигура 715">
                        <a:extLst>
                          <a:ext uri="{FF2B5EF4-FFF2-40B4-BE49-F238E27FC236}">
                            <a16:creationId xmlns:a16="http://schemas.microsoft.com/office/drawing/2014/main" id="{157BD03E-A73D-4F94-90AA-56AAC4CF56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7" name="Полилиния: фигура 716">
                        <a:extLst>
                          <a:ext uri="{FF2B5EF4-FFF2-40B4-BE49-F238E27FC236}">
                            <a16:creationId xmlns:a16="http://schemas.microsoft.com/office/drawing/2014/main" id="{DF58CEB5-05ED-45D9-9441-341BDB4202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8" name="Полилиния: фигура 717">
                        <a:extLst>
                          <a:ext uri="{FF2B5EF4-FFF2-40B4-BE49-F238E27FC236}">
                            <a16:creationId xmlns:a16="http://schemas.microsoft.com/office/drawing/2014/main" id="{CC12FAD7-707C-479B-BCF7-7983BB55F6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9" name="Полилиния: фигура 718">
                        <a:extLst>
                          <a:ext uri="{FF2B5EF4-FFF2-40B4-BE49-F238E27FC236}">
                            <a16:creationId xmlns:a16="http://schemas.microsoft.com/office/drawing/2014/main" id="{C65C150D-C67B-49C0-B74D-26F5D1CEFD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0" name="Полилиния: фигура 719">
                        <a:extLst>
                          <a:ext uri="{FF2B5EF4-FFF2-40B4-BE49-F238E27FC236}">
                            <a16:creationId xmlns:a16="http://schemas.microsoft.com/office/drawing/2014/main" id="{DD07F601-E7DA-42FF-9D11-D67FCC49FA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1" name="Полилиния: фигура 720">
                        <a:extLst>
                          <a:ext uri="{FF2B5EF4-FFF2-40B4-BE49-F238E27FC236}">
                            <a16:creationId xmlns:a16="http://schemas.microsoft.com/office/drawing/2014/main" id="{0DFD63C8-1718-4209-829D-E8A4EEB0E3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2" name="Полилиния: фигура 721">
                        <a:extLst>
                          <a:ext uri="{FF2B5EF4-FFF2-40B4-BE49-F238E27FC236}">
                            <a16:creationId xmlns:a16="http://schemas.microsoft.com/office/drawing/2014/main" id="{35ED51E5-654D-492D-A0AD-2ACFB6741B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06" name="Карточка 1_Ава">
                      <a:extLst>
                        <a:ext uri="{FF2B5EF4-FFF2-40B4-BE49-F238E27FC236}">
                          <a16:creationId xmlns:a16="http://schemas.microsoft.com/office/drawing/2014/main" id="{A6C27542-0C35-488D-965B-EBE237A502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07" name="Полилиния: фигура 706">
                        <a:extLst>
                          <a:ext uri="{FF2B5EF4-FFF2-40B4-BE49-F238E27FC236}">
                            <a16:creationId xmlns:a16="http://schemas.microsoft.com/office/drawing/2014/main" id="{E79D04D8-81A3-4B72-956E-975B79EAE7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8" name="Полилиния: фигура 707">
                        <a:extLst>
                          <a:ext uri="{FF2B5EF4-FFF2-40B4-BE49-F238E27FC236}">
                            <a16:creationId xmlns:a16="http://schemas.microsoft.com/office/drawing/2014/main" id="{9744D204-16EA-40B3-ACE4-55163AFC9E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9" name="Полилиния: фигура 708">
                        <a:extLst>
                          <a:ext uri="{FF2B5EF4-FFF2-40B4-BE49-F238E27FC236}">
                            <a16:creationId xmlns:a16="http://schemas.microsoft.com/office/drawing/2014/main" id="{2BCA5EAA-20DC-497E-8A96-E644A2BE0C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0" name="Полилиния: фигура 709">
                        <a:extLst>
                          <a:ext uri="{FF2B5EF4-FFF2-40B4-BE49-F238E27FC236}">
                            <a16:creationId xmlns:a16="http://schemas.microsoft.com/office/drawing/2014/main" id="{9AB89EC7-20A3-492C-9698-427E1C81D1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72" name="Группа 671">
              <a:extLst>
                <a:ext uri="{FF2B5EF4-FFF2-40B4-BE49-F238E27FC236}">
                  <a16:creationId xmlns:a16="http://schemas.microsoft.com/office/drawing/2014/main" id="{4155EAA3-8557-4D29-AEA2-E3821036EA15}"/>
                </a:ext>
              </a:extLst>
            </p:cNvPr>
            <p:cNvGrpSpPr/>
            <p:nvPr/>
          </p:nvGrpSpPr>
          <p:grpSpPr>
            <a:xfrm>
              <a:off x="6984834" y="4853398"/>
              <a:ext cx="1823301" cy="295269"/>
              <a:chOff x="2554158" y="1493927"/>
              <a:chExt cx="3536455" cy="572700"/>
            </a:xfrm>
          </p:grpSpPr>
          <p:sp>
            <p:nvSpPr>
              <p:cNvPr id="673" name="Rounded Rectangle">
                <a:extLst>
                  <a:ext uri="{FF2B5EF4-FFF2-40B4-BE49-F238E27FC236}">
                    <a16:creationId xmlns:a16="http://schemas.microsoft.com/office/drawing/2014/main" id="{2D89A8B9-36ED-4625-A681-E9E9A97B779C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74" name="Market analysis">
                <a:extLst>
                  <a:ext uri="{FF2B5EF4-FFF2-40B4-BE49-F238E27FC236}">
                    <a16:creationId xmlns:a16="http://schemas.microsoft.com/office/drawing/2014/main" id="{59FDC325-E80B-47CB-BEEA-94B9CBF0A9F1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75" name="Группа 674">
                <a:extLst>
                  <a:ext uri="{FF2B5EF4-FFF2-40B4-BE49-F238E27FC236}">
                    <a16:creationId xmlns:a16="http://schemas.microsoft.com/office/drawing/2014/main" id="{61A0D4C6-3076-4B48-A8B2-336E9F1CA26A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76" name="Circle">
                  <a:extLst>
                    <a:ext uri="{FF2B5EF4-FFF2-40B4-BE49-F238E27FC236}">
                      <a16:creationId xmlns:a16="http://schemas.microsoft.com/office/drawing/2014/main" id="{C31DDD99-5347-4D1C-920D-89B59B08645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ln w="0"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77" name="Группа 676">
                  <a:extLst>
                    <a:ext uri="{FF2B5EF4-FFF2-40B4-BE49-F238E27FC236}">
                      <a16:creationId xmlns:a16="http://schemas.microsoft.com/office/drawing/2014/main" id="{E1A489DA-CEF6-4DD2-8D3C-EC0D16D4310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78" name="Полилиния: фигура 677">
                    <a:extLst>
                      <a:ext uri="{FF2B5EF4-FFF2-40B4-BE49-F238E27FC236}">
                        <a16:creationId xmlns:a16="http://schemas.microsoft.com/office/drawing/2014/main" id="{340CCBE1-B0D5-4025-8414-BF7707C9AAA6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79" name="Карточка 1_Ава">
                    <a:extLst>
                      <a:ext uri="{FF2B5EF4-FFF2-40B4-BE49-F238E27FC236}">
                        <a16:creationId xmlns:a16="http://schemas.microsoft.com/office/drawing/2014/main" id="{EB51CCA2-866F-4598-91CD-47793F0B69D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80" name="Карточка 1_Ава">
                      <a:extLst>
                        <a:ext uri="{FF2B5EF4-FFF2-40B4-BE49-F238E27FC236}">
                          <a16:creationId xmlns:a16="http://schemas.microsoft.com/office/drawing/2014/main" id="{AF78B194-BCEE-40DF-8F92-E0EF6FEFA7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86" name="Полилиния: фигура 685">
                        <a:extLst>
                          <a:ext uri="{FF2B5EF4-FFF2-40B4-BE49-F238E27FC236}">
                            <a16:creationId xmlns:a16="http://schemas.microsoft.com/office/drawing/2014/main" id="{4159C27C-EEB1-445B-A660-AE3A5B2F2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7" name="Полилиния: фигура 686">
                        <a:extLst>
                          <a:ext uri="{FF2B5EF4-FFF2-40B4-BE49-F238E27FC236}">
                            <a16:creationId xmlns:a16="http://schemas.microsoft.com/office/drawing/2014/main" id="{63D56F07-DF78-44B7-BC7D-2676100770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8" name="Полилиния: фигура 687">
                        <a:extLst>
                          <a:ext uri="{FF2B5EF4-FFF2-40B4-BE49-F238E27FC236}">
                            <a16:creationId xmlns:a16="http://schemas.microsoft.com/office/drawing/2014/main" id="{A0153F5A-FACE-4A0D-B530-F689DD85ED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9" name="Полилиния: фигура 688">
                        <a:extLst>
                          <a:ext uri="{FF2B5EF4-FFF2-40B4-BE49-F238E27FC236}">
                            <a16:creationId xmlns:a16="http://schemas.microsoft.com/office/drawing/2014/main" id="{38C0F122-D0BD-42F6-8826-93A65D1CC4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0" name="Полилиния: фигура 689">
                        <a:extLst>
                          <a:ext uri="{FF2B5EF4-FFF2-40B4-BE49-F238E27FC236}">
                            <a16:creationId xmlns:a16="http://schemas.microsoft.com/office/drawing/2014/main" id="{EA8515F7-3F1D-4844-9E7D-0A5CFB0864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1" name="Полилиния: фигура 690">
                        <a:extLst>
                          <a:ext uri="{FF2B5EF4-FFF2-40B4-BE49-F238E27FC236}">
                            <a16:creationId xmlns:a16="http://schemas.microsoft.com/office/drawing/2014/main" id="{8AC65F3A-1754-489C-A4FE-C59A940CC4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2" name="Полилиния: фигура 691">
                        <a:extLst>
                          <a:ext uri="{FF2B5EF4-FFF2-40B4-BE49-F238E27FC236}">
                            <a16:creationId xmlns:a16="http://schemas.microsoft.com/office/drawing/2014/main" id="{015FA184-1266-45F4-9469-C71D3F5C6E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3" name="Полилиния: фигура 692">
                        <a:extLst>
                          <a:ext uri="{FF2B5EF4-FFF2-40B4-BE49-F238E27FC236}">
                            <a16:creationId xmlns:a16="http://schemas.microsoft.com/office/drawing/2014/main" id="{8612495A-8E86-4027-BCBA-024FABF03F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4" name="Полилиния: фигура 693">
                        <a:extLst>
                          <a:ext uri="{FF2B5EF4-FFF2-40B4-BE49-F238E27FC236}">
                            <a16:creationId xmlns:a16="http://schemas.microsoft.com/office/drawing/2014/main" id="{E23FAEC5-393F-4A94-B701-22C99BD3F1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5" name="Полилиния: фигура 694">
                        <a:extLst>
                          <a:ext uri="{FF2B5EF4-FFF2-40B4-BE49-F238E27FC236}">
                            <a16:creationId xmlns:a16="http://schemas.microsoft.com/office/drawing/2014/main" id="{9D63CDA7-6055-418F-BE59-7FF7131F3F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6" name="Полилиния: фигура 695">
                        <a:extLst>
                          <a:ext uri="{FF2B5EF4-FFF2-40B4-BE49-F238E27FC236}">
                            <a16:creationId xmlns:a16="http://schemas.microsoft.com/office/drawing/2014/main" id="{BC70D955-D057-431B-94FA-6AFC75620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7" name="Полилиния: фигура 696">
                        <a:extLst>
                          <a:ext uri="{FF2B5EF4-FFF2-40B4-BE49-F238E27FC236}">
                            <a16:creationId xmlns:a16="http://schemas.microsoft.com/office/drawing/2014/main" id="{4E3A5755-C37A-4C93-B422-D94E393C14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81" name="Карточка 1_Ава">
                      <a:extLst>
                        <a:ext uri="{FF2B5EF4-FFF2-40B4-BE49-F238E27FC236}">
                          <a16:creationId xmlns:a16="http://schemas.microsoft.com/office/drawing/2014/main" id="{55E4876D-922D-4021-B276-1EB532C4A7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82" name="Полилиния: фигура 681">
                        <a:extLst>
                          <a:ext uri="{FF2B5EF4-FFF2-40B4-BE49-F238E27FC236}">
                            <a16:creationId xmlns:a16="http://schemas.microsoft.com/office/drawing/2014/main" id="{057D1FC6-7330-4193-8918-09E8A2CDB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3" name="Полилиния: фигура 682">
                        <a:extLst>
                          <a:ext uri="{FF2B5EF4-FFF2-40B4-BE49-F238E27FC236}">
                            <a16:creationId xmlns:a16="http://schemas.microsoft.com/office/drawing/2014/main" id="{71E12CC8-1D7D-499F-83BA-C211027BC4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4" name="Полилиния: фигура 683">
                        <a:extLst>
                          <a:ext uri="{FF2B5EF4-FFF2-40B4-BE49-F238E27FC236}">
                            <a16:creationId xmlns:a16="http://schemas.microsoft.com/office/drawing/2014/main" id="{998B2E7A-4EA7-4F2D-8889-224075F25E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5" name="Полилиния: фигура 684">
                        <a:extLst>
                          <a:ext uri="{FF2B5EF4-FFF2-40B4-BE49-F238E27FC236}">
                            <a16:creationId xmlns:a16="http://schemas.microsoft.com/office/drawing/2014/main" id="{1E3DC35E-98FE-4A55-A33A-9475E92FE6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723" name="DWH">
            <a:extLst>
              <a:ext uri="{FF2B5EF4-FFF2-40B4-BE49-F238E27FC236}">
                <a16:creationId xmlns:a16="http://schemas.microsoft.com/office/drawing/2014/main" id="{527C32EC-36A5-4410-9AFE-D34A7FE28CA2}"/>
              </a:ext>
            </a:extLst>
          </p:cNvPr>
          <p:cNvGrpSpPr/>
          <p:nvPr/>
        </p:nvGrpSpPr>
        <p:grpSpPr>
          <a:xfrm>
            <a:off x="1329334" y="3639936"/>
            <a:ext cx="1990842" cy="1720597"/>
            <a:chOff x="3726533" y="3744634"/>
            <a:chExt cx="2224863" cy="1922851"/>
          </a:xfrm>
        </p:grpSpPr>
        <p:sp>
          <p:nvSpPr>
            <p:cNvPr id="724" name="Shape_фон">
              <a:extLst>
                <a:ext uri="{FF2B5EF4-FFF2-40B4-BE49-F238E27FC236}">
                  <a16:creationId xmlns:a16="http://schemas.microsoft.com/office/drawing/2014/main" id="{EEF5C71B-870A-425C-A8A0-CE6A6AF06D89}"/>
                </a:ext>
              </a:extLst>
            </p:cNvPr>
            <p:cNvSpPr/>
            <p:nvPr/>
          </p:nvSpPr>
          <p:spPr>
            <a:xfrm>
              <a:off x="3726533" y="3744634"/>
              <a:ext cx="2224863" cy="192285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25" name="Описание">
              <a:extLst>
                <a:ext uri="{FF2B5EF4-FFF2-40B4-BE49-F238E27FC236}">
                  <a16:creationId xmlns:a16="http://schemas.microsoft.com/office/drawing/2014/main" id="{17B4654B-00BA-434D-B117-19561FA611B1}"/>
                </a:ext>
              </a:extLst>
            </p:cNvPr>
            <p:cNvSpPr txBox="1"/>
            <p:nvPr/>
          </p:nvSpPr>
          <p:spPr>
            <a:xfrm>
              <a:off x="4028425" y="3886587"/>
              <a:ext cx="1621078" cy="3783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DWH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726" name="Группа 725">
              <a:extLst>
                <a:ext uri="{FF2B5EF4-FFF2-40B4-BE49-F238E27FC236}">
                  <a16:creationId xmlns:a16="http://schemas.microsoft.com/office/drawing/2014/main" id="{EF3E0CF8-649D-45FF-A6A4-8EB053C99918}"/>
                </a:ext>
              </a:extLst>
            </p:cNvPr>
            <p:cNvGrpSpPr/>
            <p:nvPr/>
          </p:nvGrpSpPr>
          <p:grpSpPr>
            <a:xfrm>
              <a:off x="3948926" y="4397042"/>
              <a:ext cx="1823301" cy="295269"/>
              <a:chOff x="2554158" y="1493927"/>
              <a:chExt cx="3536455" cy="572700"/>
            </a:xfrm>
          </p:grpSpPr>
          <p:sp>
            <p:nvSpPr>
              <p:cNvPr id="779" name="Rounded Rectangle">
                <a:extLst>
                  <a:ext uri="{FF2B5EF4-FFF2-40B4-BE49-F238E27FC236}">
                    <a16:creationId xmlns:a16="http://schemas.microsoft.com/office/drawing/2014/main" id="{310D1A14-5CA9-4212-BC79-1B49B60EC14E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80" name="Market analysis">
                <a:extLst>
                  <a:ext uri="{FF2B5EF4-FFF2-40B4-BE49-F238E27FC236}">
                    <a16:creationId xmlns:a16="http://schemas.microsoft.com/office/drawing/2014/main" id="{DB555BA2-8EFC-4836-9995-BD8498014FFF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81" name="Группа 780">
                <a:extLst>
                  <a:ext uri="{FF2B5EF4-FFF2-40B4-BE49-F238E27FC236}">
                    <a16:creationId xmlns:a16="http://schemas.microsoft.com/office/drawing/2014/main" id="{37FE4C39-3884-4C32-A03C-07774F2FB48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82" name="Circle">
                  <a:extLst>
                    <a:ext uri="{FF2B5EF4-FFF2-40B4-BE49-F238E27FC236}">
                      <a16:creationId xmlns:a16="http://schemas.microsoft.com/office/drawing/2014/main" id="{4F39D9BC-FAC6-4843-BED5-FBBCBD40690A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83" name="Группа 782">
                  <a:extLst>
                    <a:ext uri="{FF2B5EF4-FFF2-40B4-BE49-F238E27FC236}">
                      <a16:creationId xmlns:a16="http://schemas.microsoft.com/office/drawing/2014/main" id="{C47D10AD-7C4D-473C-A496-107EDF1CD85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84" name="Полилиния: фигура 783">
                    <a:extLst>
                      <a:ext uri="{FF2B5EF4-FFF2-40B4-BE49-F238E27FC236}">
                        <a16:creationId xmlns:a16="http://schemas.microsoft.com/office/drawing/2014/main" id="{04DCF48E-B256-4E3F-B231-3F5776E8042C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85" name="Карточка 1_Ава">
                    <a:extLst>
                      <a:ext uri="{FF2B5EF4-FFF2-40B4-BE49-F238E27FC236}">
                        <a16:creationId xmlns:a16="http://schemas.microsoft.com/office/drawing/2014/main" id="{C7E6A62D-126F-4200-AF63-FB488A89DAC5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86" name="Карточка 1_Ава">
                      <a:extLst>
                        <a:ext uri="{FF2B5EF4-FFF2-40B4-BE49-F238E27FC236}">
                          <a16:creationId xmlns:a16="http://schemas.microsoft.com/office/drawing/2014/main" id="{C52C69FF-7A44-4718-A622-B03DC637F0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92" name="Полилиния: фигура 791">
                        <a:extLst>
                          <a:ext uri="{FF2B5EF4-FFF2-40B4-BE49-F238E27FC236}">
                            <a16:creationId xmlns:a16="http://schemas.microsoft.com/office/drawing/2014/main" id="{937EA3C7-3757-479C-87C0-09A28E3BAD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3" name="Полилиния: фигура 792">
                        <a:extLst>
                          <a:ext uri="{FF2B5EF4-FFF2-40B4-BE49-F238E27FC236}">
                            <a16:creationId xmlns:a16="http://schemas.microsoft.com/office/drawing/2014/main" id="{FA59C53C-459D-4959-9088-7781218901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4" name="Полилиния: фигура 793">
                        <a:extLst>
                          <a:ext uri="{FF2B5EF4-FFF2-40B4-BE49-F238E27FC236}">
                            <a16:creationId xmlns:a16="http://schemas.microsoft.com/office/drawing/2014/main" id="{453477B1-762D-4F57-816B-CEAAE6F21F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5" name="Полилиния: фигура 794">
                        <a:extLst>
                          <a:ext uri="{FF2B5EF4-FFF2-40B4-BE49-F238E27FC236}">
                            <a16:creationId xmlns:a16="http://schemas.microsoft.com/office/drawing/2014/main" id="{0B60D3AA-46D8-4B30-BA38-16B02A0032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6" name="Полилиния: фигура 795">
                        <a:extLst>
                          <a:ext uri="{FF2B5EF4-FFF2-40B4-BE49-F238E27FC236}">
                            <a16:creationId xmlns:a16="http://schemas.microsoft.com/office/drawing/2014/main" id="{94AA3295-E151-4B70-8C6C-91044BB755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7" name="Полилиния: фигура 796">
                        <a:extLst>
                          <a:ext uri="{FF2B5EF4-FFF2-40B4-BE49-F238E27FC236}">
                            <a16:creationId xmlns:a16="http://schemas.microsoft.com/office/drawing/2014/main" id="{06A03A18-4083-4DD9-B650-2E9FAEB79A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8" name="Полилиния: фигура 797">
                        <a:extLst>
                          <a:ext uri="{FF2B5EF4-FFF2-40B4-BE49-F238E27FC236}">
                            <a16:creationId xmlns:a16="http://schemas.microsoft.com/office/drawing/2014/main" id="{6A2E0C2D-464E-4B7F-9071-E61C18E18A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9" name="Полилиния: фигура 798">
                        <a:extLst>
                          <a:ext uri="{FF2B5EF4-FFF2-40B4-BE49-F238E27FC236}">
                            <a16:creationId xmlns:a16="http://schemas.microsoft.com/office/drawing/2014/main" id="{9A7B8EF4-9DB6-4C0E-9FEA-DBE441E71F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0" name="Полилиния: фигура 799">
                        <a:extLst>
                          <a:ext uri="{FF2B5EF4-FFF2-40B4-BE49-F238E27FC236}">
                            <a16:creationId xmlns:a16="http://schemas.microsoft.com/office/drawing/2014/main" id="{071E0754-01CE-4C08-B022-4D40A218D8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1" name="Полилиния: фигура 800">
                        <a:extLst>
                          <a:ext uri="{FF2B5EF4-FFF2-40B4-BE49-F238E27FC236}">
                            <a16:creationId xmlns:a16="http://schemas.microsoft.com/office/drawing/2014/main" id="{A7DA6097-E8A6-4885-A690-2158869883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2" name="Полилиния: фигура 801">
                        <a:extLst>
                          <a:ext uri="{FF2B5EF4-FFF2-40B4-BE49-F238E27FC236}">
                            <a16:creationId xmlns:a16="http://schemas.microsoft.com/office/drawing/2014/main" id="{1BE53B5A-BAD9-4783-9028-AA3FF305C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3" name="Полилиния: фигура 802">
                        <a:extLst>
                          <a:ext uri="{FF2B5EF4-FFF2-40B4-BE49-F238E27FC236}">
                            <a16:creationId xmlns:a16="http://schemas.microsoft.com/office/drawing/2014/main" id="{A595E279-8E78-4C35-806E-0CAF34D1FB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87" name="Карточка 1_Ава">
                      <a:extLst>
                        <a:ext uri="{FF2B5EF4-FFF2-40B4-BE49-F238E27FC236}">
                          <a16:creationId xmlns:a16="http://schemas.microsoft.com/office/drawing/2014/main" id="{B9203CB3-3D27-45F4-A5FE-B0CEFB08BB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88" name="Полилиния: фигура 787">
                        <a:extLst>
                          <a:ext uri="{FF2B5EF4-FFF2-40B4-BE49-F238E27FC236}">
                            <a16:creationId xmlns:a16="http://schemas.microsoft.com/office/drawing/2014/main" id="{59E911FE-B003-4234-8EB3-49DF6593DB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89" name="Полилиния: фигура 788">
                        <a:extLst>
                          <a:ext uri="{FF2B5EF4-FFF2-40B4-BE49-F238E27FC236}">
                            <a16:creationId xmlns:a16="http://schemas.microsoft.com/office/drawing/2014/main" id="{B4F229F1-31B3-4699-A9B2-1F41448AB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0" name="Полилиния: фигура 789">
                        <a:extLst>
                          <a:ext uri="{FF2B5EF4-FFF2-40B4-BE49-F238E27FC236}">
                            <a16:creationId xmlns:a16="http://schemas.microsoft.com/office/drawing/2014/main" id="{4D92BED9-063B-4815-8384-8358E46FD5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1" name="Полилиния: фигура 790">
                        <a:extLst>
                          <a:ext uri="{FF2B5EF4-FFF2-40B4-BE49-F238E27FC236}">
                            <a16:creationId xmlns:a16="http://schemas.microsoft.com/office/drawing/2014/main" id="{BB097C1D-B917-44B8-B43C-7EF363A6DA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27" name="Группа 726">
              <a:extLst>
                <a:ext uri="{FF2B5EF4-FFF2-40B4-BE49-F238E27FC236}">
                  <a16:creationId xmlns:a16="http://schemas.microsoft.com/office/drawing/2014/main" id="{2C9671FD-0F3D-4D34-984B-8E64FF86D9D3}"/>
                </a:ext>
              </a:extLst>
            </p:cNvPr>
            <p:cNvGrpSpPr/>
            <p:nvPr/>
          </p:nvGrpSpPr>
          <p:grpSpPr>
            <a:xfrm>
              <a:off x="3948926" y="4816212"/>
              <a:ext cx="1823301" cy="295269"/>
              <a:chOff x="2554158" y="1493927"/>
              <a:chExt cx="3536455" cy="572700"/>
            </a:xfrm>
          </p:grpSpPr>
          <p:sp>
            <p:nvSpPr>
              <p:cNvPr id="754" name="Rounded Rectangle">
                <a:extLst>
                  <a:ext uri="{FF2B5EF4-FFF2-40B4-BE49-F238E27FC236}">
                    <a16:creationId xmlns:a16="http://schemas.microsoft.com/office/drawing/2014/main" id="{6A33D54E-ABFC-480B-B727-53CA8DE0B235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55" name="Market analysis">
                <a:extLst>
                  <a:ext uri="{FF2B5EF4-FFF2-40B4-BE49-F238E27FC236}">
                    <a16:creationId xmlns:a16="http://schemas.microsoft.com/office/drawing/2014/main" id="{E0C4BA58-FC14-462B-BD11-3C2213EC3F9E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56" name="Группа 755">
                <a:extLst>
                  <a:ext uri="{FF2B5EF4-FFF2-40B4-BE49-F238E27FC236}">
                    <a16:creationId xmlns:a16="http://schemas.microsoft.com/office/drawing/2014/main" id="{24512D09-ED60-4B18-87C8-0557D325D333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57" name="Circle">
                  <a:extLst>
                    <a:ext uri="{FF2B5EF4-FFF2-40B4-BE49-F238E27FC236}">
                      <a16:creationId xmlns:a16="http://schemas.microsoft.com/office/drawing/2014/main" id="{B0967DB6-0FD4-443B-A8DE-F6366E7F786E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58" name="Группа 757">
                  <a:extLst>
                    <a:ext uri="{FF2B5EF4-FFF2-40B4-BE49-F238E27FC236}">
                      <a16:creationId xmlns:a16="http://schemas.microsoft.com/office/drawing/2014/main" id="{0DEE9C9A-49B6-499B-83A1-D4D8BDBC45AE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59" name="Полилиния: фигура 758">
                    <a:extLst>
                      <a:ext uri="{FF2B5EF4-FFF2-40B4-BE49-F238E27FC236}">
                        <a16:creationId xmlns:a16="http://schemas.microsoft.com/office/drawing/2014/main" id="{4F0F9668-123D-408D-A817-D04FEC552BC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60" name="Карточка 1_Ава">
                    <a:extLst>
                      <a:ext uri="{FF2B5EF4-FFF2-40B4-BE49-F238E27FC236}">
                        <a16:creationId xmlns:a16="http://schemas.microsoft.com/office/drawing/2014/main" id="{3018F229-60FE-42E3-8283-85746AC8E570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61" name="Карточка 1_Ава">
                      <a:extLst>
                        <a:ext uri="{FF2B5EF4-FFF2-40B4-BE49-F238E27FC236}">
                          <a16:creationId xmlns:a16="http://schemas.microsoft.com/office/drawing/2014/main" id="{38D98452-1E64-443D-A92B-0C5A9C3A459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67" name="Полилиния: фигура 766">
                        <a:extLst>
                          <a:ext uri="{FF2B5EF4-FFF2-40B4-BE49-F238E27FC236}">
                            <a16:creationId xmlns:a16="http://schemas.microsoft.com/office/drawing/2014/main" id="{571D299D-C416-4F0A-8966-8E9E166DC1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8" name="Полилиния: фигура 767">
                        <a:extLst>
                          <a:ext uri="{FF2B5EF4-FFF2-40B4-BE49-F238E27FC236}">
                            <a16:creationId xmlns:a16="http://schemas.microsoft.com/office/drawing/2014/main" id="{9AE6CE44-55EE-4CC1-8D24-68058EAD84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9" name="Полилиния: фигура 768">
                        <a:extLst>
                          <a:ext uri="{FF2B5EF4-FFF2-40B4-BE49-F238E27FC236}">
                            <a16:creationId xmlns:a16="http://schemas.microsoft.com/office/drawing/2014/main" id="{80D28A66-06C5-4AEC-B502-F588F11BE4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0" name="Полилиния: фигура 769">
                        <a:extLst>
                          <a:ext uri="{FF2B5EF4-FFF2-40B4-BE49-F238E27FC236}">
                            <a16:creationId xmlns:a16="http://schemas.microsoft.com/office/drawing/2014/main" id="{15C884AF-22D8-400A-813C-4477010635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1" name="Полилиния: фигура 770">
                        <a:extLst>
                          <a:ext uri="{FF2B5EF4-FFF2-40B4-BE49-F238E27FC236}">
                            <a16:creationId xmlns:a16="http://schemas.microsoft.com/office/drawing/2014/main" id="{9B48826A-BC64-46E7-BEC8-E7432D416A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2" name="Полилиния: фигура 771">
                        <a:extLst>
                          <a:ext uri="{FF2B5EF4-FFF2-40B4-BE49-F238E27FC236}">
                            <a16:creationId xmlns:a16="http://schemas.microsoft.com/office/drawing/2014/main" id="{78102FAC-4B8B-4C14-B462-A5E478238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3" name="Полилиния: фигура 772">
                        <a:extLst>
                          <a:ext uri="{FF2B5EF4-FFF2-40B4-BE49-F238E27FC236}">
                            <a16:creationId xmlns:a16="http://schemas.microsoft.com/office/drawing/2014/main" id="{9B96B361-6DC4-4500-9C6C-A687AB9B4A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4" name="Полилиния: фигура 773">
                        <a:extLst>
                          <a:ext uri="{FF2B5EF4-FFF2-40B4-BE49-F238E27FC236}">
                            <a16:creationId xmlns:a16="http://schemas.microsoft.com/office/drawing/2014/main" id="{EDD35D0F-C705-4B10-A475-0A746DDB9F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5" name="Полилиния: фигура 774">
                        <a:extLst>
                          <a:ext uri="{FF2B5EF4-FFF2-40B4-BE49-F238E27FC236}">
                            <a16:creationId xmlns:a16="http://schemas.microsoft.com/office/drawing/2014/main" id="{7FEA07DE-22A4-4814-8820-4BAD111C73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6" name="Полилиния: фигура 775">
                        <a:extLst>
                          <a:ext uri="{FF2B5EF4-FFF2-40B4-BE49-F238E27FC236}">
                            <a16:creationId xmlns:a16="http://schemas.microsoft.com/office/drawing/2014/main" id="{7F83DC79-4361-492A-83F6-A43A1D0694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7" name="Полилиния: фигура 776">
                        <a:extLst>
                          <a:ext uri="{FF2B5EF4-FFF2-40B4-BE49-F238E27FC236}">
                            <a16:creationId xmlns:a16="http://schemas.microsoft.com/office/drawing/2014/main" id="{73811BC7-D53C-4DA3-8EFF-A9484DDCC8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8" name="Полилиния: фигура 777">
                        <a:extLst>
                          <a:ext uri="{FF2B5EF4-FFF2-40B4-BE49-F238E27FC236}">
                            <a16:creationId xmlns:a16="http://schemas.microsoft.com/office/drawing/2014/main" id="{8F6AEA92-878D-43D7-93E9-1E677091C7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62" name="Карточка 1_Ава">
                      <a:extLst>
                        <a:ext uri="{FF2B5EF4-FFF2-40B4-BE49-F238E27FC236}">
                          <a16:creationId xmlns:a16="http://schemas.microsoft.com/office/drawing/2014/main" id="{3AAE5CAB-1B45-47E3-A8FE-63CA253F2B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63" name="Полилиния: фигура 762">
                        <a:extLst>
                          <a:ext uri="{FF2B5EF4-FFF2-40B4-BE49-F238E27FC236}">
                            <a16:creationId xmlns:a16="http://schemas.microsoft.com/office/drawing/2014/main" id="{79B947E6-AFFC-4AE4-B79F-52666C06E1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4" name="Полилиния: фигура 763">
                        <a:extLst>
                          <a:ext uri="{FF2B5EF4-FFF2-40B4-BE49-F238E27FC236}">
                            <a16:creationId xmlns:a16="http://schemas.microsoft.com/office/drawing/2014/main" id="{4A9DF37F-3C58-48A2-BF22-C3249F006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5" name="Полилиния: фигура 764">
                        <a:extLst>
                          <a:ext uri="{FF2B5EF4-FFF2-40B4-BE49-F238E27FC236}">
                            <a16:creationId xmlns:a16="http://schemas.microsoft.com/office/drawing/2014/main" id="{3A4C5063-F335-4C16-9641-18F3ED1C50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6" name="Полилиния: фигура 765">
                        <a:extLst>
                          <a:ext uri="{FF2B5EF4-FFF2-40B4-BE49-F238E27FC236}">
                            <a16:creationId xmlns:a16="http://schemas.microsoft.com/office/drawing/2014/main" id="{45406D6C-450F-4B3B-95F2-88F89E8F6E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28" name="Группа 727">
              <a:extLst>
                <a:ext uri="{FF2B5EF4-FFF2-40B4-BE49-F238E27FC236}">
                  <a16:creationId xmlns:a16="http://schemas.microsoft.com/office/drawing/2014/main" id="{47EE6D04-F009-4A29-B9C8-363001C08223}"/>
                </a:ext>
              </a:extLst>
            </p:cNvPr>
            <p:cNvGrpSpPr/>
            <p:nvPr/>
          </p:nvGrpSpPr>
          <p:grpSpPr>
            <a:xfrm>
              <a:off x="3948926" y="5197386"/>
              <a:ext cx="1823301" cy="295269"/>
              <a:chOff x="2554158" y="1493927"/>
              <a:chExt cx="3536455" cy="572700"/>
            </a:xfrm>
          </p:grpSpPr>
          <p:sp>
            <p:nvSpPr>
              <p:cNvPr id="729" name="Rounded Rectangle">
                <a:extLst>
                  <a:ext uri="{FF2B5EF4-FFF2-40B4-BE49-F238E27FC236}">
                    <a16:creationId xmlns:a16="http://schemas.microsoft.com/office/drawing/2014/main" id="{634E3759-9170-445C-81FC-716E506CD4A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30" name="Market analysis">
                <a:extLst>
                  <a:ext uri="{FF2B5EF4-FFF2-40B4-BE49-F238E27FC236}">
                    <a16:creationId xmlns:a16="http://schemas.microsoft.com/office/drawing/2014/main" id="{5C293846-F32C-4BD2-BB7A-C88FE6A56B4F}"/>
                  </a:ext>
                </a:extLst>
              </p:cNvPr>
              <p:cNvSpPr txBox="1"/>
              <p:nvPr/>
            </p:nvSpPr>
            <p:spPr>
              <a:xfrm>
                <a:off x="3249621" y="1628313"/>
                <a:ext cx="2323502" cy="23683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Лебедев Михаил Михайл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31" name="Группа 730">
                <a:extLst>
                  <a:ext uri="{FF2B5EF4-FFF2-40B4-BE49-F238E27FC236}">
                    <a16:creationId xmlns:a16="http://schemas.microsoft.com/office/drawing/2014/main" id="{44F82F8B-3688-4A4F-A2BE-7D6A49E6ADCF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32" name="Circle">
                  <a:extLst>
                    <a:ext uri="{FF2B5EF4-FFF2-40B4-BE49-F238E27FC236}">
                      <a16:creationId xmlns:a16="http://schemas.microsoft.com/office/drawing/2014/main" id="{E4954981-2EF8-456B-AC54-46FE0B6783FE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33" name="Группа 732">
                  <a:extLst>
                    <a:ext uri="{FF2B5EF4-FFF2-40B4-BE49-F238E27FC236}">
                      <a16:creationId xmlns:a16="http://schemas.microsoft.com/office/drawing/2014/main" id="{CA2300B7-28DC-461D-98BD-F3D6683EDDE9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34" name="Полилиния: фигура 733">
                    <a:extLst>
                      <a:ext uri="{FF2B5EF4-FFF2-40B4-BE49-F238E27FC236}">
                        <a16:creationId xmlns:a16="http://schemas.microsoft.com/office/drawing/2014/main" id="{FB7762AE-7BBC-46CB-BB05-62BF0E3F95E8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35" name="Карточка 1_Ава">
                    <a:extLst>
                      <a:ext uri="{FF2B5EF4-FFF2-40B4-BE49-F238E27FC236}">
                        <a16:creationId xmlns:a16="http://schemas.microsoft.com/office/drawing/2014/main" id="{84CC2553-D6A0-4000-97A6-37816BFAFC4B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36" name="Карточка 1_Ава">
                      <a:extLst>
                        <a:ext uri="{FF2B5EF4-FFF2-40B4-BE49-F238E27FC236}">
                          <a16:creationId xmlns:a16="http://schemas.microsoft.com/office/drawing/2014/main" id="{1700BD25-94DD-4B1D-ADA5-69BB52D1B5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42" name="Полилиния: фигура 741">
                        <a:extLst>
                          <a:ext uri="{FF2B5EF4-FFF2-40B4-BE49-F238E27FC236}">
                            <a16:creationId xmlns:a16="http://schemas.microsoft.com/office/drawing/2014/main" id="{AD34E6BA-FB13-4B95-A14D-DBBD82038B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3" name="Полилиния: фигура 742">
                        <a:extLst>
                          <a:ext uri="{FF2B5EF4-FFF2-40B4-BE49-F238E27FC236}">
                            <a16:creationId xmlns:a16="http://schemas.microsoft.com/office/drawing/2014/main" id="{E4C75CD2-F0D7-47AE-8F3A-DE02434CD7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4" name="Полилиния: фигура 743">
                        <a:extLst>
                          <a:ext uri="{FF2B5EF4-FFF2-40B4-BE49-F238E27FC236}">
                            <a16:creationId xmlns:a16="http://schemas.microsoft.com/office/drawing/2014/main" id="{3A595B99-1B19-4DB3-A928-42924D8E92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5" name="Полилиния: фигура 744">
                        <a:extLst>
                          <a:ext uri="{FF2B5EF4-FFF2-40B4-BE49-F238E27FC236}">
                            <a16:creationId xmlns:a16="http://schemas.microsoft.com/office/drawing/2014/main" id="{1CA005D4-B306-4A99-828F-A5E1BCCCB7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6" name="Полилиния: фигура 745">
                        <a:extLst>
                          <a:ext uri="{FF2B5EF4-FFF2-40B4-BE49-F238E27FC236}">
                            <a16:creationId xmlns:a16="http://schemas.microsoft.com/office/drawing/2014/main" id="{9AC5A30A-2750-4E07-AB89-42E9BE824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7" name="Полилиния: фигура 746">
                        <a:extLst>
                          <a:ext uri="{FF2B5EF4-FFF2-40B4-BE49-F238E27FC236}">
                            <a16:creationId xmlns:a16="http://schemas.microsoft.com/office/drawing/2014/main" id="{1417FDC3-B087-467B-91DB-6F59F11375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8" name="Полилиния: фигура 747">
                        <a:extLst>
                          <a:ext uri="{FF2B5EF4-FFF2-40B4-BE49-F238E27FC236}">
                            <a16:creationId xmlns:a16="http://schemas.microsoft.com/office/drawing/2014/main" id="{D9FACD5B-84CA-440B-B262-997FCE7410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9" name="Полилиния: фигура 748">
                        <a:extLst>
                          <a:ext uri="{FF2B5EF4-FFF2-40B4-BE49-F238E27FC236}">
                            <a16:creationId xmlns:a16="http://schemas.microsoft.com/office/drawing/2014/main" id="{092A9006-7ACC-4833-A058-C559DF0053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0" name="Полилиния: фигура 749">
                        <a:extLst>
                          <a:ext uri="{FF2B5EF4-FFF2-40B4-BE49-F238E27FC236}">
                            <a16:creationId xmlns:a16="http://schemas.microsoft.com/office/drawing/2014/main" id="{BEE28013-79F1-44F8-897E-C2F956F7F9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1" name="Полилиния: фигура 750">
                        <a:extLst>
                          <a:ext uri="{FF2B5EF4-FFF2-40B4-BE49-F238E27FC236}">
                            <a16:creationId xmlns:a16="http://schemas.microsoft.com/office/drawing/2014/main" id="{1DC2C877-FAE5-4D65-93DA-B9CD2FC2E4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2" name="Полилиния: фигура 751">
                        <a:extLst>
                          <a:ext uri="{FF2B5EF4-FFF2-40B4-BE49-F238E27FC236}">
                            <a16:creationId xmlns:a16="http://schemas.microsoft.com/office/drawing/2014/main" id="{A915EB3D-6D29-495A-9F8B-3D9FFDF46D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3" name="Полилиния: фигура 752">
                        <a:extLst>
                          <a:ext uri="{FF2B5EF4-FFF2-40B4-BE49-F238E27FC236}">
                            <a16:creationId xmlns:a16="http://schemas.microsoft.com/office/drawing/2014/main" id="{500D3652-C75F-49CA-80C7-BA9833CCC6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37" name="Карточка 1_Ава">
                      <a:extLst>
                        <a:ext uri="{FF2B5EF4-FFF2-40B4-BE49-F238E27FC236}">
                          <a16:creationId xmlns:a16="http://schemas.microsoft.com/office/drawing/2014/main" id="{2AA0F495-D53F-46B7-BC02-327918416E3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38" name="Полилиния: фигура 737">
                        <a:extLst>
                          <a:ext uri="{FF2B5EF4-FFF2-40B4-BE49-F238E27FC236}">
                            <a16:creationId xmlns:a16="http://schemas.microsoft.com/office/drawing/2014/main" id="{12202443-A0F8-4592-B9BB-4E7189D053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4">
                          <a:lumMod val="75000"/>
                        </a:schemeClr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39" name="Полилиния: фигура 738">
                        <a:extLst>
                          <a:ext uri="{FF2B5EF4-FFF2-40B4-BE49-F238E27FC236}">
                            <a16:creationId xmlns:a16="http://schemas.microsoft.com/office/drawing/2014/main" id="{73B0B0A8-27C7-48AB-B14D-1A27C1B300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0" name="Полилиния: фигура 739">
                        <a:extLst>
                          <a:ext uri="{FF2B5EF4-FFF2-40B4-BE49-F238E27FC236}">
                            <a16:creationId xmlns:a16="http://schemas.microsoft.com/office/drawing/2014/main" id="{9D59E851-66E4-4F12-82AD-512AA9D3DF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1" name="Полилиния: фигура 740">
                        <a:extLst>
                          <a:ext uri="{FF2B5EF4-FFF2-40B4-BE49-F238E27FC236}">
                            <a16:creationId xmlns:a16="http://schemas.microsoft.com/office/drawing/2014/main" id="{DCD766EC-37BF-47C2-93D9-0B18308FC3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636584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ез «Единого клиента»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89" name="ОТП_Logo">
            <a:extLst>
              <a:ext uri="{FF2B5EF4-FFF2-40B4-BE49-F238E27FC236}">
                <a16:creationId xmlns:a16="http://schemas.microsoft.com/office/drawing/2014/main" id="{FBD3264C-1043-4AF3-9616-6213463002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  <p:sp>
        <p:nvSpPr>
          <p:cNvPr id="402" name="Rounded Rectangle">
            <a:extLst>
              <a:ext uri="{FF2B5EF4-FFF2-40B4-BE49-F238E27FC236}">
                <a16:creationId xmlns:a16="http://schemas.microsoft.com/office/drawing/2014/main" id="{8F026AC0-7E58-4230-B99E-E9C98D363FB7}"/>
              </a:ext>
            </a:extLst>
          </p:cNvPr>
          <p:cNvSpPr/>
          <p:nvPr/>
        </p:nvSpPr>
        <p:spPr>
          <a:xfrm>
            <a:off x="7221057" y="1783596"/>
            <a:ext cx="4970944" cy="3492567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403" name="Группа 402">
            <a:extLst>
              <a:ext uri="{FF2B5EF4-FFF2-40B4-BE49-F238E27FC236}">
                <a16:creationId xmlns:a16="http://schemas.microsoft.com/office/drawing/2014/main" id="{0EF38439-A023-45E2-BF7D-7153EE9440C1}"/>
              </a:ext>
            </a:extLst>
          </p:cNvPr>
          <p:cNvGrpSpPr/>
          <p:nvPr/>
        </p:nvGrpSpPr>
        <p:grpSpPr>
          <a:xfrm>
            <a:off x="6902291" y="1458262"/>
            <a:ext cx="5051622" cy="847113"/>
            <a:chOff x="6510195" y="1556711"/>
            <a:chExt cx="5051622" cy="847113"/>
          </a:xfrm>
        </p:grpSpPr>
        <p:sp>
          <p:nvSpPr>
            <p:cNvPr id="404" name="Rounded Rectangle">
              <a:extLst>
                <a:ext uri="{FF2B5EF4-FFF2-40B4-BE49-F238E27FC236}">
                  <a16:creationId xmlns:a16="http://schemas.microsoft.com/office/drawing/2014/main" id="{79ADD436-86F6-4D4E-9FA0-D55CF9AABC8B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05" name="Motion design">
              <a:extLst>
                <a:ext uri="{FF2B5EF4-FFF2-40B4-BE49-F238E27FC236}">
                  <a16:creationId xmlns:a16="http://schemas.microsoft.com/office/drawing/2014/main" id="{98953A88-211F-43CF-9429-7F1D10BC04F9}"/>
                </a:ext>
              </a:extLst>
            </p:cNvPr>
            <p:cNvSpPr txBox="1"/>
            <p:nvPr/>
          </p:nvSpPr>
          <p:spPr>
            <a:xfrm>
              <a:off x="7434557" y="1842208"/>
              <a:ext cx="369142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ного систем</a:t>
              </a:r>
            </a:p>
          </p:txBody>
        </p:sp>
        <p:sp>
          <p:nvSpPr>
            <p:cNvPr id="406" name="Circle">
              <a:extLst>
                <a:ext uri="{FF2B5EF4-FFF2-40B4-BE49-F238E27FC236}">
                  <a16:creationId xmlns:a16="http://schemas.microsoft.com/office/drawing/2014/main" id="{4E38D675-9D70-462C-BDFB-1192EE121E48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07" name="Рисунок 406">
              <a:extLst>
                <a:ext uri="{FF2B5EF4-FFF2-40B4-BE49-F238E27FC236}">
                  <a16:creationId xmlns:a16="http://schemas.microsoft.com/office/drawing/2014/main" id="{94C7CACB-81E0-4C45-87C0-C6B510295E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408" name="Группа 407">
            <a:extLst>
              <a:ext uri="{FF2B5EF4-FFF2-40B4-BE49-F238E27FC236}">
                <a16:creationId xmlns:a16="http://schemas.microsoft.com/office/drawing/2014/main" id="{1A422333-32CD-49BD-BAC9-BEB463702B98}"/>
              </a:ext>
            </a:extLst>
          </p:cNvPr>
          <p:cNvGrpSpPr/>
          <p:nvPr/>
        </p:nvGrpSpPr>
        <p:grpSpPr>
          <a:xfrm>
            <a:off x="6902291" y="2483438"/>
            <a:ext cx="5051622" cy="847113"/>
            <a:chOff x="6510195" y="2581887"/>
            <a:chExt cx="5051622" cy="847113"/>
          </a:xfrm>
        </p:grpSpPr>
        <p:sp>
          <p:nvSpPr>
            <p:cNvPr id="409" name="Rounded Rectangle">
              <a:extLst>
                <a:ext uri="{FF2B5EF4-FFF2-40B4-BE49-F238E27FC236}">
                  <a16:creationId xmlns:a16="http://schemas.microsoft.com/office/drawing/2014/main" id="{9CD4CFCB-9EC3-482E-B0BF-56AA1EAD669E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0" name="Motion design">
              <a:extLst>
                <a:ext uri="{FF2B5EF4-FFF2-40B4-BE49-F238E27FC236}">
                  <a16:creationId xmlns:a16="http://schemas.microsoft.com/office/drawing/2014/main" id="{F5A3C6AD-C8A9-448F-BC73-2A8CF593703A}"/>
                </a:ext>
              </a:extLst>
            </p:cNvPr>
            <p:cNvSpPr txBox="1"/>
            <p:nvPr/>
          </p:nvSpPr>
          <p:spPr>
            <a:xfrm>
              <a:off x="7434559" y="2867383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убликаты</a:t>
              </a:r>
            </a:p>
          </p:txBody>
        </p:sp>
        <p:sp>
          <p:nvSpPr>
            <p:cNvPr id="411" name="Circle">
              <a:extLst>
                <a:ext uri="{FF2B5EF4-FFF2-40B4-BE49-F238E27FC236}">
                  <a16:creationId xmlns:a16="http://schemas.microsoft.com/office/drawing/2014/main" id="{9906B38A-8C48-4B7C-8AC0-94762A78DE0A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2" name="Рисунок 411">
              <a:extLst>
                <a:ext uri="{FF2B5EF4-FFF2-40B4-BE49-F238E27FC236}">
                  <a16:creationId xmlns:a16="http://schemas.microsoft.com/office/drawing/2014/main" id="{EFD8DCF9-1E77-47B9-A695-ACACA1FFAABD}"/>
                </a:ext>
              </a:extLst>
            </p:cNvPr>
            <p:cNvSpPr/>
            <p:nvPr/>
          </p:nvSpPr>
          <p:spPr>
            <a:xfrm>
              <a:off x="6793956" y="2855978"/>
              <a:ext cx="310319" cy="310498"/>
            </a:xfrm>
            <a:custGeom>
              <a:avLst/>
              <a:gdLst>
                <a:gd name="connsiteX0" fmla="*/ 103231 w 310319"/>
                <a:gd name="connsiteY0" fmla="*/ 103018 h 310498"/>
                <a:gd name="connsiteX1" fmla="*/ 103231 w 310319"/>
                <a:gd name="connsiteY1" fmla="*/ 54718 h 310498"/>
                <a:gd name="connsiteX2" fmla="*/ 107026 w 310319"/>
                <a:gd name="connsiteY2" fmla="*/ 18315 h 310498"/>
                <a:gd name="connsiteX3" fmla="*/ 122028 w 310319"/>
                <a:gd name="connsiteY3" fmla="*/ 3313 h 310498"/>
                <a:gd name="connsiteX4" fmla="*/ 158431 w 310319"/>
                <a:gd name="connsiteY4" fmla="*/ -482 h 310498"/>
                <a:gd name="connsiteX5" fmla="*/ 255030 w 310319"/>
                <a:gd name="connsiteY5" fmla="*/ -482 h 310498"/>
                <a:gd name="connsiteX6" fmla="*/ 291433 w 310319"/>
                <a:gd name="connsiteY6" fmla="*/ 3313 h 310498"/>
                <a:gd name="connsiteX7" fmla="*/ 306435 w 310319"/>
                <a:gd name="connsiteY7" fmla="*/ 18315 h 310498"/>
                <a:gd name="connsiteX8" fmla="*/ 310230 w 310319"/>
                <a:gd name="connsiteY8" fmla="*/ 54718 h 310498"/>
                <a:gd name="connsiteX9" fmla="*/ 310230 w 310319"/>
                <a:gd name="connsiteY9" fmla="*/ 151318 h 310498"/>
                <a:gd name="connsiteX10" fmla="*/ 306435 w 310319"/>
                <a:gd name="connsiteY10" fmla="*/ 187720 h 310498"/>
                <a:gd name="connsiteX11" fmla="*/ 291433 w 310319"/>
                <a:gd name="connsiteY11" fmla="*/ 202723 h 310498"/>
                <a:gd name="connsiteX12" fmla="*/ 255208 w 310319"/>
                <a:gd name="connsiteY12" fmla="*/ 206518 h 310498"/>
                <a:gd name="connsiteX13" fmla="*/ 206908 w 310319"/>
                <a:gd name="connsiteY13" fmla="*/ 206518 h 310498"/>
                <a:gd name="connsiteX14" fmla="*/ 103409 w 310319"/>
                <a:gd name="connsiteY14" fmla="*/ 103018 h 310498"/>
                <a:gd name="connsiteX15" fmla="*/ 55111 w 310319"/>
                <a:gd name="connsiteY15" fmla="*/ 103018 h 310498"/>
                <a:gd name="connsiteX16" fmla="*/ 18706 w 310319"/>
                <a:gd name="connsiteY16" fmla="*/ 106813 h 310498"/>
                <a:gd name="connsiteX17" fmla="*/ 3692 w 310319"/>
                <a:gd name="connsiteY17" fmla="*/ 121815 h 310498"/>
                <a:gd name="connsiteX18" fmla="*/ -89 w 310319"/>
                <a:gd name="connsiteY18" fmla="*/ 158217 h 310498"/>
                <a:gd name="connsiteX19" fmla="*/ -89 w 310319"/>
                <a:gd name="connsiteY19" fmla="*/ 254817 h 310498"/>
                <a:gd name="connsiteX20" fmla="*/ 3692 w 310319"/>
                <a:gd name="connsiteY20" fmla="*/ 291220 h 310498"/>
                <a:gd name="connsiteX21" fmla="*/ 18706 w 310319"/>
                <a:gd name="connsiteY21" fmla="*/ 306222 h 310498"/>
                <a:gd name="connsiteX22" fmla="*/ 55111 w 310319"/>
                <a:gd name="connsiteY22" fmla="*/ 310017 h 310498"/>
                <a:gd name="connsiteX23" fmla="*/ 151876 w 310319"/>
                <a:gd name="connsiteY23" fmla="*/ 310017 h 310498"/>
                <a:gd name="connsiteX24" fmla="*/ 188101 w 310319"/>
                <a:gd name="connsiteY24" fmla="*/ 306222 h 310498"/>
                <a:gd name="connsiteX25" fmla="*/ 203103 w 310319"/>
                <a:gd name="connsiteY25" fmla="*/ 291220 h 310498"/>
                <a:gd name="connsiteX26" fmla="*/ 206908 w 310319"/>
                <a:gd name="connsiteY26" fmla="*/ 254995 h 310498"/>
                <a:gd name="connsiteX27" fmla="*/ 206908 w 310319"/>
                <a:gd name="connsiteY27" fmla="*/ 206695 h 310498"/>
                <a:gd name="connsiteX28" fmla="*/ 103409 w 310319"/>
                <a:gd name="connsiteY28" fmla="*/ 103195 h 310498"/>
                <a:gd name="connsiteX29" fmla="*/ 151708 w 310319"/>
                <a:gd name="connsiteY29" fmla="*/ 103195 h 310498"/>
                <a:gd name="connsiteX30" fmla="*/ 188101 w 310319"/>
                <a:gd name="connsiteY30" fmla="*/ 106990 h 310498"/>
                <a:gd name="connsiteX31" fmla="*/ 203103 w 310319"/>
                <a:gd name="connsiteY31" fmla="*/ 121993 h 310498"/>
                <a:gd name="connsiteX32" fmla="*/ 206908 w 310319"/>
                <a:gd name="connsiteY32" fmla="*/ 158395 h 310498"/>
                <a:gd name="connsiteX33" fmla="*/ 206908 w 310319"/>
                <a:gd name="connsiteY33" fmla="*/ 206695 h 31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0319" h="310498">
                  <a:moveTo>
                    <a:pt x="103231" y="103018"/>
                  </a:moveTo>
                  <a:lnTo>
                    <a:pt x="103231" y="54718"/>
                  </a:lnTo>
                  <a:cubicBezTo>
                    <a:pt x="103231" y="35398"/>
                    <a:pt x="103231" y="25738"/>
                    <a:pt x="107026" y="18315"/>
                  </a:cubicBezTo>
                  <a:cubicBezTo>
                    <a:pt x="110309" y="11771"/>
                    <a:pt x="115651" y="6596"/>
                    <a:pt x="122028" y="3313"/>
                  </a:cubicBezTo>
                  <a:cubicBezTo>
                    <a:pt x="129451" y="-482"/>
                    <a:pt x="139111" y="-482"/>
                    <a:pt x="158431" y="-482"/>
                  </a:cubicBezTo>
                  <a:lnTo>
                    <a:pt x="255030" y="-482"/>
                  </a:lnTo>
                  <a:cubicBezTo>
                    <a:pt x="274350" y="-482"/>
                    <a:pt x="284010" y="-482"/>
                    <a:pt x="291433" y="3313"/>
                  </a:cubicBezTo>
                  <a:cubicBezTo>
                    <a:pt x="297978" y="6596"/>
                    <a:pt x="303153" y="11938"/>
                    <a:pt x="306435" y="18315"/>
                  </a:cubicBezTo>
                  <a:cubicBezTo>
                    <a:pt x="310230" y="25738"/>
                    <a:pt x="310230" y="35398"/>
                    <a:pt x="310230" y="54718"/>
                  </a:cubicBezTo>
                  <a:lnTo>
                    <a:pt x="310230" y="151318"/>
                  </a:lnTo>
                  <a:cubicBezTo>
                    <a:pt x="310230" y="170638"/>
                    <a:pt x="310230" y="180297"/>
                    <a:pt x="306435" y="187720"/>
                  </a:cubicBezTo>
                  <a:cubicBezTo>
                    <a:pt x="303153" y="194265"/>
                    <a:pt x="297810" y="199440"/>
                    <a:pt x="291433" y="202723"/>
                  </a:cubicBezTo>
                  <a:cubicBezTo>
                    <a:pt x="284010" y="206518"/>
                    <a:pt x="274350" y="206518"/>
                    <a:pt x="255208" y="206518"/>
                  </a:cubicBezTo>
                  <a:lnTo>
                    <a:pt x="206908" y="206518"/>
                  </a:lnTo>
                  <a:moveTo>
                    <a:pt x="103409" y="103018"/>
                  </a:moveTo>
                  <a:lnTo>
                    <a:pt x="55111" y="103018"/>
                  </a:lnTo>
                  <a:cubicBezTo>
                    <a:pt x="35778" y="103018"/>
                    <a:pt x="26117" y="103018"/>
                    <a:pt x="18706" y="106813"/>
                  </a:cubicBezTo>
                  <a:cubicBezTo>
                    <a:pt x="12152" y="110095"/>
                    <a:pt x="6977" y="115438"/>
                    <a:pt x="3692" y="121815"/>
                  </a:cubicBezTo>
                  <a:cubicBezTo>
                    <a:pt x="-89" y="129238"/>
                    <a:pt x="-89" y="138898"/>
                    <a:pt x="-89" y="158217"/>
                  </a:cubicBezTo>
                  <a:lnTo>
                    <a:pt x="-89" y="254817"/>
                  </a:lnTo>
                  <a:cubicBezTo>
                    <a:pt x="-89" y="274137"/>
                    <a:pt x="-89" y="283797"/>
                    <a:pt x="3692" y="291220"/>
                  </a:cubicBezTo>
                  <a:cubicBezTo>
                    <a:pt x="6977" y="297764"/>
                    <a:pt x="12317" y="302939"/>
                    <a:pt x="18706" y="306222"/>
                  </a:cubicBezTo>
                  <a:cubicBezTo>
                    <a:pt x="26117" y="310017"/>
                    <a:pt x="35778" y="310017"/>
                    <a:pt x="55111" y="310017"/>
                  </a:cubicBezTo>
                  <a:lnTo>
                    <a:pt x="151876" y="310017"/>
                  </a:lnTo>
                  <a:cubicBezTo>
                    <a:pt x="171196" y="310017"/>
                    <a:pt x="180856" y="310017"/>
                    <a:pt x="188101" y="306222"/>
                  </a:cubicBezTo>
                  <a:cubicBezTo>
                    <a:pt x="194656" y="302939"/>
                    <a:pt x="199831" y="297597"/>
                    <a:pt x="203103" y="291220"/>
                  </a:cubicBezTo>
                  <a:cubicBezTo>
                    <a:pt x="206908" y="283797"/>
                    <a:pt x="206908" y="274137"/>
                    <a:pt x="206908" y="254995"/>
                  </a:cubicBezTo>
                  <a:lnTo>
                    <a:pt x="206908" y="206695"/>
                  </a:lnTo>
                  <a:moveTo>
                    <a:pt x="103409" y="103195"/>
                  </a:moveTo>
                  <a:lnTo>
                    <a:pt x="151708" y="103195"/>
                  </a:lnTo>
                  <a:cubicBezTo>
                    <a:pt x="171018" y="103195"/>
                    <a:pt x="180678" y="103195"/>
                    <a:pt x="188101" y="106990"/>
                  </a:cubicBezTo>
                  <a:cubicBezTo>
                    <a:pt x="194656" y="110263"/>
                    <a:pt x="199831" y="115616"/>
                    <a:pt x="203103" y="121993"/>
                  </a:cubicBezTo>
                  <a:cubicBezTo>
                    <a:pt x="206908" y="129416"/>
                    <a:pt x="206908" y="139065"/>
                    <a:pt x="206908" y="158395"/>
                  </a:cubicBezTo>
                  <a:lnTo>
                    <a:pt x="206908" y="206695"/>
                  </a:lnTo>
                </a:path>
              </a:pathLst>
            </a:custGeom>
            <a:noFill/>
            <a:ln w="2222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3" name="Группа 412">
            <a:extLst>
              <a:ext uri="{FF2B5EF4-FFF2-40B4-BE49-F238E27FC236}">
                <a16:creationId xmlns:a16="http://schemas.microsoft.com/office/drawing/2014/main" id="{F3978D56-8018-48AA-B559-2F44776B3C47}"/>
              </a:ext>
            </a:extLst>
          </p:cNvPr>
          <p:cNvGrpSpPr/>
          <p:nvPr/>
        </p:nvGrpSpPr>
        <p:grpSpPr>
          <a:xfrm>
            <a:off x="6902291" y="3541524"/>
            <a:ext cx="5051622" cy="847113"/>
            <a:chOff x="6510195" y="3639973"/>
            <a:chExt cx="5051622" cy="847113"/>
          </a:xfrm>
        </p:grpSpPr>
        <p:sp>
          <p:nvSpPr>
            <p:cNvPr id="414" name="Rounded Rectangle">
              <a:extLst>
                <a:ext uri="{FF2B5EF4-FFF2-40B4-BE49-F238E27FC236}">
                  <a16:creationId xmlns:a16="http://schemas.microsoft.com/office/drawing/2014/main" id="{5126F591-29BD-4C72-89FD-070AD05B80BB}"/>
                </a:ext>
              </a:extLst>
            </p:cNvPr>
            <p:cNvSpPr/>
            <p:nvPr/>
          </p:nvSpPr>
          <p:spPr>
            <a:xfrm>
              <a:off x="6510195" y="36399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5" name="Motion design">
              <a:extLst>
                <a:ext uri="{FF2B5EF4-FFF2-40B4-BE49-F238E27FC236}">
                  <a16:creationId xmlns:a16="http://schemas.microsoft.com/office/drawing/2014/main" id="{CACA7C79-09E9-4FCE-B4DD-5B519E2B7FEF}"/>
                </a:ext>
              </a:extLst>
            </p:cNvPr>
            <p:cNvSpPr txBox="1"/>
            <p:nvPr/>
          </p:nvSpPr>
          <p:spPr>
            <a:xfrm>
              <a:off x="7434559" y="3925470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ежсистемные связи </a:t>
              </a:r>
            </a:p>
          </p:txBody>
        </p:sp>
        <p:sp>
          <p:nvSpPr>
            <p:cNvPr id="416" name="Circle">
              <a:extLst>
                <a:ext uri="{FF2B5EF4-FFF2-40B4-BE49-F238E27FC236}">
                  <a16:creationId xmlns:a16="http://schemas.microsoft.com/office/drawing/2014/main" id="{D240C7C5-BBD0-4C3D-BF41-F11B4E8BABF4}"/>
                </a:ext>
              </a:extLst>
            </p:cNvPr>
            <p:cNvSpPr/>
            <p:nvPr/>
          </p:nvSpPr>
          <p:spPr>
            <a:xfrm>
              <a:off x="6636379" y="37458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" name="Рисунок 416">
              <a:extLst>
                <a:ext uri="{FF2B5EF4-FFF2-40B4-BE49-F238E27FC236}">
                  <a16:creationId xmlns:a16="http://schemas.microsoft.com/office/drawing/2014/main" id="{B9A098E4-5930-447E-9CDB-1D1DF21B438A}"/>
                </a:ext>
              </a:extLst>
            </p:cNvPr>
            <p:cNvSpPr/>
            <p:nvPr/>
          </p:nvSpPr>
          <p:spPr>
            <a:xfrm>
              <a:off x="6827214" y="3980041"/>
              <a:ext cx="261188" cy="161551"/>
            </a:xfrm>
            <a:custGeom>
              <a:avLst/>
              <a:gdLst>
                <a:gd name="connsiteX0" fmla="*/ 159615 w 261188"/>
                <a:gd name="connsiteY0" fmla="*/ 124836 h 161551"/>
                <a:gd name="connsiteX1" fmla="*/ 261188 w 261188"/>
                <a:gd name="connsiteY1" fmla="*/ 124836 h 161551"/>
                <a:gd name="connsiteX2" fmla="*/ 0 w 261188"/>
                <a:gd name="connsiteY2" fmla="*/ 124836 h 161551"/>
                <a:gd name="connsiteX3" fmla="*/ 29021 w 261188"/>
                <a:gd name="connsiteY3" fmla="*/ 124836 h 161551"/>
                <a:gd name="connsiteX4" fmla="*/ 29021 w 261188"/>
                <a:gd name="connsiteY4" fmla="*/ 124836 h 161551"/>
                <a:gd name="connsiteX5" fmla="*/ 65297 w 261188"/>
                <a:gd name="connsiteY5" fmla="*/ 161552 h 161551"/>
                <a:gd name="connsiteX6" fmla="*/ 101573 w 261188"/>
                <a:gd name="connsiteY6" fmla="*/ 124836 h 161551"/>
                <a:gd name="connsiteX7" fmla="*/ 65297 w 261188"/>
                <a:gd name="connsiteY7" fmla="*/ 88119 h 161551"/>
                <a:gd name="connsiteX8" fmla="*/ 29021 w 261188"/>
                <a:gd name="connsiteY8" fmla="*/ 124836 h 161551"/>
                <a:gd name="connsiteX9" fmla="*/ 246678 w 261188"/>
                <a:gd name="connsiteY9" fmla="*/ 36716 h 161551"/>
                <a:gd name="connsiteX10" fmla="*/ 261188 w 261188"/>
                <a:gd name="connsiteY10" fmla="*/ 36716 h 161551"/>
                <a:gd name="connsiteX11" fmla="*/ 0 w 261188"/>
                <a:gd name="connsiteY11" fmla="*/ 36716 h 161551"/>
                <a:gd name="connsiteX12" fmla="*/ 101573 w 261188"/>
                <a:gd name="connsiteY12" fmla="*/ 36716 h 161551"/>
                <a:gd name="connsiteX13" fmla="*/ 195891 w 261188"/>
                <a:gd name="connsiteY13" fmla="*/ 73433 h 161551"/>
                <a:gd name="connsiteX14" fmla="*/ 159615 w 261188"/>
                <a:gd name="connsiteY14" fmla="*/ 36716 h 161551"/>
                <a:gd name="connsiteX15" fmla="*/ 195891 w 261188"/>
                <a:gd name="connsiteY15" fmla="*/ 0 h 161551"/>
                <a:gd name="connsiteX16" fmla="*/ 232167 w 261188"/>
                <a:gd name="connsiteY16" fmla="*/ 36716 h 161551"/>
                <a:gd name="connsiteX17" fmla="*/ 195891 w 261188"/>
                <a:gd name="connsiteY17" fmla="*/ 73433 h 16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1188" h="161551">
                  <a:moveTo>
                    <a:pt x="159615" y="124836"/>
                  </a:moveTo>
                  <a:lnTo>
                    <a:pt x="261188" y="124836"/>
                  </a:lnTo>
                  <a:moveTo>
                    <a:pt x="0" y="124836"/>
                  </a:moveTo>
                  <a:lnTo>
                    <a:pt x="29021" y="124836"/>
                  </a:lnTo>
                  <a:moveTo>
                    <a:pt x="29021" y="124836"/>
                  </a:moveTo>
                  <a:cubicBezTo>
                    <a:pt x="29021" y="145103"/>
                    <a:pt x="45273" y="161552"/>
                    <a:pt x="65297" y="161552"/>
                  </a:cubicBezTo>
                  <a:cubicBezTo>
                    <a:pt x="85321" y="161552"/>
                    <a:pt x="101573" y="145103"/>
                    <a:pt x="101573" y="124836"/>
                  </a:cubicBezTo>
                  <a:cubicBezTo>
                    <a:pt x="101573" y="104568"/>
                    <a:pt x="85321" y="88119"/>
                    <a:pt x="65297" y="88119"/>
                  </a:cubicBezTo>
                  <a:cubicBezTo>
                    <a:pt x="45273" y="88119"/>
                    <a:pt x="29021" y="104568"/>
                    <a:pt x="29021" y="124836"/>
                  </a:cubicBezTo>
                  <a:close/>
                  <a:moveTo>
                    <a:pt x="246678" y="36716"/>
                  </a:moveTo>
                  <a:lnTo>
                    <a:pt x="261188" y="36716"/>
                  </a:lnTo>
                  <a:moveTo>
                    <a:pt x="0" y="36716"/>
                  </a:moveTo>
                  <a:lnTo>
                    <a:pt x="101573" y="36716"/>
                  </a:lnTo>
                  <a:moveTo>
                    <a:pt x="195891" y="73433"/>
                  </a:moveTo>
                  <a:cubicBezTo>
                    <a:pt x="175867" y="73433"/>
                    <a:pt x="159615" y="56984"/>
                    <a:pt x="159615" y="36716"/>
                  </a:cubicBezTo>
                  <a:cubicBezTo>
                    <a:pt x="159615" y="16449"/>
                    <a:pt x="175867" y="0"/>
                    <a:pt x="195891" y="0"/>
                  </a:cubicBezTo>
                  <a:cubicBezTo>
                    <a:pt x="215916" y="0"/>
                    <a:pt x="232167" y="16449"/>
                    <a:pt x="232167" y="36716"/>
                  </a:cubicBezTo>
                  <a:cubicBezTo>
                    <a:pt x="232167" y="56984"/>
                    <a:pt x="215916" y="73433"/>
                    <a:pt x="195891" y="73433"/>
                  </a:cubicBezTo>
                  <a:close/>
                </a:path>
              </a:pathLst>
            </a:custGeom>
            <a:noFill/>
            <a:ln w="2222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18" name="Группа 417">
            <a:extLst>
              <a:ext uri="{FF2B5EF4-FFF2-40B4-BE49-F238E27FC236}">
                <a16:creationId xmlns:a16="http://schemas.microsoft.com/office/drawing/2014/main" id="{E646B5B9-9FAB-418A-AE2C-D9D50AAA750C}"/>
              </a:ext>
            </a:extLst>
          </p:cNvPr>
          <p:cNvGrpSpPr/>
          <p:nvPr/>
        </p:nvGrpSpPr>
        <p:grpSpPr>
          <a:xfrm>
            <a:off x="6902291" y="4591114"/>
            <a:ext cx="5051622" cy="847113"/>
            <a:chOff x="6510195" y="4689563"/>
            <a:chExt cx="5051622" cy="847113"/>
          </a:xfrm>
        </p:grpSpPr>
        <p:sp>
          <p:nvSpPr>
            <p:cNvPr id="419" name="Rounded Rectangle">
              <a:extLst>
                <a:ext uri="{FF2B5EF4-FFF2-40B4-BE49-F238E27FC236}">
                  <a16:creationId xmlns:a16="http://schemas.microsoft.com/office/drawing/2014/main" id="{2BE8167C-9C9F-423E-9951-7620D96CFC2F}"/>
                </a:ext>
              </a:extLst>
            </p:cNvPr>
            <p:cNvSpPr/>
            <p:nvPr/>
          </p:nvSpPr>
          <p:spPr>
            <a:xfrm>
              <a:off x="6510195" y="468956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0" name="Motion design">
              <a:extLst>
                <a:ext uri="{FF2B5EF4-FFF2-40B4-BE49-F238E27FC236}">
                  <a16:creationId xmlns:a16="http://schemas.microsoft.com/office/drawing/2014/main" id="{6288AFE5-7F08-463C-B076-7FC5C39CA290}"/>
                </a:ext>
              </a:extLst>
            </p:cNvPr>
            <p:cNvSpPr txBox="1"/>
            <p:nvPr/>
          </p:nvSpPr>
          <p:spPr>
            <a:xfrm>
              <a:off x="7434559" y="4975061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роблемы с синхронизацией данных </a:t>
              </a:r>
            </a:p>
          </p:txBody>
        </p:sp>
        <p:sp>
          <p:nvSpPr>
            <p:cNvPr id="421" name="Circle">
              <a:extLst>
                <a:ext uri="{FF2B5EF4-FFF2-40B4-BE49-F238E27FC236}">
                  <a16:creationId xmlns:a16="http://schemas.microsoft.com/office/drawing/2014/main" id="{7B3081D5-7519-42D0-9D76-F06F21F26C42}"/>
                </a:ext>
              </a:extLst>
            </p:cNvPr>
            <p:cNvSpPr/>
            <p:nvPr/>
          </p:nvSpPr>
          <p:spPr>
            <a:xfrm>
              <a:off x="6636379" y="479545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22" name="Рисунок 421">
              <a:extLst>
                <a:ext uri="{FF2B5EF4-FFF2-40B4-BE49-F238E27FC236}">
                  <a16:creationId xmlns:a16="http://schemas.microsoft.com/office/drawing/2014/main" id="{6185CFDE-7A6C-4171-B638-60E74FB70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812513" y="4952982"/>
              <a:ext cx="290591" cy="330218"/>
            </a:xfrm>
            <a:prstGeom prst="rect">
              <a:avLst/>
            </a:prstGeom>
          </p:spPr>
        </p:pic>
      </p:grpSp>
      <p:grpSp>
        <p:nvGrpSpPr>
          <p:cNvPr id="1188" name="Группа 1187">
            <a:extLst>
              <a:ext uri="{FF2B5EF4-FFF2-40B4-BE49-F238E27FC236}">
                <a16:creationId xmlns:a16="http://schemas.microsoft.com/office/drawing/2014/main" id="{BC3A56E2-C0F7-429F-8036-59A2CE52FB5B}"/>
              </a:ext>
            </a:extLst>
          </p:cNvPr>
          <p:cNvGrpSpPr/>
          <p:nvPr/>
        </p:nvGrpSpPr>
        <p:grpSpPr>
          <a:xfrm>
            <a:off x="13106624" y="1985278"/>
            <a:ext cx="2788657" cy="2799101"/>
            <a:chOff x="8757491" y="1749491"/>
            <a:chExt cx="2788657" cy="2799101"/>
          </a:xfrm>
        </p:grpSpPr>
        <p:sp>
          <p:nvSpPr>
            <p:cNvPr id="1189" name="Shape_фон">
              <a:extLst>
                <a:ext uri="{FF2B5EF4-FFF2-40B4-BE49-F238E27FC236}">
                  <a16:creationId xmlns:a16="http://schemas.microsoft.com/office/drawing/2014/main" id="{2FD81F28-8C41-41DF-B1A9-A3630F91157B}"/>
                </a:ext>
              </a:extLst>
            </p:cNvPr>
            <p:cNvSpPr/>
            <p:nvPr/>
          </p:nvSpPr>
          <p:spPr>
            <a:xfrm>
              <a:off x="8757491" y="1749491"/>
              <a:ext cx="2788657" cy="279910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90" name="Описание">
              <a:extLst>
                <a:ext uri="{FF2B5EF4-FFF2-40B4-BE49-F238E27FC236}">
                  <a16:creationId xmlns:a16="http://schemas.microsoft.com/office/drawing/2014/main" id="{392FFD61-0810-4CC6-8F97-B2E665D33E6A}"/>
                </a:ext>
              </a:extLst>
            </p:cNvPr>
            <p:cNvSpPr txBox="1"/>
            <p:nvPr/>
          </p:nvSpPr>
          <p:spPr>
            <a:xfrm>
              <a:off x="9041579" y="2001412"/>
              <a:ext cx="22204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«Единый клиент»</a:t>
              </a:r>
            </a:p>
          </p:txBody>
        </p:sp>
        <p:grpSp>
          <p:nvGrpSpPr>
            <p:cNvPr id="1191" name="ЕК_Лого">
              <a:extLst>
                <a:ext uri="{FF2B5EF4-FFF2-40B4-BE49-F238E27FC236}">
                  <a16:creationId xmlns:a16="http://schemas.microsoft.com/office/drawing/2014/main" id="{B3EE9007-F211-4439-AB50-E09E36B6B40A}"/>
                </a:ext>
              </a:extLst>
            </p:cNvPr>
            <p:cNvGrpSpPr/>
            <p:nvPr/>
          </p:nvGrpSpPr>
          <p:grpSpPr>
            <a:xfrm>
              <a:off x="9252369" y="2484399"/>
              <a:ext cx="1798900" cy="1785141"/>
              <a:chOff x="9141588" y="2080803"/>
              <a:chExt cx="2020578" cy="2005124"/>
            </a:xfrm>
          </p:grpSpPr>
          <p:sp>
            <p:nvSpPr>
              <p:cNvPr id="1192" name="Полилиния: фигура 1191">
                <a:extLst>
                  <a:ext uri="{FF2B5EF4-FFF2-40B4-BE49-F238E27FC236}">
                    <a16:creationId xmlns:a16="http://schemas.microsoft.com/office/drawing/2014/main" id="{DD97320C-AB5E-4382-A3A3-1A88C414E9EF}"/>
                  </a:ext>
                </a:extLst>
              </p:cNvPr>
              <p:cNvSpPr/>
              <p:nvPr/>
            </p:nvSpPr>
            <p:spPr>
              <a:xfrm>
                <a:off x="10289981" y="2794439"/>
                <a:ext cx="184663" cy="294906"/>
              </a:xfrm>
              <a:custGeom>
                <a:avLst/>
                <a:gdLst>
                  <a:gd name="connsiteX0" fmla="*/ 15893 w 184663"/>
                  <a:gd name="connsiteY0" fmla="*/ 4498 h 294906"/>
                  <a:gd name="connsiteX1" fmla="*/ 6956 w 184663"/>
                  <a:gd name="connsiteY1" fmla="*/ 9719 h 294906"/>
                  <a:gd name="connsiteX2" fmla="*/ 2856 w 184663"/>
                  <a:gd name="connsiteY2" fmla="*/ 19246 h 294906"/>
                  <a:gd name="connsiteX3" fmla="*/ 18902 w 184663"/>
                  <a:gd name="connsiteY3" fmla="*/ 271287 h 294906"/>
                  <a:gd name="connsiteX4" fmla="*/ 23680 w 184663"/>
                  <a:gd name="connsiteY4" fmla="*/ 278986 h 294906"/>
                  <a:gd name="connsiteX5" fmla="*/ 31143 w 184663"/>
                  <a:gd name="connsiteY5" fmla="*/ 284118 h 294906"/>
                  <a:gd name="connsiteX6" fmla="*/ 122137 w 184663"/>
                  <a:gd name="connsiteY6" fmla="*/ 294736 h 294906"/>
                  <a:gd name="connsiteX7" fmla="*/ 165525 w 184663"/>
                  <a:gd name="connsiteY7" fmla="*/ 291138 h 294906"/>
                  <a:gd name="connsiteX8" fmla="*/ 171897 w 184663"/>
                  <a:gd name="connsiteY8" fmla="*/ 286684 h 294906"/>
                  <a:gd name="connsiteX9" fmla="*/ 175554 w 184663"/>
                  <a:gd name="connsiteY9" fmla="*/ 279811 h 294906"/>
                  <a:gd name="connsiteX10" fmla="*/ 184373 w 184663"/>
                  <a:gd name="connsiteY10" fmla="*/ 163805 h 294906"/>
                  <a:gd name="connsiteX11" fmla="*/ 137062 w 184663"/>
                  <a:gd name="connsiteY11" fmla="*/ 23434 h 294906"/>
                  <a:gd name="connsiteX12" fmla="*/ 15923 w 184663"/>
                  <a:gd name="connsiteY12" fmla="*/ 4498 h 294906"/>
                  <a:gd name="connsiteX13" fmla="*/ 151456 w 184663"/>
                  <a:gd name="connsiteY13" fmla="*/ 162389 h 294906"/>
                  <a:gd name="connsiteX14" fmla="*/ 145350 w 184663"/>
                  <a:gd name="connsiteY14" fmla="*/ 261229 h 294906"/>
                  <a:gd name="connsiteX15" fmla="*/ 48958 w 184663"/>
                  <a:gd name="connsiteY15" fmla="*/ 255507 h 294906"/>
                  <a:gd name="connsiteX16" fmla="*/ 34918 w 184663"/>
                  <a:gd name="connsiteY16" fmla="*/ 34937 h 294906"/>
                  <a:gd name="connsiteX17" fmla="*/ 115088 w 184663"/>
                  <a:gd name="connsiteY17" fmla="*/ 48063 h 294906"/>
                  <a:gd name="connsiteX18" fmla="*/ 151456 w 184663"/>
                  <a:gd name="connsiteY18" fmla="*/ 162359 h 2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4663" h="294906">
                    <a:moveTo>
                      <a:pt x="15893" y="4498"/>
                    </a:moveTo>
                    <a:cubicBezTo>
                      <a:pt x="12442" y="5235"/>
                      <a:pt x="9286" y="7064"/>
                      <a:pt x="6956" y="9719"/>
                    </a:cubicBezTo>
                    <a:cubicBezTo>
                      <a:pt x="4626" y="12373"/>
                      <a:pt x="3181" y="15706"/>
                      <a:pt x="2856" y="19246"/>
                    </a:cubicBezTo>
                    <a:cubicBezTo>
                      <a:pt x="-7172" y="130828"/>
                      <a:pt x="11882" y="250345"/>
                      <a:pt x="18902" y="271287"/>
                    </a:cubicBezTo>
                    <a:cubicBezTo>
                      <a:pt x="19934" y="274148"/>
                      <a:pt x="21557" y="276773"/>
                      <a:pt x="23680" y="278986"/>
                    </a:cubicBezTo>
                    <a:cubicBezTo>
                      <a:pt x="25774" y="281198"/>
                      <a:pt x="28311" y="282938"/>
                      <a:pt x="31143" y="284118"/>
                    </a:cubicBezTo>
                    <a:cubicBezTo>
                      <a:pt x="46185" y="291344"/>
                      <a:pt x="88453" y="294736"/>
                      <a:pt x="122137" y="294736"/>
                    </a:cubicBezTo>
                    <a:cubicBezTo>
                      <a:pt x="136708" y="295385"/>
                      <a:pt x="151279" y="294176"/>
                      <a:pt x="165525" y="291138"/>
                    </a:cubicBezTo>
                    <a:cubicBezTo>
                      <a:pt x="167974" y="290165"/>
                      <a:pt x="170156" y="288660"/>
                      <a:pt x="171897" y="286684"/>
                    </a:cubicBezTo>
                    <a:cubicBezTo>
                      <a:pt x="173637" y="284708"/>
                      <a:pt x="174876" y="282348"/>
                      <a:pt x="175554" y="279811"/>
                    </a:cubicBezTo>
                    <a:cubicBezTo>
                      <a:pt x="178858" y="267187"/>
                      <a:pt x="180657" y="239697"/>
                      <a:pt x="184373" y="163805"/>
                    </a:cubicBezTo>
                    <a:cubicBezTo>
                      <a:pt x="187175" y="106258"/>
                      <a:pt x="169537" y="53520"/>
                      <a:pt x="137062" y="23434"/>
                    </a:cubicBezTo>
                    <a:cubicBezTo>
                      <a:pt x="98776" y="-11843"/>
                      <a:pt x="24034" y="2669"/>
                      <a:pt x="15923" y="4498"/>
                    </a:cubicBezTo>
                    <a:close/>
                    <a:moveTo>
                      <a:pt x="151456" y="162389"/>
                    </a:moveTo>
                    <a:cubicBezTo>
                      <a:pt x="149244" y="207901"/>
                      <a:pt x="147444" y="243296"/>
                      <a:pt x="145350" y="261229"/>
                    </a:cubicBezTo>
                    <a:cubicBezTo>
                      <a:pt x="113111" y="262792"/>
                      <a:pt x="80784" y="260875"/>
                      <a:pt x="48958" y="255507"/>
                    </a:cubicBezTo>
                    <a:cubicBezTo>
                      <a:pt x="35302" y="182829"/>
                      <a:pt x="30582" y="108765"/>
                      <a:pt x="34918" y="34937"/>
                    </a:cubicBezTo>
                    <a:cubicBezTo>
                      <a:pt x="57571" y="32017"/>
                      <a:pt x="96535" y="31132"/>
                      <a:pt x="115088" y="48063"/>
                    </a:cubicBezTo>
                    <a:cubicBezTo>
                      <a:pt x="140041" y="71719"/>
                      <a:pt x="154258" y="114429"/>
                      <a:pt x="151456" y="1623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3" name="Полилиния: фигура 1192">
                <a:extLst>
                  <a:ext uri="{FF2B5EF4-FFF2-40B4-BE49-F238E27FC236}">
                    <a16:creationId xmlns:a16="http://schemas.microsoft.com/office/drawing/2014/main" id="{8DDB9238-14C6-4D5C-84D4-6B98C2552F00}"/>
                  </a:ext>
                </a:extLst>
              </p:cNvPr>
              <p:cNvSpPr/>
              <p:nvPr/>
            </p:nvSpPr>
            <p:spPr>
              <a:xfrm>
                <a:off x="9768388" y="2275873"/>
                <a:ext cx="369594" cy="581022"/>
              </a:xfrm>
              <a:custGeom>
                <a:avLst/>
                <a:gdLst>
                  <a:gd name="connsiteX0" fmla="*/ 293084 w 369594"/>
                  <a:gd name="connsiteY0" fmla="*/ 253885 h 581022"/>
                  <a:gd name="connsiteX1" fmla="*/ 285061 w 369594"/>
                  <a:gd name="connsiteY1" fmla="*/ 253885 h 581022"/>
                  <a:gd name="connsiteX2" fmla="*/ 234152 w 369594"/>
                  <a:gd name="connsiteY2" fmla="*/ 243856 h 581022"/>
                  <a:gd name="connsiteX3" fmla="*/ 229137 w 369594"/>
                  <a:gd name="connsiteY3" fmla="*/ 230318 h 581022"/>
                  <a:gd name="connsiteX4" fmla="*/ 230730 w 369594"/>
                  <a:gd name="connsiteY4" fmla="*/ 215983 h 581022"/>
                  <a:gd name="connsiteX5" fmla="*/ 241467 w 369594"/>
                  <a:gd name="connsiteY5" fmla="*/ 199849 h 581022"/>
                  <a:gd name="connsiteX6" fmla="*/ 257512 w 369594"/>
                  <a:gd name="connsiteY6" fmla="*/ 174689 h 581022"/>
                  <a:gd name="connsiteX7" fmla="*/ 270431 w 369594"/>
                  <a:gd name="connsiteY7" fmla="*/ 118234 h 581022"/>
                  <a:gd name="connsiteX8" fmla="*/ 266774 w 369594"/>
                  <a:gd name="connsiteY8" fmla="*/ 72309 h 581022"/>
                  <a:gd name="connsiteX9" fmla="*/ 244977 w 369594"/>
                  <a:gd name="connsiteY9" fmla="*/ 31723 h 581022"/>
                  <a:gd name="connsiteX10" fmla="*/ 215038 w 369594"/>
                  <a:gd name="connsiteY10" fmla="*/ 9217 h 581022"/>
                  <a:gd name="connsiteX11" fmla="*/ 178699 w 369594"/>
                  <a:gd name="connsiteY11" fmla="*/ 103 h 581022"/>
                  <a:gd name="connsiteX12" fmla="*/ 141682 w 369594"/>
                  <a:gd name="connsiteY12" fmla="*/ 5825 h 581022"/>
                  <a:gd name="connsiteX13" fmla="*/ 109797 w 369594"/>
                  <a:gd name="connsiteY13" fmla="*/ 25499 h 581022"/>
                  <a:gd name="connsiteX14" fmla="*/ 79741 w 369594"/>
                  <a:gd name="connsiteY14" fmla="*/ 111125 h 581022"/>
                  <a:gd name="connsiteX15" fmla="*/ 90950 w 369594"/>
                  <a:gd name="connsiteY15" fmla="*/ 172388 h 581022"/>
                  <a:gd name="connsiteX16" fmla="*/ 119619 w 369594"/>
                  <a:gd name="connsiteY16" fmla="*/ 212502 h 581022"/>
                  <a:gd name="connsiteX17" fmla="*/ 126934 w 369594"/>
                  <a:gd name="connsiteY17" fmla="*/ 220407 h 581022"/>
                  <a:gd name="connsiteX18" fmla="*/ 125637 w 369594"/>
                  <a:gd name="connsiteY18" fmla="*/ 246776 h 581022"/>
                  <a:gd name="connsiteX19" fmla="*/ 90478 w 369594"/>
                  <a:gd name="connsiteY19" fmla="*/ 256805 h 581022"/>
                  <a:gd name="connsiteX20" fmla="*/ 82750 w 369594"/>
                  <a:gd name="connsiteY20" fmla="*/ 256805 h 581022"/>
                  <a:gd name="connsiteX21" fmla="*/ 10308 w 369594"/>
                  <a:gd name="connsiteY21" fmla="*/ 290283 h 581022"/>
                  <a:gd name="connsiteX22" fmla="*/ 50393 w 369594"/>
                  <a:gd name="connsiteY22" fmla="*/ 560966 h 581022"/>
                  <a:gd name="connsiteX23" fmla="*/ 75140 w 369594"/>
                  <a:gd name="connsiteY23" fmla="*/ 581023 h 581022"/>
                  <a:gd name="connsiteX24" fmla="*/ 252409 w 369594"/>
                  <a:gd name="connsiteY24" fmla="*/ 581023 h 581022"/>
                  <a:gd name="connsiteX25" fmla="*/ 311843 w 369594"/>
                  <a:gd name="connsiteY25" fmla="*/ 580521 h 581022"/>
                  <a:gd name="connsiteX26" fmla="*/ 323671 w 369594"/>
                  <a:gd name="connsiteY26" fmla="*/ 576244 h 581022"/>
                  <a:gd name="connsiteX27" fmla="*/ 331871 w 369594"/>
                  <a:gd name="connsiteY27" fmla="*/ 566688 h 581022"/>
                  <a:gd name="connsiteX28" fmla="*/ 365231 w 369594"/>
                  <a:gd name="connsiteY28" fmla="*/ 297598 h 581022"/>
                  <a:gd name="connsiteX29" fmla="*/ 335765 w 369594"/>
                  <a:gd name="connsiteY29" fmla="*/ 264828 h 581022"/>
                  <a:gd name="connsiteX30" fmla="*/ 293084 w 369594"/>
                  <a:gd name="connsiteY30" fmla="*/ 253885 h 581022"/>
                  <a:gd name="connsiteX31" fmla="*/ 304499 w 369594"/>
                  <a:gd name="connsiteY31" fmla="*/ 548046 h 581022"/>
                  <a:gd name="connsiteX32" fmla="*/ 134751 w 369594"/>
                  <a:gd name="connsiteY32" fmla="*/ 548046 h 581022"/>
                  <a:gd name="connsiteX33" fmla="*/ 81127 w 369594"/>
                  <a:gd name="connsiteY33" fmla="*/ 548046 h 581022"/>
                  <a:gd name="connsiteX34" fmla="*/ 38447 w 369594"/>
                  <a:gd name="connsiteY34" fmla="*/ 308128 h 581022"/>
                  <a:gd name="connsiteX35" fmla="*/ 83251 w 369594"/>
                  <a:gd name="connsiteY35" fmla="*/ 289693 h 581022"/>
                  <a:gd name="connsiteX36" fmla="*/ 92159 w 369594"/>
                  <a:gd name="connsiteY36" fmla="*/ 289693 h 581022"/>
                  <a:gd name="connsiteX37" fmla="*/ 153776 w 369594"/>
                  <a:gd name="connsiteY37" fmla="*/ 265123 h 581022"/>
                  <a:gd name="connsiteX38" fmla="*/ 155073 w 369594"/>
                  <a:gd name="connsiteY38" fmla="*/ 201854 h 581022"/>
                  <a:gd name="connsiteX39" fmla="*/ 144248 w 369594"/>
                  <a:gd name="connsiteY39" fmla="*/ 189938 h 581022"/>
                  <a:gd name="connsiteX40" fmla="*/ 122097 w 369594"/>
                  <a:gd name="connsiteY40" fmla="*/ 159852 h 581022"/>
                  <a:gd name="connsiteX41" fmla="*/ 113278 w 369594"/>
                  <a:gd name="connsiteY41" fmla="*/ 110417 h 581022"/>
                  <a:gd name="connsiteX42" fmla="*/ 133306 w 369594"/>
                  <a:gd name="connsiteY42" fmla="*/ 48653 h 581022"/>
                  <a:gd name="connsiteX43" fmla="*/ 152448 w 369594"/>
                  <a:gd name="connsiteY43" fmla="*/ 36648 h 581022"/>
                  <a:gd name="connsiteX44" fmla="*/ 174777 w 369594"/>
                  <a:gd name="connsiteY44" fmla="*/ 33197 h 581022"/>
                  <a:gd name="connsiteX45" fmla="*/ 199553 w 369594"/>
                  <a:gd name="connsiteY45" fmla="*/ 38094 h 581022"/>
                  <a:gd name="connsiteX46" fmla="*/ 219758 w 369594"/>
                  <a:gd name="connsiteY46" fmla="*/ 53255 h 581022"/>
                  <a:gd name="connsiteX47" fmla="*/ 234594 w 369594"/>
                  <a:gd name="connsiteY47" fmla="*/ 81276 h 581022"/>
                  <a:gd name="connsiteX48" fmla="*/ 237190 w 369594"/>
                  <a:gd name="connsiteY48" fmla="*/ 112895 h 581022"/>
                  <a:gd name="connsiteX49" fmla="*/ 225981 w 369594"/>
                  <a:gd name="connsiteY49" fmla="*/ 163038 h 581022"/>
                  <a:gd name="connsiteX50" fmla="*/ 215363 w 369594"/>
                  <a:gd name="connsiteY50" fmla="*/ 178789 h 581022"/>
                  <a:gd name="connsiteX51" fmla="*/ 199022 w 369594"/>
                  <a:gd name="connsiteY51" fmla="*/ 204863 h 581022"/>
                  <a:gd name="connsiteX52" fmla="*/ 195925 w 369594"/>
                  <a:gd name="connsiteY52" fmla="*/ 234506 h 581022"/>
                  <a:gd name="connsiteX53" fmla="*/ 206455 w 369594"/>
                  <a:gd name="connsiteY53" fmla="*/ 262409 h 581022"/>
                  <a:gd name="connsiteX54" fmla="*/ 285209 w 369594"/>
                  <a:gd name="connsiteY54" fmla="*/ 287481 h 581022"/>
                  <a:gd name="connsiteX55" fmla="*/ 292435 w 369594"/>
                  <a:gd name="connsiteY55" fmla="*/ 287481 h 581022"/>
                  <a:gd name="connsiteX56" fmla="*/ 317477 w 369594"/>
                  <a:gd name="connsiteY56" fmla="*/ 292878 h 581022"/>
                  <a:gd name="connsiteX57" fmla="*/ 335116 w 369594"/>
                  <a:gd name="connsiteY57" fmla="*/ 311431 h 581022"/>
                  <a:gd name="connsiteX58" fmla="*/ 304440 w 369594"/>
                  <a:gd name="connsiteY58" fmla="*/ 548046 h 58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69594" h="581022">
                    <a:moveTo>
                      <a:pt x="293084" y="253885"/>
                    </a:moveTo>
                    <a:lnTo>
                      <a:pt x="285061" y="253885"/>
                    </a:lnTo>
                    <a:cubicBezTo>
                      <a:pt x="268839" y="253885"/>
                      <a:pt x="241467" y="253885"/>
                      <a:pt x="234152" y="243856"/>
                    </a:cubicBezTo>
                    <a:cubicBezTo>
                      <a:pt x="231438" y="239786"/>
                      <a:pt x="229727" y="235155"/>
                      <a:pt x="229137" y="230318"/>
                    </a:cubicBezTo>
                    <a:cubicBezTo>
                      <a:pt x="228547" y="225480"/>
                      <a:pt x="229078" y="220555"/>
                      <a:pt x="230730" y="215983"/>
                    </a:cubicBezTo>
                    <a:cubicBezTo>
                      <a:pt x="233385" y="210054"/>
                      <a:pt x="237013" y="204597"/>
                      <a:pt x="241467" y="199849"/>
                    </a:cubicBezTo>
                    <a:cubicBezTo>
                      <a:pt x="248192" y="192416"/>
                      <a:pt x="253619" y="183921"/>
                      <a:pt x="257512" y="174689"/>
                    </a:cubicBezTo>
                    <a:cubicBezTo>
                      <a:pt x="263765" y="156372"/>
                      <a:pt x="268101" y="137465"/>
                      <a:pt x="270431" y="118234"/>
                    </a:cubicBezTo>
                    <a:cubicBezTo>
                      <a:pt x="272408" y="102837"/>
                      <a:pt x="271169" y="87204"/>
                      <a:pt x="266774" y="72309"/>
                    </a:cubicBezTo>
                    <a:cubicBezTo>
                      <a:pt x="262409" y="57413"/>
                      <a:pt x="254976" y="43609"/>
                      <a:pt x="244977" y="31723"/>
                    </a:cubicBezTo>
                    <a:cubicBezTo>
                      <a:pt x="236600" y="22284"/>
                      <a:pt x="226424" y="14645"/>
                      <a:pt x="215038" y="9217"/>
                    </a:cubicBezTo>
                    <a:cubicBezTo>
                      <a:pt x="203653" y="3790"/>
                      <a:pt x="191294" y="693"/>
                      <a:pt x="178699" y="103"/>
                    </a:cubicBezTo>
                    <a:cubicBezTo>
                      <a:pt x="166105" y="-487"/>
                      <a:pt x="153510" y="1460"/>
                      <a:pt x="141682" y="5825"/>
                    </a:cubicBezTo>
                    <a:cubicBezTo>
                      <a:pt x="129854" y="10191"/>
                      <a:pt x="119000" y="16886"/>
                      <a:pt x="109797" y="25499"/>
                    </a:cubicBezTo>
                    <a:cubicBezTo>
                      <a:pt x="88826" y="48919"/>
                      <a:pt x="78030" y="79712"/>
                      <a:pt x="79741" y="111125"/>
                    </a:cubicBezTo>
                    <a:cubicBezTo>
                      <a:pt x="79653" y="132067"/>
                      <a:pt x="83458" y="152832"/>
                      <a:pt x="90950" y="172388"/>
                    </a:cubicBezTo>
                    <a:cubicBezTo>
                      <a:pt x="97940" y="187431"/>
                      <a:pt x="107644" y="201028"/>
                      <a:pt x="119619" y="212502"/>
                    </a:cubicBezTo>
                    <a:lnTo>
                      <a:pt x="126934" y="220407"/>
                    </a:lnTo>
                    <a:cubicBezTo>
                      <a:pt x="127937" y="229197"/>
                      <a:pt x="127495" y="238105"/>
                      <a:pt x="125637" y="246776"/>
                    </a:cubicBezTo>
                    <a:cubicBezTo>
                      <a:pt x="119413" y="255183"/>
                      <a:pt x="97675" y="256097"/>
                      <a:pt x="90478" y="256805"/>
                    </a:cubicBezTo>
                    <a:lnTo>
                      <a:pt x="82750" y="256805"/>
                    </a:lnTo>
                    <a:cubicBezTo>
                      <a:pt x="63695" y="256805"/>
                      <a:pt x="31928" y="256805"/>
                      <a:pt x="10308" y="290283"/>
                    </a:cubicBezTo>
                    <a:cubicBezTo>
                      <a:pt x="-21046" y="338508"/>
                      <a:pt x="26944" y="518167"/>
                      <a:pt x="50393" y="560966"/>
                    </a:cubicBezTo>
                    <a:cubicBezTo>
                      <a:pt x="53608" y="566983"/>
                      <a:pt x="61218" y="581023"/>
                      <a:pt x="75140" y="581023"/>
                    </a:cubicBezTo>
                    <a:lnTo>
                      <a:pt x="252409" y="581023"/>
                    </a:lnTo>
                    <a:cubicBezTo>
                      <a:pt x="283881" y="581023"/>
                      <a:pt x="305620" y="581023"/>
                      <a:pt x="311843" y="580521"/>
                    </a:cubicBezTo>
                    <a:cubicBezTo>
                      <a:pt x="316091" y="580138"/>
                      <a:pt x="320161" y="578663"/>
                      <a:pt x="323671" y="576244"/>
                    </a:cubicBezTo>
                    <a:cubicBezTo>
                      <a:pt x="327181" y="573826"/>
                      <a:pt x="330013" y="570522"/>
                      <a:pt x="331871" y="566688"/>
                    </a:cubicBezTo>
                    <a:cubicBezTo>
                      <a:pt x="355232" y="527989"/>
                      <a:pt x="379772" y="328893"/>
                      <a:pt x="365231" y="297598"/>
                    </a:cubicBezTo>
                    <a:cubicBezTo>
                      <a:pt x="358860" y="284000"/>
                      <a:pt x="348595" y="272585"/>
                      <a:pt x="335765" y="264828"/>
                    </a:cubicBezTo>
                    <a:cubicBezTo>
                      <a:pt x="322934" y="257041"/>
                      <a:pt x="308068" y="253236"/>
                      <a:pt x="293084" y="253885"/>
                    </a:cubicBezTo>
                    <a:close/>
                    <a:moveTo>
                      <a:pt x="304499" y="548046"/>
                    </a:moveTo>
                    <a:cubicBezTo>
                      <a:pt x="279841" y="548548"/>
                      <a:pt x="193565" y="548046"/>
                      <a:pt x="134751" y="548046"/>
                    </a:cubicBezTo>
                    <a:lnTo>
                      <a:pt x="81127" y="548046"/>
                    </a:lnTo>
                    <a:cubicBezTo>
                      <a:pt x="59979" y="516781"/>
                      <a:pt x="18301" y="339128"/>
                      <a:pt x="38447" y="308128"/>
                    </a:cubicBezTo>
                    <a:cubicBezTo>
                      <a:pt x="50363" y="289781"/>
                      <a:pt x="65613" y="289781"/>
                      <a:pt x="83251" y="289693"/>
                    </a:cubicBezTo>
                    <a:lnTo>
                      <a:pt x="92159" y="289693"/>
                    </a:lnTo>
                    <a:cubicBezTo>
                      <a:pt x="105992" y="289103"/>
                      <a:pt x="138467" y="287776"/>
                      <a:pt x="153776" y="265123"/>
                    </a:cubicBezTo>
                    <a:cubicBezTo>
                      <a:pt x="162683" y="251879"/>
                      <a:pt x="163804" y="211676"/>
                      <a:pt x="155073" y="201854"/>
                    </a:cubicBezTo>
                    <a:cubicBezTo>
                      <a:pt x="151563" y="197754"/>
                      <a:pt x="147847" y="193743"/>
                      <a:pt x="144248" y="189938"/>
                    </a:cubicBezTo>
                    <a:cubicBezTo>
                      <a:pt x="135134" y="181325"/>
                      <a:pt x="127642" y="171120"/>
                      <a:pt x="122097" y="159852"/>
                    </a:cubicBezTo>
                    <a:cubicBezTo>
                      <a:pt x="116168" y="144072"/>
                      <a:pt x="113160" y="127318"/>
                      <a:pt x="113278" y="110417"/>
                    </a:cubicBezTo>
                    <a:cubicBezTo>
                      <a:pt x="111626" y="88001"/>
                      <a:pt x="118823" y="65820"/>
                      <a:pt x="133306" y="48653"/>
                    </a:cubicBezTo>
                    <a:cubicBezTo>
                      <a:pt x="138821" y="43403"/>
                      <a:pt x="145340" y="39303"/>
                      <a:pt x="152448" y="36648"/>
                    </a:cubicBezTo>
                    <a:cubicBezTo>
                      <a:pt x="159586" y="33994"/>
                      <a:pt x="167167" y="32814"/>
                      <a:pt x="174777" y="33197"/>
                    </a:cubicBezTo>
                    <a:cubicBezTo>
                      <a:pt x="183301" y="32961"/>
                      <a:pt x="191766" y="34613"/>
                      <a:pt x="199553" y="38094"/>
                    </a:cubicBezTo>
                    <a:cubicBezTo>
                      <a:pt x="207340" y="41574"/>
                      <a:pt x="214242" y="46736"/>
                      <a:pt x="219758" y="53255"/>
                    </a:cubicBezTo>
                    <a:cubicBezTo>
                      <a:pt x="226542" y="61484"/>
                      <a:pt x="231615" y="71040"/>
                      <a:pt x="234594" y="81276"/>
                    </a:cubicBezTo>
                    <a:cubicBezTo>
                      <a:pt x="237603" y="91540"/>
                      <a:pt x="238458" y="102277"/>
                      <a:pt x="237190" y="112895"/>
                    </a:cubicBezTo>
                    <a:cubicBezTo>
                      <a:pt x="235213" y="129944"/>
                      <a:pt x="231438" y="146756"/>
                      <a:pt x="225981" y="163038"/>
                    </a:cubicBezTo>
                    <a:cubicBezTo>
                      <a:pt x="223297" y="168819"/>
                      <a:pt x="219699" y="174128"/>
                      <a:pt x="215363" y="178789"/>
                    </a:cubicBezTo>
                    <a:cubicBezTo>
                      <a:pt x="208402" y="186428"/>
                      <a:pt x="202886" y="195247"/>
                      <a:pt x="199022" y="204863"/>
                    </a:cubicBezTo>
                    <a:cubicBezTo>
                      <a:pt x="195689" y="214361"/>
                      <a:pt x="194627" y="224537"/>
                      <a:pt x="195925" y="234506"/>
                    </a:cubicBezTo>
                    <a:cubicBezTo>
                      <a:pt x="197223" y="244505"/>
                      <a:pt x="200821" y="254062"/>
                      <a:pt x="206455" y="262409"/>
                    </a:cubicBezTo>
                    <a:cubicBezTo>
                      <a:pt x="223799" y="288189"/>
                      <a:pt x="260757" y="287687"/>
                      <a:pt x="285209" y="287481"/>
                    </a:cubicBezTo>
                    <a:lnTo>
                      <a:pt x="292435" y="287481"/>
                    </a:lnTo>
                    <a:cubicBezTo>
                      <a:pt x="301137" y="286714"/>
                      <a:pt x="309867" y="288601"/>
                      <a:pt x="317477" y="292878"/>
                    </a:cubicBezTo>
                    <a:cubicBezTo>
                      <a:pt x="325087" y="297155"/>
                      <a:pt x="331252" y="303615"/>
                      <a:pt x="335116" y="311431"/>
                    </a:cubicBezTo>
                    <a:cubicBezTo>
                      <a:pt x="345144" y="337299"/>
                      <a:pt x="320987" y="516751"/>
                      <a:pt x="304440" y="5480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4" name="Полилиния: фигура 1193">
                <a:extLst>
                  <a:ext uri="{FF2B5EF4-FFF2-40B4-BE49-F238E27FC236}">
                    <a16:creationId xmlns:a16="http://schemas.microsoft.com/office/drawing/2014/main" id="{E9B57928-5C2E-460A-953B-9C479702485B}"/>
                  </a:ext>
                </a:extLst>
              </p:cNvPr>
              <p:cNvSpPr/>
              <p:nvPr/>
            </p:nvSpPr>
            <p:spPr>
              <a:xfrm>
                <a:off x="10491629" y="2418533"/>
                <a:ext cx="389206" cy="1132074"/>
              </a:xfrm>
              <a:custGeom>
                <a:avLst/>
                <a:gdLst>
                  <a:gd name="connsiteX0" fmla="*/ 389148 w 389206"/>
                  <a:gd name="connsiteY0" fmla="*/ 396833 h 1132074"/>
                  <a:gd name="connsiteX1" fmla="*/ 387850 w 389206"/>
                  <a:gd name="connsiteY1" fmla="*/ 389695 h 1132074"/>
                  <a:gd name="connsiteX2" fmla="*/ 383662 w 389206"/>
                  <a:gd name="connsiteY2" fmla="*/ 383796 h 1132074"/>
                  <a:gd name="connsiteX3" fmla="*/ 377350 w 389206"/>
                  <a:gd name="connsiteY3" fmla="*/ 380227 h 1132074"/>
                  <a:gd name="connsiteX4" fmla="*/ 370123 w 389206"/>
                  <a:gd name="connsiteY4" fmla="*/ 379696 h 1132074"/>
                  <a:gd name="connsiteX5" fmla="*/ 328446 w 389206"/>
                  <a:gd name="connsiteY5" fmla="*/ 371378 h 1132074"/>
                  <a:gd name="connsiteX6" fmla="*/ 290956 w 389206"/>
                  <a:gd name="connsiteY6" fmla="*/ 323742 h 1132074"/>
                  <a:gd name="connsiteX7" fmla="*/ 290160 w 389206"/>
                  <a:gd name="connsiteY7" fmla="*/ 299969 h 1132074"/>
                  <a:gd name="connsiteX8" fmla="*/ 283730 w 389206"/>
                  <a:gd name="connsiteY8" fmla="*/ 260769 h 1132074"/>
                  <a:gd name="connsiteX9" fmla="*/ 273436 w 389206"/>
                  <a:gd name="connsiteY9" fmla="*/ 253867 h 1132074"/>
                  <a:gd name="connsiteX10" fmla="*/ 261077 w 389206"/>
                  <a:gd name="connsiteY10" fmla="*/ 252834 h 1132074"/>
                  <a:gd name="connsiteX11" fmla="*/ 238041 w 389206"/>
                  <a:gd name="connsiteY11" fmla="*/ 246021 h 1132074"/>
                  <a:gd name="connsiteX12" fmla="*/ 236242 w 389206"/>
                  <a:gd name="connsiteY12" fmla="*/ 229680 h 1132074"/>
                  <a:gd name="connsiteX13" fmla="*/ 287446 w 389206"/>
                  <a:gd name="connsiteY13" fmla="*/ 98748 h 1132074"/>
                  <a:gd name="connsiteX14" fmla="*/ 272993 w 389206"/>
                  <a:gd name="connsiteY14" fmla="*/ 52941 h 1132074"/>
                  <a:gd name="connsiteX15" fmla="*/ 241757 w 389206"/>
                  <a:gd name="connsiteY15" fmla="*/ 16455 h 1132074"/>
                  <a:gd name="connsiteX16" fmla="*/ 141560 w 389206"/>
                  <a:gd name="connsiteY16" fmla="*/ 6426 h 1132074"/>
                  <a:gd name="connsiteX17" fmla="*/ 131738 w 389206"/>
                  <a:gd name="connsiteY17" fmla="*/ 14125 h 1132074"/>
                  <a:gd name="connsiteX18" fmla="*/ 130027 w 389206"/>
                  <a:gd name="connsiteY18" fmla="*/ 26484 h 1132074"/>
                  <a:gd name="connsiteX19" fmla="*/ 131945 w 389206"/>
                  <a:gd name="connsiteY19" fmla="*/ 106683 h 1132074"/>
                  <a:gd name="connsiteX20" fmla="*/ 98467 w 389206"/>
                  <a:gd name="connsiteY20" fmla="*/ 159215 h 1132074"/>
                  <a:gd name="connsiteX21" fmla="*/ 94101 w 389206"/>
                  <a:gd name="connsiteY21" fmla="*/ 167179 h 1132074"/>
                  <a:gd name="connsiteX22" fmla="*/ 94573 w 389206"/>
                  <a:gd name="connsiteY22" fmla="*/ 176263 h 1132074"/>
                  <a:gd name="connsiteX23" fmla="*/ 129349 w 389206"/>
                  <a:gd name="connsiteY23" fmla="*/ 230506 h 1132074"/>
                  <a:gd name="connsiteX24" fmla="*/ 128051 w 389206"/>
                  <a:gd name="connsiteY24" fmla="*/ 244841 h 1132074"/>
                  <a:gd name="connsiteX25" fmla="*/ 82156 w 389206"/>
                  <a:gd name="connsiteY25" fmla="*/ 260267 h 1132074"/>
                  <a:gd name="connsiteX26" fmla="*/ 6706 w 389206"/>
                  <a:gd name="connsiteY26" fmla="*/ 295574 h 1132074"/>
                  <a:gd name="connsiteX27" fmla="*/ 187 w 389206"/>
                  <a:gd name="connsiteY27" fmla="*/ 342590 h 1132074"/>
                  <a:gd name="connsiteX28" fmla="*/ 187 w 389206"/>
                  <a:gd name="connsiteY28" fmla="*/ 354034 h 1132074"/>
                  <a:gd name="connsiteX29" fmla="*/ 2488 w 389206"/>
                  <a:gd name="connsiteY29" fmla="*/ 395624 h 1132074"/>
                  <a:gd name="connsiteX30" fmla="*/ 6676 w 389206"/>
                  <a:gd name="connsiteY30" fmla="*/ 405741 h 1132074"/>
                  <a:gd name="connsiteX31" fmla="*/ 16233 w 389206"/>
                  <a:gd name="connsiteY31" fmla="*/ 411079 h 1132074"/>
                  <a:gd name="connsiteX32" fmla="*/ 55728 w 389206"/>
                  <a:gd name="connsiteY32" fmla="*/ 414088 h 1132074"/>
                  <a:gd name="connsiteX33" fmla="*/ 153123 w 389206"/>
                  <a:gd name="connsiteY33" fmla="*/ 432434 h 1132074"/>
                  <a:gd name="connsiteX34" fmla="*/ 234383 w 389206"/>
                  <a:gd name="connsiteY34" fmla="*/ 731286 h 1132074"/>
                  <a:gd name="connsiteX35" fmla="*/ 235150 w 389206"/>
                  <a:gd name="connsiteY35" fmla="*/ 738129 h 1132074"/>
                  <a:gd name="connsiteX36" fmla="*/ 238631 w 389206"/>
                  <a:gd name="connsiteY36" fmla="*/ 744057 h 1132074"/>
                  <a:gd name="connsiteX37" fmla="*/ 244206 w 389206"/>
                  <a:gd name="connsiteY37" fmla="*/ 748098 h 1132074"/>
                  <a:gd name="connsiteX38" fmla="*/ 250931 w 389206"/>
                  <a:gd name="connsiteY38" fmla="*/ 749514 h 1132074"/>
                  <a:gd name="connsiteX39" fmla="*/ 251727 w 389206"/>
                  <a:gd name="connsiteY39" fmla="*/ 749514 h 1132074"/>
                  <a:gd name="connsiteX40" fmla="*/ 328386 w 389206"/>
                  <a:gd name="connsiteY40" fmla="*/ 734766 h 1132074"/>
                  <a:gd name="connsiteX41" fmla="*/ 271342 w 389206"/>
                  <a:gd name="connsiteY41" fmla="*/ 911475 h 1132074"/>
                  <a:gd name="connsiteX42" fmla="*/ 145808 w 389206"/>
                  <a:gd name="connsiteY42" fmla="*/ 1048277 h 1132074"/>
                  <a:gd name="connsiteX43" fmla="*/ 112330 w 389206"/>
                  <a:gd name="connsiteY43" fmla="*/ 990819 h 1132074"/>
                  <a:gd name="connsiteX44" fmla="*/ 82982 w 389206"/>
                  <a:gd name="connsiteY44" fmla="*/ 1101989 h 1132074"/>
                  <a:gd name="connsiteX45" fmla="*/ 193915 w 389206"/>
                  <a:gd name="connsiteY45" fmla="*/ 1132075 h 1132074"/>
                  <a:gd name="connsiteX46" fmla="*/ 162060 w 389206"/>
                  <a:gd name="connsiteY46" fmla="*/ 1077242 h 1132074"/>
                  <a:gd name="connsiteX47" fmla="*/ 361658 w 389206"/>
                  <a:gd name="connsiteY47" fmla="*/ 678518 h 1132074"/>
                  <a:gd name="connsiteX48" fmla="*/ 366967 w 389206"/>
                  <a:gd name="connsiteY48" fmla="*/ 647754 h 1132074"/>
                  <a:gd name="connsiteX49" fmla="*/ 389207 w 389206"/>
                  <a:gd name="connsiteY49" fmla="*/ 396803 h 1132074"/>
                  <a:gd name="connsiteX50" fmla="*/ 334433 w 389206"/>
                  <a:gd name="connsiteY50" fmla="*/ 642975 h 1132074"/>
                  <a:gd name="connsiteX51" fmla="*/ 330628 w 389206"/>
                  <a:gd name="connsiteY51" fmla="*/ 667634 h 1132074"/>
                  <a:gd name="connsiteX52" fmla="*/ 328711 w 389206"/>
                  <a:gd name="connsiteY52" fmla="*/ 676541 h 1132074"/>
                  <a:gd name="connsiteX53" fmla="*/ 328711 w 389206"/>
                  <a:gd name="connsiteY53" fmla="*/ 677043 h 1132074"/>
                  <a:gd name="connsiteX54" fmla="*/ 268599 w 389206"/>
                  <a:gd name="connsiteY54" fmla="*/ 715240 h 1132074"/>
                  <a:gd name="connsiteX55" fmla="*/ 167104 w 389206"/>
                  <a:gd name="connsiteY55" fmla="*/ 402437 h 1132074"/>
                  <a:gd name="connsiteX56" fmla="*/ 56258 w 389206"/>
                  <a:gd name="connsiteY56" fmla="*/ 379991 h 1132074"/>
                  <a:gd name="connsiteX57" fmla="*/ 34314 w 389206"/>
                  <a:gd name="connsiteY57" fmla="*/ 378988 h 1132074"/>
                  <a:gd name="connsiteX58" fmla="*/ 32809 w 389206"/>
                  <a:gd name="connsiteY58" fmla="*/ 352029 h 1132074"/>
                  <a:gd name="connsiteX59" fmla="*/ 32809 w 389206"/>
                  <a:gd name="connsiteY59" fmla="*/ 340997 h 1132074"/>
                  <a:gd name="connsiteX60" fmla="*/ 35021 w 389206"/>
                  <a:gd name="connsiteY60" fmla="*/ 310912 h 1132074"/>
                  <a:gd name="connsiteX61" fmla="*/ 85135 w 389206"/>
                  <a:gd name="connsiteY61" fmla="*/ 292270 h 1132074"/>
                  <a:gd name="connsiteX62" fmla="*/ 156780 w 389206"/>
                  <a:gd name="connsiteY62" fmla="*/ 259589 h 1132074"/>
                  <a:gd name="connsiteX63" fmla="*/ 152179 w 389206"/>
                  <a:gd name="connsiteY63" fmla="*/ 205553 h 1132074"/>
                  <a:gd name="connsiteX64" fmla="*/ 128936 w 389206"/>
                  <a:gd name="connsiteY64" fmla="*/ 173461 h 1132074"/>
                  <a:gd name="connsiteX65" fmla="*/ 162414 w 389206"/>
                  <a:gd name="connsiteY65" fmla="*/ 117331 h 1132074"/>
                  <a:gd name="connsiteX66" fmla="*/ 164921 w 389206"/>
                  <a:gd name="connsiteY66" fmla="*/ 34418 h 1132074"/>
                  <a:gd name="connsiteX67" fmla="*/ 221051 w 389206"/>
                  <a:gd name="connsiteY67" fmla="*/ 42234 h 1132074"/>
                  <a:gd name="connsiteX68" fmla="*/ 243468 w 389206"/>
                  <a:gd name="connsiteY68" fmla="*/ 68279 h 1132074"/>
                  <a:gd name="connsiteX69" fmla="*/ 254116 w 389206"/>
                  <a:gd name="connsiteY69" fmla="*/ 100961 h 1132074"/>
                  <a:gd name="connsiteX70" fmla="*/ 212439 w 389206"/>
                  <a:gd name="connsiteY70" fmla="*/ 205641 h 1132074"/>
                  <a:gd name="connsiteX71" fmla="*/ 205330 w 389206"/>
                  <a:gd name="connsiteY71" fmla="*/ 252067 h 1132074"/>
                  <a:gd name="connsiteX72" fmla="*/ 256948 w 389206"/>
                  <a:gd name="connsiteY72" fmla="*/ 285663 h 1132074"/>
                  <a:gd name="connsiteX73" fmla="*/ 256948 w 389206"/>
                  <a:gd name="connsiteY73" fmla="*/ 298494 h 1132074"/>
                  <a:gd name="connsiteX74" fmla="*/ 258659 w 389206"/>
                  <a:gd name="connsiteY74" fmla="*/ 330969 h 1132074"/>
                  <a:gd name="connsiteX75" fmla="*/ 314789 w 389206"/>
                  <a:gd name="connsiteY75" fmla="*/ 401139 h 1132074"/>
                  <a:gd name="connsiteX76" fmla="*/ 354874 w 389206"/>
                  <a:gd name="connsiteY76" fmla="*/ 412761 h 1132074"/>
                  <a:gd name="connsiteX77" fmla="*/ 334522 w 389206"/>
                  <a:gd name="connsiteY77" fmla="*/ 642946 h 113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9206" h="1132074">
                    <a:moveTo>
                      <a:pt x="389148" y="396833"/>
                    </a:moveTo>
                    <a:cubicBezTo>
                      <a:pt x="389236" y="394385"/>
                      <a:pt x="388794" y="391966"/>
                      <a:pt x="387850" y="389695"/>
                    </a:cubicBezTo>
                    <a:cubicBezTo>
                      <a:pt x="386906" y="387453"/>
                      <a:pt x="385461" y="385418"/>
                      <a:pt x="383662" y="383796"/>
                    </a:cubicBezTo>
                    <a:cubicBezTo>
                      <a:pt x="381833" y="382144"/>
                      <a:pt x="379680" y="380935"/>
                      <a:pt x="377350" y="380227"/>
                    </a:cubicBezTo>
                    <a:cubicBezTo>
                      <a:pt x="375019" y="379519"/>
                      <a:pt x="372542" y="379342"/>
                      <a:pt x="370123" y="379696"/>
                    </a:cubicBezTo>
                    <a:cubicBezTo>
                      <a:pt x="355700" y="381230"/>
                      <a:pt x="341158" y="378309"/>
                      <a:pt x="328446" y="371378"/>
                    </a:cubicBezTo>
                    <a:cubicBezTo>
                      <a:pt x="302991" y="359845"/>
                      <a:pt x="297268" y="350436"/>
                      <a:pt x="290956" y="323742"/>
                    </a:cubicBezTo>
                    <a:cubicBezTo>
                      <a:pt x="289777" y="315867"/>
                      <a:pt x="289511" y="307903"/>
                      <a:pt x="290160" y="299969"/>
                    </a:cubicBezTo>
                    <a:cubicBezTo>
                      <a:pt x="290661" y="285132"/>
                      <a:pt x="291163" y="271092"/>
                      <a:pt x="283730" y="260769"/>
                    </a:cubicBezTo>
                    <a:cubicBezTo>
                      <a:pt x="280928" y="257642"/>
                      <a:pt x="277388" y="255253"/>
                      <a:pt x="273436" y="253867"/>
                    </a:cubicBezTo>
                    <a:cubicBezTo>
                      <a:pt x="269483" y="252480"/>
                      <a:pt x="265236" y="252126"/>
                      <a:pt x="261077" y="252834"/>
                    </a:cubicBezTo>
                    <a:cubicBezTo>
                      <a:pt x="242642" y="252834"/>
                      <a:pt x="238926" y="250534"/>
                      <a:pt x="238041" y="246021"/>
                    </a:cubicBezTo>
                    <a:cubicBezTo>
                      <a:pt x="236979" y="240623"/>
                      <a:pt x="236389" y="235166"/>
                      <a:pt x="236242" y="229680"/>
                    </a:cubicBezTo>
                    <a:cubicBezTo>
                      <a:pt x="276327" y="198297"/>
                      <a:pt x="290750" y="141960"/>
                      <a:pt x="287446" y="98748"/>
                    </a:cubicBezTo>
                    <a:cubicBezTo>
                      <a:pt x="285765" y="82644"/>
                      <a:pt x="280839" y="67070"/>
                      <a:pt x="272993" y="52941"/>
                    </a:cubicBezTo>
                    <a:cubicBezTo>
                      <a:pt x="265148" y="38783"/>
                      <a:pt x="254529" y="26395"/>
                      <a:pt x="241757" y="16455"/>
                    </a:cubicBezTo>
                    <a:cubicBezTo>
                      <a:pt x="205891" y="-11507"/>
                      <a:pt x="147754" y="4126"/>
                      <a:pt x="141560" y="6426"/>
                    </a:cubicBezTo>
                    <a:cubicBezTo>
                      <a:pt x="137431" y="7636"/>
                      <a:pt x="133891" y="10379"/>
                      <a:pt x="131738" y="14125"/>
                    </a:cubicBezTo>
                    <a:cubicBezTo>
                      <a:pt x="129585" y="17871"/>
                      <a:pt x="128966" y="22295"/>
                      <a:pt x="130027" y="26484"/>
                    </a:cubicBezTo>
                    <a:cubicBezTo>
                      <a:pt x="135248" y="47426"/>
                      <a:pt x="138935" y="87953"/>
                      <a:pt x="131945" y="106683"/>
                    </a:cubicBezTo>
                    <a:cubicBezTo>
                      <a:pt x="124630" y="126356"/>
                      <a:pt x="113215" y="144260"/>
                      <a:pt x="98467" y="159215"/>
                    </a:cubicBezTo>
                    <a:cubicBezTo>
                      <a:pt x="96314" y="161427"/>
                      <a:pt x="94780" y="164170"/>
                      <a:pt x="94101" y="167179"/>
                    </a:cubicBezTo>
                    <a:cubicBezTo>
                      <a:pt x="93423" y="170187"/>
                      <a:pt x="93571" y="173343"/>
                      <a:pt x="94573" y="176263"/>
                    </a:cubicBezTo>
                    <a:cubicBezTo>
                      <a:pt x="101063" y="197146"/>
                      <a:pt x="113067" y="215876"/>
                      <a:pt x="129349" y="230506"/>
                    </a:cubicBezTo>
                    <a:cubicBezTo>
                      <a:pt x="129555" y="235314"/>
                      <a:pt x="129113" y="240151"/>
                      <a:pt x="128051" y="244841"/>
                    </a:cubicBezTo>
                    <a:cubicBezTo>
                      <a:pt x="121326" y="255459"/>
                      <a:pt x="106106" y="257878"/>
                      <a:pt x="82156" y="260267"/>
                    </a:cubicBezTo>
                    <a:cubicBezTo>
                      <a:pt x="55905" y="262981"/>
                      <a:pt x="23223" y="266373"/>
                      <a:pt x="6706" y="295574"/>
                    </a:cubicBezTo>
                    <a:cubicBezTo>
                      <a:pt x="-609" y="308493"/>
                      <a:pt x="-226" y="327341"/>
                      <a:pt x="187" y="342590"/>
                    </a:cubicBezTo>
                    <a:lnTo>
                      <a:pt x="187" y="354034"/>
                    </a:lnTo>
                    <a:lnTo>
                      <a:pt x="2488" y="395624"/>
                    </a:lnTo>
                    <a:cubicBezTo>
                      <a:pt x="2694" y="399369"/>
                      <a:pt x="4169" y="402938"/>
                      <a:pt x="6676" y="405741"/>
                    </a:cubicBezTo>
                    <a:cubicBezTo>
                      <a:pt x="9183" y="408543"/>
                      <a:pt x="12546" y="410430"/>
                      <a:pt x="16233" y="411079"/>
                    </a:cubicBezTo>
                    <a:cubicBezTo>
                      <a:pt x="29299" y="412967"/>
                      <a:pt x="42513" y="413970"/>
                      <a:pt x="55728" y="414088"/>
                    </a:cubicBezTo>
                    <a:cubicBezTo>
                      <a:pt x="89146" y="412908"/>
                      <a:pt x="122417" y="419191"/>
                      <a:pt x="153123" y="432434"/>
                    </a:cubicBezTo>
                    <a:cubicBezTo>
                      <a:pt x="240312" y="474436"/>
                      <a:pt x="245415" y="618199"/>
                      <a:pt x="234383" y="731286"/>
                    </a:cubicBezTo>
                    <a:cubicBezTo>
                      <a:pt x="234148" y="733586"/>
                      <a:pt x="234413" y="735917"/>
                      <a:pt x="235150" y="738129"/>
                    </a:cubicBezTo>
                    <a:cubicBezTo>
                      <a:pt x="235888" y="740341"/>
                      <a:pt x="237068" y="742347"/>
                      <a:pt x="238631" y="744057"/>
                    </a:cubicBezTo>
                    <a:cubicBezTo>
                      <a:pt x="240194" y="745768"/>
                      <a:pt x="242082" y="747154"/>
                      <a:pt x="244206" y="748098"/>
                    </a:cubicBezTo>
                    <a:cubicBezTo>
                      <a:pt x="246329" y="749042"/>
                      <a:pt x="248600" y="749514"/>
                      <a:pt x="250931" y="749514"/>
                    </a:cubicBezTo>
                    <a:lnTo>
                      <a:pt x="251727" y="749514"/>
                    </a:lnTo>
                    <a:cubicBezTo>
                      <a:pt x="287712" y="747803"/>
                      <a:pt x="311839" y="744205"/>
                      <a:pt x="328386" y="734766"/>
                    </a:cubicBezTo>
                    <a:cubicBezTo>
                      <a:pt x="322310" y="797091"/>
                      <a:pt x="302843" y="857380"/>
                      <a:pt x="271342" y="911475"/>
                    </a:cubicBezTo>
                    <a:cubicBezTo>
                      <a:pt x="239840" y="965571"/>
                      <a:pt x="197012" y="1012233"/>
                      <a:pt x="145808" y="1048277"/>
                    </a:cubicBezTo>
                    <a:lnTo>
                      <a:pt x="112330" y="990819"/>
                    </a:lnTo>
                    <a:lnTo>
                      <a:pt x="82982" y="1101989"/>
                    </a:lnTo>
                    <a:lnTo>
                      <a:pt x="193915" y="1132075"/>
                    </a:lnTo>
                    <a:lnTo>
                      <a:pt x="162060" y="1077242"/>
                    </a:lnTo>
                    <a:cubicBezTo>
                      <a:pt x="291723" y="987811"/>
                      <a:pt x="370801" y="831099"/>
                      <a:pt x="361658" y="678518"/>
                    </a:cubicBezTo>
                    <a:cubicBezTo>
                      <a:pt x="363663" y="669492"/>
                      <a:pt x="365374" y="659257"/>
                      <a:pt x="366967" y="647754"/>
                    </a:cubicBezTo>
                    <a:cubicBezTo>
                      <a:pt x="378205" y="568941"/>
                      <a:pt x="385520" y="484347"/>
                      <a:pt x="389207" y="396803"/>
                    </a:cubicBezTo>
                    <a:close/>
                    <a:moveTo>
                      <a:pt x="334433" y="642975"/>
                    </a:moveTo>
                    <a:cubicBezTo>
                      <a:pt x="333135" y="652502"/>
                      <a:pt x="331926" y="660525"/>
                      <a:pt x="330628" y="667634"/>
                    </a:cubicBezTo>
                    <a:cubicBezTo>
                      <a:pt x="329153" y="670377"/>
                      <a:pt x="328505" y="673474"/>
                      <a:pt x="328711" y="676541"/>
                    </a:cubicBezTo>
                    <a:lnTo>
                      <a:pt x="328711" y="677043"/>
                    </a:lnTo>
                    <a:cubicBezTo>
                      <a:pt x="321809" y="707129"/>
                      <a:pt x="310276" y="712644"/>
                      <a:pt x="268599" y="715240"/>
                    </a:cubicBezTo>
                    <a:cubicBezTo>
                      <a:pt x="281931" y="546613"/>
                      <a:pt x="247863" y="441430"/>
                      <a:pt x="167104" y="402437"/>
                    </a:cubicBezTo>
                    <a:cubicBezTo>
                      <a:pt x="132269" y="386804"/>
                      <a:pt x="94426" y="379135"/>
                      <a:pt x="56258" y="379991"/>
                    </a:cubicBezTo>
                    <a:cubicBezTo>
                      <a:pt x="48649" y="379991"/>
                      <a:pt x="41216" y="379991"/>
                      <a:pt x="34314" y="378988"/>
                    </a:cubicBezTo>
                    <a:lnTo>
                      <a:pt x="32809" y="352029"/>
                    </a:lnTo>
                    <a:lnTo>
                      <a:pt x="32809" y="340997"/>
                    </a:lnTo>
                    <a:cubicBezTo>
                      <a:pt x="31865" y="330910"/>
                      <a:pt x="32603" y="320763"/>
                      <a:pt x="35021" y="310912"/>
                    </a:cubicBezTo>
                    <a:cubicBezTo>
                      <a:pt x="42543" y="297579"/>
                      <a:pt x="58972" y="294984"/>
                      <a:pt x="85135" y="292270"/>
                    </a:cubicBezTo>
                    <a:cubicBezTo>
                      <a:pt x="111298" y="289557"/>
                      <a:pt x="141354" y="286460"/>
                      <a:pt x="156780" y="259589"/>
                    </a:cubicBezTo>
                    <a:cubicBezTo>
                      <a:pt x="160673" y="252864"/>
                      <a:pt x="168814" y="218177"/>
                      <a:pt x="152179" y="205553"/>
                    </a:cubicBezTo>
                    <a:cubicBezTo>
                      <a:pt x="141855" y="196969"/>
                      <a:pt x="133862" y="185938"/>
                      <a:pt x="128936" y="173461"/>
                    </a:cubicBezTo>
                    <a:cubicBezTo>
                      <a:pt x="143389" y="156914"/>
                      <a:pt x="154715" y="137889"/>
                      <a:pt x="162414" y="117331"/>
                    </a:cubicBezTo>
                    <a:cubicBezTo>
                      <a:pt x="171440" y="93469"/>
                      <a:pt x="168519" y="57189"/>
                      <a:pt x="164921" y="34418"/>
                    </a:cubicBezTo>
                    <a:cubicBezTo>
                      <a:pt x="182147" y="31822"/>
                      <a:pt x="206923" y="31203"/>
                      <a:pt x="221051" y="42234"/>
                    </a:cubicBezTo>
                    <a:cubicBezTo>
                      <a:pt x="230166" y="49343"/>
                      <a:pt x="237805" y="58192"/>
                      <a:pt x="243468" y="68279"/>
                    </a:cubicBezTo>
                    <a:cubicBezTo>
                      <a:pt x="249131" y="78367"/>
                      <a:pt x="252759" y="89487"/>
                      <a:pt x="254116" y="100961"/>
                    </a:cubicBezTo>
                    <a:cubicBezTo>
                      <a:pt x="256712" y="135235"/>
                      <a:pt x="244796" y="182664"/>
                      <a:pt x="212439" y="205641"/>
                    </a:cubicBezTo>
                    <a:cubicBezTo>
                      <a:pt x="208221" y="208650"/>
                      <a:pt x="198222" y="215670"/>
                      <a:pt x="205330" y="252067"/>
                    </a:cubicBezTo>
                    <a:cubicBezTo>
                      <a:pt x="211347" y="282832"/>
                      <a:pt x="241403" y="285545"/>
                      <a:pt x="256948" y="285663"/>
                    </a:cubicBezTo>
                    <a:lnTo>
                      <a:pt x="256948" y="298494"/>
                    </a:lnTo>
                    <a:cubicBezTo>
                      <a:pt x="256122" y="309348"/>
                      <a:pt x="256682" y="320262"/>
                      <a:pt x="258659" y="330969"/>
                    </a:cubicBezTo>
                    <a:cubicBezTo>
                      <a:pt x="266563" y="364358"/>
                      <a:pt x="277388" y="384297"/>
                      <a:pt x="314789" y="401139"/>
                    </a:cubicBezTo>
                    <a:cubicBezTo>
                      <a:pt x="327384" y="407304"/>
                      <a:pt x="340952" y="411227"/>
                      <a:pt x="354874" y="412761"/>
                    </a:cubicBezTo>
                    <a:cubicBezTo>
                      <a:pt x="351452" y="493668"/>
                      <a:pt x="344462" y="570858"/>
                      <a:pt x="334522" y="6429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5" name="Полилиния: фигура 1194">
                <a:extLst>
                  <a:ext uri="{FF2B5EF4-FFF2-40B4-BE49-F238E27FC236}">
                    <a16:creationId xmlns:a16="http://schemas.microsoft.com/office/drawing/2014/main" id="{91B8B889-595D-4C09-95B9-8B62B268FC5A}"/>
                  </a:ext>
                </a:extLst>
              </p:cNvPr>
              <p:cNvSpPr/>
              <p:nvPr/>
            </p:nvSpPr>
            <p:spPr>
              <a:xfrm>
                <a:off x="9410517" y="2575586"/>
                <a:ext cx="369442" cy="1013749"/>
              </a:xfrm>
              <a:custGeom>
                <a:avLst/>
                <a:gdLst>
                  <a:gd name="connsiteX0" fmla="*/ 292935 w 369442"/>
                  <a:gd name="connsiteY0" fmla="*/ 253525 h 1013749"/>
                  <a:gd name="connsiteX1" fmla="*/ 285207 w 369442"/>
                  <a:gd name="connsiteY1" fmla="*/ 253525 h 1013749"/>
                  <a:gd name="connsiteX2" fmla="*/ 234298 w 369442"/>
                  <a:gd name="connsiteY2" fmla="*/ 243497 h 1013749"/>
                  <a:gd name="connsiteX3" fmla="*/ 229136 w 369442"/>
                  <a:gd name="connsiteY3" fmla="*/ 229988 h 1013749"/>
                  <a:gd name="connsiteX4" fmla="*/ 230581 w 369442"/>
                  <a:gd name="connsiteY4" fmla="*/ 215623 h 1013749"/>
                  <a:gd name="connsiteX5" fmla="*/ 241288 w 369442"/>
                  <a:gd name="connsiteY5" fmla="*/ 199489 h 1013749"/>
                  <a:gd name="connsiteX6" fmla="*/ 257334 w 369442"/>
                  <a:gd name="connsiteY6" fmla="*/ 174329 h 1013749"/>
                  <a:gd name="connsiteX7" fmla="*/ 270253 w 369442"/>
                  <a:gd name="connsiteY7" fmla="*/ 117874 h 1013749"/>
                  <a:gd name="connsiteX8" fmla="*/ 266655 w 369442"/>
                  <a:gd name="connsiteY8" fmla="*/ 72185 h 1013749"/>
                  <a:gd name="connsiteX9" fmla="*/ 245093 w 369442"/>
                  <a:gd name="connsiteY9" fmla="*/ 31746 h 1013749"/>
                  <a:gd name="connsiteX10" fmla="*/ 213562 w 369442"/>
                  <a:gd name="connsiteY10" fmla="*/ 8032 h 1013749"/>
                  <a:gd name="connsiteX11" fmla="*/ 174952 w 369442"/>
                  <a:gd name="connsiteY11" fmla="*/ 38 h 1013749"/>
                  <a:gd name="connsiteX12" fmla="*/ 139646 w 369442"/>
                  <a:gd name="connsiteY12" fmla="*/ 6203 h 1013749"/>
                  <a:gd name="connsiteX13" fmla="*/ 109619 w 369442"/>
                  <a:gd name="connsiteY13" fmla="*/ 25788 h 1013749"/>
                  <a:gd name="connsiteX14" fmla="*/ 79563 w 369442"/>
                  <a:gd name="connsiteY14" fmla="*/ 111415 h 1013749"/>
                  <a:gd name="connsiteX15" fmla="*/ 90801 w 369442"/>
                  <a:gd name="connsiteY15" fmla="*/ 172677 h 1013749"/>
                  <a:gd name="connsiteX16" fmla="*/ 119471 w 369442"/>
                  <a:gd name="connsiteY16" fmla="*/ 212792 h 1013749"/>
                  <a:gd name="connsiteX17" fmla="*/ 126786 w 369442"/>
                  <a:gd name="connsiteY17" fmla="*/ 220726 h 1013749"/>
                  <a:gd name="connsiteX18" fmla="*/ 125488 w 369442"/>
                  <a:gd name="connsiteY18" fmla="*/ 247095 h 1013749"/>
                  <a:gd name="connsiteX19" fmla="*/ 90329 w 369442"/>
                  <a:gd name="connsiteY19" fmla="*/ 257124 h 1013749"/>
                  <a:gd name="connsiteX20" fmla="*/ 82601 w 369442"/>
                  <a:gd name="connsiteY20" fmla="*/ 257124 h 1013749"/>
                  <a:gd name="connsiteX21" fmla="*/ 10159 w 369442"/>
                  <a:gd name="connsiteY21" fmla="*/ 290601 h 1013749"/>
                  <a:gd name="connsiteX22" fmla="*/ 48032 w 369442"/>
                  <a:gd name="connsiteY22" fmla="*/ 557391 h 1013749"/>
                  <a:gd name="connsiteX23" fmla="*/ 247836 w 369442"/>
                  <a:gd name="connsiteY23" fmla="*/ 958917 h 1013749"/>
                  <a:gd name="connsiteX24" fmla="*/ 215981 w 369442"/>
                  <a:gd name="connsiteY24" fmla="*/ 1013750 h 1013749"/>
                  <a:gd name="connsiteX25" fmla="*/ 326914 w 369442"/>
                  <a:gd name="connsiteY25" fmla="*/ 983664 h 1013749"/>
                  <a:gd name="connsiteX26" fmla="*/ 298068 w 369442"/>
                  <a:gd name="connsiteY26" fmla="*/ 872495 h 1013749"/>
                  <a:gd name="connsiteX27" fmla="*/ 264590 w 369442"/>
                  <a:gd name="connsiteY27" fmla="*/ 929952 h 1013749"/>
                  <a:gd name="connsiteX28" fmla="*/ 80713 w 369442"/>
                  <a:gd name="connsiteY28" fmla="*/ 580752 h 1013749"/>
                  <a:gd name="connsiteX29" fmla="*/ 252674 w 369442"/>
                  <a:gd name="connsiteY29" fmla="*/ 580752 h 1013749"/>
                  <a:gd name="connsiteX30" fmla="*/ 312108 w 369442"/>
                  <a:gd name="connsiteY30" fmla="*/ 580250 h 1013749"/>
                  <a:gd name="connsiteX31" fmla="*/ 323935 w 369442"/>
                  <a:gd name="connsiteY31" fmla="*/ 575973 h 1013749"/>
                  <a:gd name="connsiteX32" fmla="*/ 332135 w 369442"/>
                  <a:gd name="connsiteY32" fmla="*/ 566417 h 1013749"/>
                  <a:gd name="connsiteX33" fmla="*/ 365112 w 369442"/>
                  <a:gd name="connsiteY33" fmla="*/ 297238 h 1013749"/>
                  <a:gd name="connsiteX34" fmla="*/ 335645 w 369442"/>
                  <a:gd name="connsiteY34" fmla="*/ 264468 h 1013749"/>
                  <a:gd name="connsiteX35" fmla="*/ 292965 w 369442"/>
                  <a:gd name="connsiteY35" fmla="*/ 253525 h 1013749"/>
                  <a:gd name="connsiteX36" fmla="*/ 304350 w 369442"/>
                  <a:gd name="connsiteY36" fmla="*/ 547864 h 1013749"/>
                  <a:gd name="connsiteX37" fmla="*/ 134602 w 369442"/>
                  <a:gd name="connsiteY37" fmla="*/ 547864 h 1013749"/>
                  <a:gd name="connsiteX38" fmla="*/ 80979 w 369442"/>
                  <a:gd name="connsiteY38" fmla="*/ 547864 h 1013749"/>
                  <a:gd name="connsiteX39" fmla="*/ 38298 w 369442"/>
                  <a:gd name="connsiteY39" fmla="*/ 308152 h 1013749"/>
                  <a:gd name="connsiteX40" fmla="*/ 83102 w 369442"/>
                  <a:gd name="connsiteY40" fmla="*/ 289717 h 1013749"/>
                  <a:gd name="connsiteX41" fmla="*/ 91833 w 369442"/>
                  <a:gd name="connsiteY41" fmla="*/ 289717 h 1013749"/>
                  <a:gd name="connsiteX42" fmla="*/ 153450 w 369442"/>
                  <a:gd name="connsiteY42" fmla="*/ 265147 h 1013749"/>
                  <a:gd name="connsiteX43" fmla="*/ 154748 w 369442"/>
                  <a:gd name="connsiteY43" fmla="*/ 201878 h 1013749"/>
                  <a:gd name="connsiteX44" fmla="*/ 143923 w 369442"/>
                  <a:gd name="connsiteY44" fmla="*/ 189932 h 1013749"/>
                  <a:gd name="connsiteX45" fmla="*/ 121771 w 369442"/>
                  <a:gd name="connsiteY45" fmla="*/ 159847 h 1013749"/>
                  <a:gd name="connsiteX46" fmla="*/ 112952 w 369442"/>
                  <a:gd name="connsiteY46" fmla="*/ 110412 h 1013749"/>
                  <a:gd name="connsiteX47" fmla="*/ 132980 w 369442"/>
                  <a:gd name="connsiteY47" fmla="*/ 48648 h 1013749"/>
                  <a:gd name="connsiteX48" fmla="*/ 152181 w 369442"/>
                  <a:gd name="connsiteY48" fmla="*/ 36377 h 1013749"/>
                  <a:gd name="connsiteX49" fmla="*/ 174657 w 369442"/>
                  <a:gd name="connsiteY49" fmla="*/ 32808 h 1013749"/>
                  <a:gd name="connsiteX50" fmla="*/ 199434 w 369442"/>
                  <a:gd name="connsiteY50" fmla="*/ 37705 h 1013749"/>
                  <a:gd name="connsiteX51" fmla="*/ 219638 w 369442"/>
                  <a:gd name="connsiteY51" fmla="*/ 52865 h 1013749"/>
                  <a:gd name="connsiteX52" fmla="*/ 234475 w 369442"/>
                  <a:gd name="connsiteY52" fmla="*/ 80857 h 1013749"/>
                  <a:gd name="connsiteX53" fmla="*/ 237070 w 369442"/>
                  <a:gd name="connsiteY53" fmla="*/ 112417 h 1013749"/>
                  <a:gd name="connsiteX54" fmla="*/ 225862 w 369442"/>
                  <a:gd name="connsiteY54" fmla="*/ 162531 h 1013749"/>
                  <a:gd name="connsiteX55" fmla="*/ 215243 w 369442"/>
                  <a:gd name="connsiteY55" fmla="*/ 178282 h 1013749"/>
                  <a:gd name="connsiteX56" fmla="*/ 198903 w 369442"/>
                  <a:gd name="connsiteY56" fmla="*/ 204356 h 1013749"/>
                  <a:gd name="connsiteX57" fmla="*/ 195806 w 369442"/>
                  <a:gd name="connsiteY57" fmla="*/ 233999 h 1013749"/>
                  <a:gd name="connsiteX58" fmla="*/ 206336 w 369442"/>
                  <a:gd name="connsiteY58" fmla="*/ 261902 h 1013749"/>
                  <a:gd name="connsiteX59" fmla="*/ 285591 w 369442"/>
                  <a:gd name="connsiteY59" fmla="*/ 287180 h 1013749"/>
                  <a:gd name="connsiteX60" fmla="*/ 292817 w 369442"/>
                  <a:gd name="connsiteY60" fmla="*/ 287180 h 1013749"/>
                  <a:gd name="connsiteX61" fmla="*/ 317594 w 369442"/>
                  <a:gd name="connsiteY61" fmla="*/ 292932 h 1013749"/>
                  <a:gd name="connsiteX62" fmla="*/ 334908 w 369442"/>
                  <a:gd name="connsiteY62" fmla="*/ 311544 h 1013749"/>
                  <a:gd name="connsiteX63" fmla="*/ 304350 w 369442"/>
                  <a:gd name="connsiteY63" fmla="*/ 547834 h 101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9442" h="1013749">
                    <a:moveTo>
                      <a:pt x="292935" y="253525"/>
                    </a:moveTo>
                    <a:lnTo>
                      <a:pt x="285207" y="253525"/>
                    </a:lnTo>
                    <a:cubicBezTo>
                      <a:pt x="268867" y="253525"/>
                      <a:pt x="241613" y="253525"/>
                      <a:pt x="234298" y="243497"/>
                    </a:cubicBezTo>
                    <a:cubicBezTo>
                      <a:pt x="231555" y="239456"/>
                      <a:pt x="229785" y="234825"/>
                      <a:pt x="229136" y="229988"/>
                    </a:cubicBezTo>
                    <a:cubicBezTo>
                      <a:pt x="228487" y="225150"/>
                      <a:pt x="228988" y="220225"/>
                      <a:pt x="230581" y="215623"/>
                    </a:cubicBezTo>
                    <a:cubicBezTo>
                      <a:pt x="233236" y="209695"/>
                      <a:pt x="236864" y="204238"/>
                      <a:pt x="241288" y="199489"/>
                    </a:cubicBezTo>
                    <a:cubicBezTo>
                      <a:pt x="248013" y="192086"/>
                      <a:pt x="253440" y="183561"/>
                      <a:pt x="257334" y="174329"/>
                    </a:cubicBezTo>
                    <a:cubicBezTo>
                      <a:pt x="263617" y="156012"/>
                      <a:pt x="267952" y="137105"/>
                      <a:pt x="270253" y="117874"/>
                    </a:cubicBezTo>
                    <a:cubicBezTo>
                      <a:pt x="272200" y="102566"/>
                      <a:pt x="270990" y="86992"/>
                      <a:pt x="266655" y="72185"/>
                    </a:cubicBezTo>
                    <a:cubicBezTo>
                      <a:pt x="262319" y="57378"/>
                      <a:pt x="254974" y="43604"/>
                      <a:pt x="245093" y="31746"/>
                    </a:cubicBezTo>
                    <a:cubicBezTo>
                      <a:pt x="236451" y="21629"/>
                      <a:pt x="225685" y="13518"/>
                      <a:pt x="213562" y="8032"/>
                    </a:cubicBezTo>
                    <a:cubicBezTo>
                      <a:pt x="201439" y="2546"/>
                      <a:pt x="188255" y="-168"/>
                      <a:pt x="174952" y="38"/>
                    </a:cubicBezTo>
                    <a:cubicBezTo>
                      <a:pt x="162888" y="-316"/>
                      <a:pt x="150884" y="1779"/>
                      <a:pt x="139646" y="6203"/>
                    </a:cubicBezTo>
                    <a:cubicBezTo>
                      <a:pt x="128408" y="10627"/>
                      <a:pt x="118202" y="17293"/>
                      <a:pt x="109619" y="25788"/>
                    </a:cubicBezTo>
                    <a:cubicBezTo>
                      <a:pt x="88648" y="49208"/>
                      <a:pt x="77852" y="80002"/>
                      <a:pt x="79563" y="111415"/>
                    </a:cubicBezTo>
                    <a:cubicBezTo>
                      <a:pt x="79504" y="132357"/>
                      <a:pt x="83309" y="153122"/>
                      <a:pt x="90801" y="172677"/>
                    </a:cubicBezTo>
                    <a:cubicBezTo>
                      <a:pt x="97791" y="187720"/>
                      <a:pt x="107495" y="201318"/>
                      <a:pt x="119471" y="212792"/>
                    </a:cubicBezTo>
                    <a:lnTo>
                      <a:pt x="126786" y="220726"/>
                    </a:lnTo>
                    <a:cubicBezTo>
                      <a:pt x="127788" y="229516"/>
                      <a:pt x="127346" y="238423"/>
                      <a:pt x="125488" y="247095"/>
                    </a:cubicBezTo>
                    <a:cubicBezTo>
                      <a:pt x="119382" y="255531"/>
                      <a:pt x="97526" y="256416"/>
                      <a:pt x="90329" y="257124"/>
                    </a:cubicBezTo>
                    <a:lnTo>
                      <a:pt x="82601" y="257124"/>
                    </a:lnTo>
                    <a:cubicBezTo>
                      <a:pt x="63547" y="257124"/>
                      <a:pt x="31809" y="257124"/>
                      <a:pt x="10159" y="290601"/>
                    </a:cubicBezTo>
                    <a:cubicBezTo>
                      <a:pt x="-19897" y="337323"/>
                      <a:pt x="23993" y="507750"/>
                      <a:pt x="48032" y="557391"/>
                    </a:cubicBezTo>
                    <a:cubicBezTo>
                      <a:pt x="37797" y="710091"/>
                      <a:pt x="117288" y="868690"/>
                      <a:pt x="247836" y="958917"/>
                    </a:cubicBezTo>
                    <a:lnTo>
                      <a:pt x="215981" y="1013750"/>
                    </a:lnTo>
                    <a:lnTo>
                      <a:pt x="326914" y="983664"/>
                    </a:lnTo>
                    <a:lnTo>
                      <a:pt x="298068" y="872495"/>
                    </a:lnTo>
                    <a:lnTo>
                      <a:pt x="264590" y="929952"/>
                    </a:lnTo>
                    <a:cubicBezTo>
                      <a:pt x="150766" y="850461"/>
                      <a:pt x="79504" y="715105"/>
                      <a:pt x="80713" y="580752"/>
                    </a:cubicBezTo>
                    <a:lnTo>
                      <a:pt x="252674" y="580752"/>
                    </a:lnTo>
                    <a:cubicBezTo>
                      <a:pt x="284146" y="580752"/>
                      <a:pt x="305884" y="580752"/>
                      <a:pt x="312108" y="580250"/>
                    </a:cubicBezTo>
                    <a:cubicBezTo>
                      <a:pt x="316355" y="579867"/>
                      <a:pt x="320425" y="578392"/>
                      <a:pt x="323935" y="575973"/>
                    </a:cubicBezTo>
                    <a:cubicBezTo>
                      <a:pt x="327445" y="573555"/>
                      <a:pt x="330277" y="570251"/>
                      <a:pt x="332135" y="566417"/>
                    </a:cubicBezTo>
                    <a:cubicBezTo>
                      <a:pt x="354876" y="527807"/>
                      <a:pt x="379623" y="328622"/>
                      <a:pt x="365112" y="297238"/>
                    </a:cubicBezTo>
                    <a:cubicBezTo>
                      <a:pt x="358740" y="283641"/>
                      <a:pt x="348476" y="272226"/>
                      <a:pt x="335645" y="264468"/>
                    </a:cubicBezTo>
                    <a:cubicBezTo>
                      <a:pt x="322815" y="256681"/>
                      <a:pt x="307949" y="252876"/>
                      <a:pt x="292965" y="253525"/>
                    </a:cubicBezTo>
                    <a:close/>
                    <a:moveTo>
                      <a:pt x="304350" y="547864"/>
                    </a:moveTo>
                    <a:cubicBezTo>
                      <a:pt x="279692" y="548365"/>
                      <a:pt x="193417" y="547864"/>
                      <a:pt x="134602" y="547864"/>
                    </a:cubicBezTo>
                    <a:lnTo>
                      <a:pt x="80979" y="547864"/>
                    </a:lnTo>
                    <a:cubicBezTo>
                      <a:pt x="59830" y="516893"/>
                      <a:pt x="18153" y="339122"/>
                      <a:pt x="38298" y="308152"/>
                    </a:cubicBezTo>
                    <a:cubicBezTo>
                      <a:pt x="50215" y="289894"/>
                      <a:pt x="65464" y="289805"/>
                      <a:pt x="83102" y="289717"/>
                    </a:cubicBezTo>
                    <a:lnTo>
                      <a:pt x="91833" y="289717"/>
                    </a:lnTo>
                    <a:cubicBezTo>
                      <a:pt x="105667" y="289127"/>
                      <a:pt x="138141" y="287799"/>
                      <a:pt x="153450" y="265147"/>
                    </a:cubicBezTo>
                    <a:cubicBezTo>
                      <a:pt x="162358" y="251903"/>
                      <a:pt x="163478" y="211700"/>
                      <a:pt x="154748" y="201878"/>
                    </a:cubicBezTo>
                    <a:cubicBezTo>
                      <a:pt x="151238" y="197778"/>
                      <a:pt x="147521" y="193767"/>
                      <a:pt x="143923" y="189932"/>
                    </a:cubicBezTo>
                    <a:cubicBezTo>
                      <a:pt x="134808" y="181320"/>
                      <a:pt x="127317" y="171114"/>
                      <a:pt x="121771" y="159847"/>
                    </a:cubicBezTo>
                    <a:cubicBezTo>
                      <a:pt x="115843" y="144066"/>
                      <a:pt x="112834" y="127283"/>
                      <a:pt x="112952" y="110412"/>
                    </a:cubicBezTo>
                    <a:cubicBezTo>
                      <a:pt x="111300" y="87995"/>
                      <a:pt x="118497" y="65814"/>
                      <a:pt x="132980" y="48648"/>
                    </a:cubicBezTo>
                    <a:cubicBezTo>
                      <a:pt x="138466" y="43279"/>
                      <a:pt x="145014" y="39120"/>
                      <a:pt x="152181" y="36377"/>
                    </a:cubicBezTo>
                    <a:cubicBezTo>
                      <a:pt x="159349" y="33664"/>
                      <a:pt x="167018" y="32425"/>
                      <a:pt x="174657" y="32808"/>
                    </a:cubicBezTo>
                    <a:cubicBezTo>
                      <a:pt x="183182" y="32572"/>
                      <a:pt x="191647" y="34224"/>
                      <a:pt x="199434" y="37705"/>
                    </a:cubicBezTo>
                    <a:cubicBezTo>
                      <a:pt x="207221" y="41185"/>
                      <a:pt x="214123" y="46347"/>
                      <a:pt x="219638" y="52865"/>
                    </a:cubicBezTo>
                    <a:cubicBezTo>
                      <a:pt x="226422" y="61095"/>
                      <a:pt x="231466" y="70622"/>
                      <a:pt x="234475" y="80857"/>
                    </a:cubicBezTo>
                    <a:cubicBezTo>
                      <a:pt x="237483" y="91092"/>
                      <a:pt x="238368" y="101828"/>
                      <a:pt x="237070" y="112417"/>
                    </a:cubicBezTo>
                    <a:cubicBezTo>
                      <a:pt x="235094" y="129466"/>
                      <a:pt x="231348" y="146279"/>
                      <a:pt x="225862" y="162531"/>
                    </a:cubicBezTo>
                    <a:cubicBezTo>
                      <a:pt x="223178" y="168312"/>
                      <a:pt x="219579" y="173621"/>
                      <a:pt x="215243" y="178282"/>
                    </a:cubicBezTo>
                    <a:cubicBezTo>
                      <a:pt x="208282" y="185921"/>
                      <a:pt x="202767" y="194740"/>
                      <a:pt x="198903" y="204356"/>
                    </a:cubicBezTo>
                    <a:cubicBezTo>
                      <a:pt x="195570" y="213853"/>
                      <a:pt x="194508" y="224029"/>
                      <a:pt x="195806" y="233999"/>
                    </a:cubicBezTo>
                    <a:cubicBezTo>
                      <a:pt x="197104" y="243998"/>
                      <a:pt x="200702" y="253555"/>
                      <a:pt x="206336" y="261902"/>
                    </a:cubicBezTo>
                    <a:cubicBezTo>
                      <a:pt x="224181" y="287180"/>
                      <a:pt x="261139" y="287180"/>
                      <a:pt x="285591" y="287180"/>
                    </a:cubicBezTo>
                    <a:lnTo>
                      <a:pt x="292817" y="287180"/>
                    </a:lnTo>
                    <a:cubicBezTo>
                      <a:pt x="301460" y="286590"/>
                      <a:pt x="310072" y="288596"/>
                      <a:pt x="317594" y="292932"/>
                    </a:cubicBezTo>
                    <a:cubicBezTo>
                      <a:pt x="325086" y="297268"/>
                      <a:pt x="331132" y="303757"/>
                      <a:pt x="334908" y="311544"/>
                    </a:cubicBezTo>
                    <a:cubicBezTo>
                      <a:pt x="344730" y="337293"/>
                      <a:pt x="320868" y="516274"/>
                      <a:pt x="304350" y="5478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6" name="Полилиния: фигура 1195">
                <a:extLst>
                  <a:ext uri="{FF2B5EF4-FFF2-40B4-BE49-F238E27FC236}">
                    <a16:creationId xmlns:a16="http://schemas.microsoft.com/office/drawing/2014/main" id="{6DB8F65C-4F45-41E2-AA0A-7E8B00558408}"/>
                  </a:ext>
                </a:extLst>
              </p:cNvPr>
              <p:cNvSpPr/>
              <p:nvPr/>
            </p:nvSpPr>
            <p:spPr>
              <a:xfrm>
                <a:off x="9141588" y="2080803"/>
                <a:ext cx="2020578" cy="2005124"/>
              </a:xfrm>
              <a:custGeom>
                <a:avLst/>
                <a:gdLst>
                  <a:gd name="connsiteX0" fmla="*/ 1010289 w 2020578"/>
                  <a:gd name="connsiteY0" fmla="*/ 0 h 2005124"/>
                  <a:gd name="connsiteX1" fmla="*/ 0 w 2020578"/>
                  <a:gd name="connsiteY1" fmla="*/ 1002562 h 2005124"/>
                  <a:gd name="connsiteX2" fmla="*/ 1010289 w 2020578"/>
                  <a:gd name="connsiteY2" fmla="*/ 2005124 h 2005124"/>
                  <a:gd name="connsiteX3" fmla="*/ 2020579 w 2020578"/>
                  <a:gd name="connsiteY3" fmla="*/ 1002562 h 2005124"/>
                  <a:gd name="connsiteX4" fmla="*/ 1010289 w 2020578"/>
                  <a:gd name="connsiteY4" fmla="*/ 0 h 2005124"/>
                  <a:gd name="connsiteX5" fmla="*/ 1212513 w 2020578"/>
                  <a:gd name="connsiteY5" fmla="*/ 1827854 h 2005124"/>
                  <a:gd name="connsiteX6" fmla="*/ 1204283 w 2020578"/>
                  <a:gd name="connsiteY6" fmla="*/ 1953182 h 2005124"/>
                  <a:gd name="connsiteX7" fmla="*/ 843550 w 2020578"/>
                  <a:gd name="connsiteY7" fmla="*/ 1958403 h 2005124"/>
                  <a:gd name="connsiteX8" fmla="*/ 829923 w 2020578"/>
                  <a:gd name="connsiteY8" fmla="*/ 1827382 h 2005124"/>
                  <a:gd name="connsiteX9" fmla="*/ 819894 w 2020578"/>
                  <a:gd name="connsiteY9" fmla="*/ 1441401 h 2005124"/>
                  <a:gd name="connsiteX10" fmla="*/ 883428 w 2020578"/>
                  <a:gd name="connsiteY10" fmla="*/ 1414736 h 2005124"/>
                  <a:gd name="connsiteX11" fmla="*/ 895050 w 2020578"/>
                  <a:gd name="connsiteY11" fmla="*/ 1414736 h 2005124"/>
                  <a:gd name="connsiteX12" fmla="*/ 972210 w 2020578"/>
                  <a:gd name="connsiteY12" fmla="*/ 1384651 h 2005124"/>
                  <a:gd name="connsiteX13" fmla="*/ 974305 w 2020578"/>
                  <a:gd name="connsiteY13" fmla="*/ 1307549 h 2005124"/>
                  <a:gd name="connsiteX14" fmla="*/ 960176 w 2020578"/>
                  <a:gd name="connsiteY14" fmla="*/ 1292004 h 2005124"/>
                  <a:gd name="connsiteX15" fmla="*/ 930120 w 2020578"/>
                  <a:gd name="connsiteY15" fmla="*/ 1251212 h 2005124"/>
                  <a:gd name="connsiteX16" fmla="*/ 918086 w 2020578"/>
                  <a:gd name="connsiteY16" fmla="*/ 1184138 h 2005124"/>
                  <a:gd name="connsiteX17" fmla="*/ 946254 w 2020578"/>
                  <a:gd name="connsiteY17" fmla="*/ 1098807 h 2005124"/>
                  <a:gd name="connsiteX18" fmla="*/ 973331 w 2020578"/>
                  <a:gd name="connsiteY18" fmla="*/ 1081404 h 2005124"/>
                  <a:gd name="connsiteX19" fmla="*/ 1005098 w 2020578"/>
                  <a:gd name="connsiteY19" fmla="*/ 1076243 h 2005124"/>
                  <a:gd name="connsiteX20" fmla="*/ 1039962 w 2020578"/>
                  <a:gd name="connsiteY20" fmla="*/ 1083351 h 2005124"/>
                  <a:gd name="connsiteX21" fmla="*/ 1068426 w 2020578"/>
                  <a:gd name="connsiteY21" fmla="*/ 1104706 h 2005124"/>
                  <a:gd name="connsiteX22" fmla="*/ 1089250 w 2020578"/>
                  <a:gd name="connsiteY22" fmla="*/ 1143611 h 2005124"/>
                  <a:gd name="connsiteX23" fmla="*/ 1092789 w 2020578"/>
                  <a:gd name="connsiteY23" fmla="*/ 1187619 h 2005124"/>
                  <a:gd name="connsiteX24" fmla="*/ 1077658 w 2020578"/>
                  <a:gd name="connsiteY24" fmla="*/ 1254279 h 2005124"/>
                  <a:gd name="connsiteX25" fmla="*/ 1062822 w 2020578"/>
                  <a:gd name="connsiteY25" fmla="*/ 1276549 h 2005124"/>
                  <a:gd name="connsiteX26" fmla="*/ 1042174 w 2020578"/>
                  <a:gd name="connsiteY26" fmla="*/ 1309348 h 2005124"/>
                  <a:gd name="connsiteX27" fmla="*/ 1038370 w 2020578"/>
                  <a:gd name="connsiteY27" fmla="*/ 1346070 h 2005124"/>
                  <a:gd name="connsiteX28" fmla="*/ 1051407 w 2020578"/>
                  <a:gd name="connsiteY28" fmla="*/ 1380610 h 2005124"/>
                  <a:gd name="connsiteX29" fmla="*/ 1151014 w 2020578"/>
                  <a:gd name="connsiteY29" fmla="*/ 1411285 h 2005124"/>
                  <a:gd name="connsiteX30" fmla="*/ 1161043 w 2020578"/>
                  <a:gd name="connsiteY30" fmla="*/ 1411285 h 2005124"/>
                  <a:gd name="connsiteX31" fmla="*/ 1196408 w 2020578"/>
                  <a:gd name="connsiteY31" fmla="*/ 1419633 h 2005124"/>
                  <a:gd name="connsiteX32" fmla="*/ 1221155 w 2020578"/>
                  <a:gd name="connsiteY32" fmla="*/ 1446267 h 2005124"/>
                  <a:gd name="connsiteX33" fmla="*/ 1212542 w 2020578"/>
                  <a:gd name="connsiteY33" fmla="*/ 1827854 h 2005124"/>
                  <a:gd name="connsiteX34" fmla="*/ 1238174 w 2020578"/>
                  <a:gd name="connsiteY34" fmla="*/ 1945749 h 2005124"/>
                  <a:gd name="connsiteX35" fmla="*/ 1245990 w 2020578"/>
                  <a:gd name="connsiteY35" fmla="*/ 1824934 h 2005124"/>
                  <a:gd name="connsiteX36" fmla="*/ 1251388 w 2020578"/>
                  <a:gd name="connsiteY36" fmla="*/ 1432522 h 2005124"/>
                  <a:gd name="connsiteX37" fmla="*/ 1161190 w 2020578"/>
                  <a:gd name="connsiteY37" fmla="*/ 1377896 h 2005124"/>
                  <a:gd name="connsiteX38" fmla="*/ 1151161 w 2020578"/>
                  <a:gd name="connsiteY38" fmla="*/ 1377896 h 2005124"/>
                  <a:gd name="connsiteX39" fmla="*/ 1079428 w 2020578"/>
                  <a:gd name="connsiteY39" fmla="*/ 1361762 h 2005124"/>
                  <a:gd name="connsiteX40" fmla="*/ 1071788 w 2020578"/>
                  <a:gd name="connsiteY40" fmla="*/ 1341587 h 2005124"/>
                  <a:gd name="connsiteX41" fmla="*/ 1074030 w 2020578"/>
                  <a:gd name="connsiteY41" fmla="*/ 1320143 h 2005124"/>
                  <a:gd name="connsiteX42" fmla="*/ 1089073 w 2020578"/>
                  <a:gd name="connsiteY42" fmla="*/ 1297284 h 2005124"/>
                  <a:gd name="connsiteX43" fmla="*/ 1109100 w 2020578"/>
                  <a:gd name="connsiteY43" fmla="*/ 1265606 h 2005124"/>
                  <a:gd name="connsiteX44" fmla="*/ 1125943 w 2020578"/>
                  <a:gd name="connsiteY44" fmla="*/ 1192132 h 2005124"/>
                  <a:gd name="connsiteX45" fmla="*/ 1121312 w 2020578"/>
                  <a:gd name="connsiteY45" fmla="*/ 1134054 h 2005124"/>
                  <a:gd name="connsiteX46" fmla="*/ 1093881 w 2020578"/>
                  <a:gd name="connsiteY46" fmla="*/ 1082673 h 2005124"/>
                  <a:gd name="connsiteX47" fmla="*/ 1055949 w 2020578"/>
                  <a:gd name="connsiteY47" fmla="*/ 1054239 h 2005124"/>
                  <a:gd name="connsiteX48" fmla="*/ 1009936 w 2020578"/>
                  <a:gd name="connsiteY48" fmla="*/ 1042794 h 2005124"/>
                  <a:gd name="connsiteX49" fmla="*/ 963096 w 2020578"/>
                  <a:gd name="connsiteY49" fmla="*/ 1050168 h 2005124"/>
                  <a:gd name="connsiteX50" fmla="*/ 922805 w 2020578"/>
                  <a:gd name="connsiteY50" fmla="*/ 1075181 h 2005124"/>
                  <a:gd name="connsiteX51" fmla="*/ 885227 w 2020578"/>
                  <a:gd name="connsiteY51" fmla="*/ 1184463 h 2005124"/>
                  <a:gd name="connsiteX52" fmla="*/ 899857 w 2020578"/>
                  <a:gd name="connsiteY52" fmla="*/ 1263275 h 2005124"/>
                  <a:gd name="connsiteX53" fmla="*/ 936639 w 2020578"/>
                  <a:gd name="connsiteY53" fmla="*/ 1314215 h 2005124"/>
                  <a:gd name="connsiteX54" fmla="*/ 947464 w 2020578"/>
                  <a:gd name="connsiteY54" fmla="*/ 1325954 h 2005124"/>
                  <a:gd name="connsiteX55" fmla="*/ 945369 w 2020578"/>
                  <a:gd name="connsiteY55" fmla="*/ 1366068 h 2005124"/>
                  <a:gd name="connsiteX56" fmla="*/ 894371 w 2020578"/>
                  <a:gd name="connsiteY56" fmla="*/ 1381495 h 2005124"/>
                  <a:gd name="connsiteX57" fmla="*/ 884343 w 2020578"/>
                  <a:gd name="connsiteY57" fmla="*/ 1381495 h 2005124"/>
                  <a:gd name="connsiteX58" fmla="*/ 793053 w 2020578"/>
                  <a:gd name="connsiteY58" fmla="*/ 1423290 h 2005124"/>
                  <a:gd name="connsiteX59" fmla="*/ 797359 w 2020578"/>
                  <a:gd name="connsiteY59" fmla="*/ 1827530 h 2005124"/>
                  <a:gd name="connsiteX60" fmla="*/ 810190 w 2020578"/>
                  <a:gd name="connsiteY60" fmla="*/ 1952061 h 2005124"/>
                  <a:gd name="connsiteX61" fmla="*/ 33183 w 2020578"/>
                  <a:gd name="connsiteY61" fmla="*/ 1002562 h 2005124"/>
                  <a:gd name="connsiteX62" fmla="*/ 1010172 w 2020578"/>
                  <a:gd name="connsiteY62" fmla="*/ 32888 h 2005124"/>
                  <a:gd name="connsiteX63" fmla="*/ 1987190 w 2020578"/>
                  <a:gd name="connsiteY63" fmla="*/ 1002562 h 2005124"/>
                  <a:gd name="connsiteX64" fmla="*/ 1238439 w 2020578"/>
                  <a:gd name="connsiteY64" fmla="*/ 1945779 h 2005124"/>
                  <a:gd name="connsiteX65" fmla="*/ 1238144 w 2020578"/>
                  <a:gd name="connsiteY65" fmla="*/ 1945779 h 200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20578" h="2005124">
                    <a:moveTo>
                      <a:pt x="1010289" y="0"/>
                    </a:moveTo>
                    <a:cubicBezTo>
                      <a:pt x="453232" y="0"/>
                      <a:pt x="0" y="449840"/>
                      <a:pt x="0" y="1002562"/>
                    </a:cubicBezTo>
                    <a:cubicBezTo>
                      <a:pt x="0" y="1555284"/>
                      <a:pt x="453232" y="2005124"/>
                      <a:pt x="1010289" y="2005124"/>
                    </a:cubicBezTo>
                    <a:cubicBezTo>
                      <a:pt x="1567347" y="2005124"/>
                      <a:pt x="2020579" y="1555284"/>
                      <a:pt x="2020579" y="1002562"/>
                    </a:cubicBezTo>
                    <a:cubicBezTo>
                      <a:pt x="2020579" y="449840"/>
                      <a:pt x="1567317" y="0"/>
                      <a:pt x="1010289" y="0"/>
                    </a:cubicBezTo>
                    <a:close/>
                    <a:moveTo>
                      <a:pt x="1212513" y="1827854"/>
                    </a:moveTo>
                    <a:cubicBezTo>
                      <a:pt x="1209829" y="1873838"/>
                      <a:pt x="1207085" y="1915604"/>
                      <a:pt x="1204283" y="1953182"/>
                    </a:cubicBezTo>
                    <a:cubicBezTo>
                      <a:pt x="1085386" y="1977044"/>
                      <a:pt x="963096" y="1978814"/>
                      <a:pt x="843550" y="1958403"/>
                    </a:cubicBezTo>
                    <a:cubicBezTo>
                      <a:pt x="838831" y="1917699"/>
                      <a:pt x="834229" y="1873573"/>
                      <a:pt x="829923" y="1827382"/>
                    </a:cubicBezTo>
                    <a:cubicBezTo>
                      <a:pt x="807477" y="1586756"/>
                      <a:pt x="809069" y="1458538"/>
                      <a:pt x="819894" y="1441401"/>
                    </a:cubicBezTo>
                    <a:cubicBezTo>
                      <a:pt x="837238" y="1414825"/>
                      <a:pt x="859979" y="1414736"/>
                      <a:pt x="883428" y="1414736"/>
                    </a:cubicBezTo>
                    <a:lnTo>
                      <a:pt x="895050" y="1414736"/>
                    </a:lnTo>
                    <a:cubicBezTo>
                      <a:pt x="912599" y="1414028"/>
                      <a:pt x="953569" y="1412318"/>
                      <a:pt x="972210" y="1384651"/>
                    </a:cubicBezTo>
                    <a:cubicBezTo>
                      <a:pt x="983330" y="1368103"/>
                      <a:pt x="983242" y="1317990"/>
                      <a:pt x="974305" y="1307549"/>
                    </a:cubicBezTo>
                    <a:cubicBezTo>
                      <a:pt x="969703" y="1302239"/>
                      <a:pt x="964896" y="1297019"/>
                      <a:pt x="960176" y="1292004"/>
                    </a:cubicBezTo>
                    <a:cubicBezTo>
                      <a:pt x="947817" y="1280294"/>
                      <a:pt x="937612" y="1266490"/>
                      <a:pt x="930120" y="1251212"/>
                    </a:cubicBezTo>
                    <a:cubicBezTo>
                      <a:pt x="922038" y="1229768"/>
                      <a:pt x="917968" y="1207056"/>
                      <a:pt x="918086" y="1184138"/>
                    </a:cubicBezTo>
                    <a:cubicBezTo>
                      <a:pt x="917378" y="1148861"/>
                      <a:pt x="928114" y="1117773"/>
                      <a:pt x="946254" y="1098807"/>
                    </a:cubicBezTo>
                    <a:cubicBezTo>
                      <a:pt x="953982" y="1091197"/>
                      <a:pt x="963185" y="1085298"/>
                      <a:pt x="973331" y="1081404"/>
                    </a:cubicBezTo>
                    <a:cubicBezTo>
                      <a:pt x="983448" y="1077511"/>
                      <a:pt x="994273" y="1075771"/>
                      <a:pt x="1005098" y="1076243"/>
                    </a:cubicBezTo>
                    <a:cubicBezTo>
                      <a:pt x="1017103" y="1076007"/>
                      <a:pt x="1029019" y="1078425"/>
                      <a:pt x="1039962" y="1083351"/>
                    </a:cubicBezTo>
                    <a:cubicBezTo>
                      <a:pt x="1050905" y="1088277"/>
                      <a:pt x="1060639" y="1095562"/>
                      <a:pt x="1068426" y="1104706"/>
                    </a:cubicBezTo>
                    <a:cubicBezTo>
                      <a:pt x="1077953" y="1116091"/>
                      <a:pt x="1085061" y="1129365"/>
                      <a:pt x="1089250" y="1143611"/>
                    </a:cubicBezTo>
                    <a:cubicBezTo>
                      <a:pt x="1093438" y="1157887"/>
                      <a:pt x="1094647" y="1172871"/>
                      <a:pt x="1092789" y="1187619"/>
                    </a:cubicBezTo>
                    <a:cubicBezTo>
                      <a:pt x="1090076" y="1210301"/>
                      <a:pt x="1085002" y="1232659"/>
                      <a:pt x="1077658" y="1254279"/>
                    </a:cubicBezTo>
                    <a:cubicBezTo>
                      <a:pt x="1073912" y="1262450"/>
                      <a:pt x="1068927" y="1269941"/>
                      <a:pt x="1062822" y="1276549"/>
                    </a:cubicBezTo>
                    <a:cubicBezTo>
                      <a:pt x="1054061" y="1286164"/>
                      <a:pt x="1047071" y="1297284"/>
                      <a:pt x="1042174" y="1309348"/>
                    </a:cubicBezTo>
                    <a:cubicBezTo>
                      <a:pt x="1038075" y="1321117"/>
                      <a:pt x="1036747" y="1333711"/>
                      <a:pt x="1038370" y="1346070"/>
                    </a:cubicBezTo>
                    <a:cubicBezTo>
                      <a:pt x="1039962" y="1358458"/>
                      <a:pt x="1044446" y="1370286"/>
                      <a:pt x="1051407" y="1380610"/>
                    </a:cubicBezTo>
                    <a:cubicBezTo>
                      <a:pt x="1072762" y="1412200"/>
                      <a:pt x="1119837" y="1411698"/>
                      <a:pt x="1151014" y="1411285"/>
                    </a:cubicBezTo>
                    <a:lnTo>
                      <a:pt x="1161043" y="1411285"/>
                    </a:lnTo>
                    <a:cubicBezTo>
                      <a:pt x="1173401" y="1410518"/>
                      <a:pt x="1185701" y="1413409"/>
                      <a:pt x="1196408" y="1419633"/>
                    </a:cubicBezTo>
                    <a:cubicBezTo>
                      <a:pt x="1207115" y="1425856"/>
                      <a:pt x="1215728" y="1435118"/>
                      <a:pt x="1221155" y="1446267"/>
                    </a:cubicBezTo>
                    <a:cubicBezTo>
                      <a:pt x="1226877" y="1464614"/>
                      <a:pt x="1225166" y="1615308"/>
                      <a:pt x="1212542" y="1827854"/>
                    </a:cubicBezTo>
                    <a:close/>
                    <a:moveTo>
                      <a:pt x="1238174" y="1945749"/>
                    </a:moveTo>
                    <a:cubicBezTo>
                      <a:pt x="1241477" y="1899146"/>
                      <a:pt x="1244191" y="1855522"/>
                      <a:pt x="1245990" y="1824934"/>
                    </a:cubicBezTo>
                    <a:cubicBezTo>
                      <a:pt x="1248085" y="1788153"/>
                      <a:pt x="1266018" y="1464614"/>
                      <a:pt x="1251388" y="1432522"/>
                    </a:cubicBezTo>
                    <a:cubicBezTo>
                      <a:pt x="1235165" y="1397422"/>
                      <a:pt x="1202986" y="1378073"/>
                      <a:pt x="1161190" y="1377896"/>
                    </a:cubicBezTo>
                    <a:lnTo>
                      <a:pt x="1151161" y="1377896"/>
                    </a:lnTo>
                    <a:cubicBezTo>
                      <a:pt x="1127122" y="1377896"/>
                      <a:pt x="1091049" y="1378604"/>
                      <a:pt x="1079428" y="1361762"/>
                    </a:cubicBezTo>
                    <a:cubicBezTo>
                      <a:pt x="1075357" y="1355715"/>
                      <a:pt x="1072732" y="1348813"/>
                      <a:pt x="1071788" y="1341587"/>
                    </a:cubicBezTo>
                    <a:cubicBezTo>
                      <a:pt x="1070844" y="1334360"/>
                      <a:pt x="1071611" y="1327016"/>
                      <a:pt x="1074030" y="1320143"/>
                    </a:cubicBezTo>
                    <a:cubicBezTo>
                      <a:pt x="1077717" y="1311737"/>
                      <a:pt x="1082820" y="1304009"/>
                      <a:pt x="1089073" y="1297284"/>
                    </a:cubicBezTo>
                    <a:cubicBezTo>
                      <a:pt x="1097479" y="1287934"/>
                      <a:pt x="1104263" y="1277197"/>
                      <a:pt x="1109100" y="1265606"/>
                    </a:cubicBezTo>
                    <a:cubicBezTo>
                      <a:pt x="1117271" y="1241773"/>
                      <a:pt x="1122904" y="1217144"/>
                      <a:pt x="1125943" y="1192132"/>
                    </a:cubicBezTo>
                    <a:cubicBezTo>
                      <a:pt x="1128420" y="1172664"/>
                      <a:pt x="1126857" y="1152873"/>
                      <a:pt x="1121312" y="1134054"/>
                    </a:cubicBezTo>
                    <a:cubicBezTo>
                      <a:pt x="1115796" y="1115207"/>
                      <a:pt x="1106446" y="1097716"/>
                      <a:pt x="1093881" y="1082673"/>
                    </a:cubicBezTo>
                    <a:cubicBezTo>
                      <a:pt x="1083262" y="1070756"/>
                      <a:pt x="1070373" y="1061082"/>
                      <a:pt x="1055949" y="1054239"/>
                    </a:cubicBezTo>
                    <a:cubicBezTo>
                      <a:pt x="1041526" y="1047396"/>
                      <a:pt x="1025893" y="1043502"/>
                      <a:pt x="1009936" y="1042794"/>
                    </a:cubicBezTo>
                    <a:cubicBezTo>
                      <a:pt x="993978" y="1042086"/>
                      <a:pt x="978080" y="1044594"/>
                      <a:pt x="963096" y="1050168"/>
                    </a:cubicBezTo>
                    <a:cubicBezTo>
                      <a:pt x="948142" y="1055714"/>
                      <a:pt x="934426" y="1064238"/>
                      <a:pt x="922805" y="1075181"/>
                    </a:cubicBezTo>
                    <a:cubicBezTo>
                      <a:pt x="898058" y="1100459"/>
                      <a:pt x="884313" y="1140248"/>
                      <a:pt x="885227" y="1184463"/>
                    </a:cubicBezTo>
                    <a:cubicBezTo>
                      <a:pt x="885227" y="1211392"/>
                      <a:pt x="890183" y="1238116"/>
                      <a:pt x="899857" y="1263275"/>
                    </a:cubicBezTo>
                    <a:cubicBezTo>
                      <a:pt x="908824" y="1282389"/>
                      <a:pt x="921301" y="1299673"/>
                      <a:pt x="936639" y="1314215"/>
                    </a:cubicBezTo>
                    <a:cubicBezTo>
                      <a:pt x="940444" y="1318226"/>
                      <a:pt x="944042" y="1322149"/>
                      <a:pt x="947464" y="1325954"/>
                    </a:cubicBezTo>
                    <a:cubicBezTo>
                      <a:pt x="949322" y="1339345"/>
                      <a:pt x="948614" y="1352943"/>
                      <a:pt x="945369" y="1366068"/>
                    </a:cubicBezTo>
                    <a:cubicBezTo>
                      <a:pt x="936167" y="1379813"/>
                      <a:pt x="905786" y="1381023"/>
                      <a:pt x="894371" y="1381495"/>
                    </a:cubicBezTo>
                    <a:lnTo>
                      <a:pt x="884343" y="1381495"/>
                    </a:lnTo>
                    <a:cubicBezTo>
                      <a:pt x="858799" y="1381495"/>
                      <a:pt x="820219" y="1381495"/>
                      <a:pt x="793053" y="1423290"/>
                    </a:cubicBezTo>
                    <a:cubicBezTo>
                      <a:pt x="767805" y="1461989"/>
                      <a:pt x="784942" y="1693177"/>
                      <a:pt x="797359" y="1827530"/>
                    </a:cubicBezTo>
                    <a:cubicBezTo>
                      <a:pt x="800869" y="1864931"/>
                      <a:pt x="805264" y="1907729"/>
                      <a:pt x="810190" y="1952061"/>
                    </a:cubicBezTo>
                    <a:cubicBezTo>
                      <a:pt x="366957" y="1860034"/>
                      <a:pt x="33183" y="1469451"/>
                      <a:pt x="33183" y="1002562"/>
                    </a:cubicBezTo>
                    <a:cubicBezTo>
                      <a:pt x="33183" y="467892"/>
                      <a:pt x="471461" y="32888"/>
                      <a:pt x="1010172" y="32888"/>
                    </a:cubicBezTo>
                    <a:cubicBezTo>
                      <a:pt x="1548883" y="32888"/>
                      <a:pt x="1987190" y="467892"/>
                      <a:pt x="1987190" y="1002562"/>
                    </a:cubicBezTo>
                    <a:cubicBezTo>
                      <a:pt x="1987278" y="1459629"/>
                      <a:pt x="1667426" y="1843517"/>
                      <a:pt x="1238439" y="1945779"/>
                    </a:cubicBezTo>
                    <a:lnTo>
                      <a:pt x="1238144" y="1945779"/>
                    </a:ln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7" name="Полилиния: фигура 1196">
                <a:extLst>
                  <a:ext uri="{FF2B5EF4-FFF2-40B4-BE49-F238E27FC236}">
                    <a16:creationId xmlns:a16="http://schemas.microsoft.com/office/drawing/2014/main" id="{7B1560B7-B26C-4BC6-B396-DA9F3418E365}"/>
                  </a:ext>
                </a:extLst>
              </p:cNvPr>
              <p:cNvSpPr/>
              <p:nvPr/>
            </p:nvSpPr>
            <p:spPr>
              <a:xfrm>
                <a:off x="9675491" y="2958774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8" name="Полилиния: фигура 1197">
                <a:extLst>
                  <a:ext uri="{FF2B5EF4-FFF2-40B4-BE49-F238E27FC236}">
                    <a16:creationId xmlns:a16="http://schemas.microsoft.com/office/drawing/2014/main" id="{1BB8D6D2-EB06-4F05-A116-68D916289AD1}"/>
                  </a:ext>
                </a:extLst>
              </p:cNvPr>
              <p:cNvSpPr/>
              <p:nvPr/>
            </p:nvSpPr>
            <p:spPr>
              <a:xfrm>
                <a:off x="10029322" y="2652667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9" name="Полилиния: фигура 1198">
                <a:extLst>
                  <a:ext uri="{FF2B5EF4-FFF2-40B4-BE49-F238E27FC236}">
                    <a16:creationId xmlns:a16="http://schemas.microsoft.com/office/drawing/2014/main" id="{89E524B1-0A93-41C6-8F57-1A91594E6D7F}"/>
                  </a:ext>
                </a:extLst>
              </p:cNvPr>
              <p:cNvSpPr/>
              <p:nvPr/>
            </p:nvSpPr>
            <p:spPr>
              <a:xfrm>
                <a:off x="10364807" y="2361249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18" name="Rounded Rectangle">
            <a:extLst>
              <a:ext uri="{FF2B5EF4-FFF2-40B4-BE49-F238E27FC236}">
                <a16:creationId xmlns:a16="http://schemas.microsoft.com/office/drawing/2014/main" id="{A9A18580-CB24-4A1A-B401-9A0975BA0600}"/>
              </a:ext>
            </a:extLst>
          </p:cNvPr>
          <p:cNvSpPr/>
          <p:nvPr/>
        </p:nvSpPr>
        <p:spPr>
          <a:xfrm>
            <a:off x="-6394078" y="2083527"/>
            <a:ext cx="5192377" cy="2640296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819" name="Группа 818">
            <a:extLst>
              <a:ext uri="{FF2B5EF4-FFF2-40B4-BE49-F238E27FC236}">
                <a16:creationId xmlns:a16="http://schemas.microsoft.com/office/drawing/2014/main" id="{0E345ABE-4091-45BB-ADD5-BF0B484E5EF6}"/>
              </a:ext>
            </a:extLst>
          </p:cNvPr>
          <p:cNvGrpSpPr/>
          <p:nvPr/>
        </p:nvGrpSpPr>
        <p:grpSpPr>
          <a:xfrm>
            <a:off x="-6005829" y="1977637"/>
            <a:ext cx="5051622" cy="847113"/>
            <a:chOff x="6510195" y="1556711"/>
            <a:chExt cx="5051622" cy="847113"/>
          </a:xfrm>
        </p:grpSpPr>
        <p:sp>
          <p:nvSpPr>
            <p:cNvPr id="820" name="Rounded Rectangle">
              <a:extLst>
                <a:ext uri="{FF2B5EF4-FFF2-40B4-BE49-F238E27FC236}">
                  <a16:creationId xmlns:a16="http://schemas.microsoft.com/office/drawing/2014/main" id="{9F06D621-4C08-4A8A-B3FB-8FCA0CDA591D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21" name="Motion design">
              <a:extLst>
                <a:ext uri="{FF2B5EF4-FFF2-40B4-BE49-F238E27FC236}">
                  <a16:creationId xmlns:a16="http://schemas.microsoft.com/office/drawing/2014/main" id="{8BABE4F3-7DD9-44DE-88DB-05F71AFBF410}"/>
                </a:ext>
              </a:extLst>
            </p:cNvPr>
            <p:cNvSpPr txBox="1"/>
            <p:nvPr/>
          </p:nvSpPr>
          <p:spPr>
            <a:xfrm>
              <a:off x="7434557" y="1842208"/>
              <a:ext cx="369142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рядок в клиентских данных</a:t>
              </a:r>
            </a:p>
          </p:txBody>
        </p:sp>
        <p:sp>
          <p:nvSpPr>
            <p:cNvPr id="822" name="Circle">
              <a:extLst>
                <a:ext uri="{FF2B5EF4-FFF2-40B4-BE49-F238E27FC236}">
                  <a16:creationId xmlns:a16="http://schemas.microsoft.com/office/drawing/2014/main" id="{FC3B316C-469B-4F1E-A093-C062AE2B6165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23" name="Рисунок 822">
              <a:extLst>
                <a:ext uri="{FF2B5EF4-FFF2-40B4-BE49-F238E27FC236}">
                  <a16:creationId xmlns:a16="http://schemas.microsoft.com/office/drawing/2014/main" id="{9AF53A81-134C-4922-BD1D-09B9D993FE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6786835" y="1802015"/>
              <a:ext cx="330367" cy="330367"/>
            </a:xfrm>
            <a:prstGeom prst="rect">
              <a:avLst/>
            </a:prstGeom>
          </p:spPr>
        </p:pic>
      </p:grpSp>
      <p:grpSp>
        <p:nvGrpSpPr>
          <p:cNvPr id="824" name="Группа 823">
            <a:extLst>
              <a:ext uri="{FF2B5EF4-FFF2-40B4-BE49-F238E27FC236}">
                <a16:creationId xmlns:a16="http://schemas.microsoft.com/office/drawing/2014/main" id="{5E5E0220-F776-45A8-92F0-98810504AE91}"/>
              </a:ext>
            </a:extLst>
          </p:cNvPr>
          <p:cNvGrpSpPr/>
          <p:nvPr/>
        </p:nvGrpSpPr>
        <p:grpSpPr>
          <a:xfrm>
            <a:off x="-6005829" y="3002813"/>
            <a:ext cx="5051622" cy="847113"/>
            <a:chOff x="6510195" y="2581887"/>
            <a:chExt cx="5051622" cy="847113"/>
          </a:xfrm>
        </p:grpSpPr>
        <p:sp>
          <p:nvSpPr>
            <p:cNvPr id="825" name="Rounded Rectangle">
              <a:extLst>
                <a:ext uri="{FF2B5EF4-FFF2-40B4-BE49-F238E27FC236}">
                  <a16:creationId xmlns:a16="http://schemas.microsoft.com/office/drawing/2014/main" id="{0833C08C-D9AA-4549-BB44-CEEC65D4CEC0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26" name="Motion design">
              <a:extLst>
                <a:ext uri="{FF2B5EF4-FFF2-40B4-BE49-F238E27FC236}">
                  <a16:creationId xmlns:a16="http://schemas.microsoft.com/office/drawing/2014/main" id="{1A4D6E17-73B2-4EF0-B20F-527DBDC05289}"/>
                </a:ext>
              </a:extLst>
            </p:cNvPr>
            <p:cNvSpPr txBox="1"/>
            <p:nvPr/>
          </p:nvSpPr>
          <p:spPr>
            <a:xfrm>
              <a:off x="7434559" y="2867383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 err="1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едупликация</a:t>
              </a:r>
              <a:endParaRPr lang="ru-RU" sz="1400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sp>
          <p:nvSpPr>
            <p:cNvPr id="827" name="Circle">
              <a:extLst>
                <a:ext uri="{FF2B5EF4-FFF2-40B4-BE49-F238E27FC236}">
                  <a16:creationId xmlns:a16="http://schemas.microsoft.com/office/drawing/2014/main" id="{FE191819-7345-4123-A0E0-287D67546CB3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28" name="Рисунок 827">
              <a:extLst>
                <a:ext uri="{FF2B5EF4-FFF2-40B4-BE49-F238E27FC236}">
                  <a16:creationId xmlns:a16="http://schemas.microsoft.com/office/drawing/2014/main" id="{F49B236B-182F-48BC-82F6-C64D139B3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776527" y="2838729"/>
              <a:ext cx="344999" cy="344999"/>
            </a:xfrm>
            <a:prstGeom prst="rect">
              <a:avLst/>
            </a:prstGeom>
          </p:spPr>
        </p:pic>
      </p:grpSp>
      <p:grpSp>
        <p:nvGrpSpPr>
          <p:cNvPr id="829" name="Группа 828">
            <a:extLst>
              <a:ext uri="{FF2B5EF4-FFF2-40B4-BE49-F238E27FC236}">
                <a16:creationId xmlns:a16="http://schemas.microsoft.com/office/drawing/2014/main" id="{29086BD1-C5D1-4A17-9567-DAF4D6FE0129}"/>
              </a:ext>
            </a:extLst>
          </p:cNvPr>
          <p:cNvGrpSpPr/>
          <p:nvPr/>
        </p:nvGrpSpPr>
        <p:grpSpPr>
          <a:xfrm>
            <a:off x="-6005829" y="4060899"/>
            <a:ext cx="5051622" cy="847113"/>
            <a:chOff x="6510195" y="3639973"/>
            <a:chExt cx="5051622" cy="847113"/>
          </a:xfrm>
        </p:grpSpPr>
        <p:sp>
          <p:nvSpPr>
            <p:cNvPr id="830" name="Rounded Rectangle">
              <a:extLst>
                <a:ext uri="{FF2B5EF4-FFF2-40B4-BE49-F238E27FC236}">
                  <a16:creationId xmlns:a16="http://schemas.microsoft.com/office/drawing/2014/main" id="{FE38FBDB-5860-4E73-919D-87DB9C078AB4}"/>
                </a:ext>
              </a:extLst>
            </p:cNvPr>
            <p:cNvSpPr/>
            <p:nvPr/>
          </p:nvSpPr>
          <p:spPr>
            <a:xfrm>
              <a:off x="6510195" y="36399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31" name="Motion design">
              <a:extLst>
                <a:ext uri="{FF2B5EF4-FFF2-40B4-BE49-F238E27FC236}">
                  <a16:creationId xmlns:a16="http://schemas.microsoft.com/office/drawing/2014/main" id="{B6F63F94-C509-4705-93CF-D725FC2ABE8F}"/>
                </a:ext>
              </a:extLst>
            </p:cNvPr>
            <p:cNvSpPr txBox="1"/>
            <p:nvPr/>
          </p:nvSpPr>
          <p:spPr>
            <a:xfrm>
              <a:off x="7434559" y="3925470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Золотые карточки</a:t>
              </a:r>
            </a:p>
          </p:txBody>
        </p:sp>
        <p:sp>
          <p:nvSpPr>
            <p:cNvPr id="832" name="Circle">
              <a:extLst>
                <a:ext uri="{FF2B5EF4-FFF2-40B4-BE49-F238E27FC236}">
                  <a16:creationId xmlns:a16="http://schemas.microsoft.com/office/drawing/2014/main" id="{1C58F9D9-AD92-4A1E-98C3-C531D875996E}"/>
                </a:ext>
              </a:extLst>
            </p:cNvPr>
            <p:cNvSpPr/>
            <p:nvPr/>
          </p:nvSpPr>
          <p:spPr>
            <a:xfrm>
              <a:off x="6636379" y="3745862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33" name="Рисунок 832">
              <a:extLst>
                <a:ext uri="{FF2B5EF4-FFF2-40B4-BE49-F238E27FC236}">
                  <a16:creationId xmlns:a16="http://schemas.microsoft.com/office/drawing/2014/main" id="{C34622F5-19FD-4466-BE3D-C00D76932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6768621" y="3935820"/>
              <a:ext cx="378376" cy="249998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91765812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4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4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3730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822" name="Rounded Rectangle">
            <a:extLst>
              <a:ext uri="{FF2B5EF4-FFF2-40B4-BE49-F238E27FC236}">
                <a16:creationId xmlns:a16="http://schemas.microsoft.com/office/drawing/2014/main" id="{E3152C46-022C-4268-B929-9B7389186CAF}"/>
              </a:ext>
            </a:extLst>
          </p:cNvPr>
          <p:cNvSpPr/>
          <p:nvPr/>
        </p:nvSpPr>
        <p:spPr>
          <a:xfrm>
            <a:off x="13087993" y="1783596"/>
            <a:ext cx="4970944" cy="3492567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823" name="Группа 822">
            <a:extLst>
              <a:ext uri="{FF2B5EF4-FFF2-40B4-BE49-F238E27FC236}">
                <a16:creationId xmlns:a16="http://schemas.microsoft.com/office/drawing/2014/main" id="{422BAF63-A507-486F-AEFB-6C0FEFD8C6EE}"/>
              </a:ext>
            </a:extLst>
          </p:cNvPr>
          <p:cNvGrpSpPr/>
          <p:nvPr/>
        </p:nvGrpSpPr>
        <p:grpSpPr>
          <a:xfrm>
            <a:off x="12769227" y="1458262"/>
            <a:ext cx="5051622" cy="847113"/>
            <a:chOff x="6510195" y="1556711"/>
            <a:chExt cx="5051622" cy="847113"/>
          </a:xfrm>
        </p:grpSpPr>
        <p:sp>
          <p:nvSpPr>
            <p:cNvPr id="824" name="Rounded Rectangle">
              <a:extLst>
                <a:ext uri="{FF2B5EF4-FFF2-40B4-BE49-F238E27FC236}">
                  <a16:creationId xmlns:a16="http://schemas.microsoft.com/office/drawing/2014/main" id="{73B26BF4-1821-4D68-A7E6-6CA0FDBA4DD4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25" name="Motion design">
              <a:extLst>
                <a:ext uri="{FF2B5EF4-FFF2-40B4-BE49-F238E27FC236}">
                  <a16:creationId xmlns:a16="http://schemas.microsoft.com/office/drawing/2014/main" id="{8F8499D7-58DC-42D0-A211-010E00652910}"/>
                </a:ext>
              </a:extLst>
            </p:cNvPr>
            <p:cNvSpPr txBox="1"/>
            <p:nvPr/>
          </p:nvSpPr>
          <p:spPr>
            <a:xfrm>
              <a:off x="7434557" y="1842208"/>
              <a:ext cx="369142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ного систем</a:t>
              </a:r>
            </a:p>
          </p:txBody>
        </p:sp>
        <p:sp>
          <p:nvSpPr>
            <p:cNvPr id="826" name="Circle">
              <a:extLst>
                <a:ext uri="{FF2B5EF4-FFF2-40B4-BE49-F238E27FC236}">
                  <a16:creationId xmlns:a16="http://schemas.microsoft.com/office/drawing/2014/main" id="{5C0FDF63-975B-4A01-A324-15F4BEA239C4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27" name="Рисунок 826">
              <a:extLst>
                <a:ext uri="{FF2B5EF4-FFF2-40B4-BE49-F238E27FC236}">
                  <a16:creationId xmlns:a16="http://schemas.microsoft.com/office/drawing/2014/main" id="{B484DF26-C47D-4622-A0AE-1BBCBA277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828" name="Группа 827">
            <a:extLst>
              <a:ext uri="{FF2B5EF4-FFF2-40B4-BE49-F238E27FC236}">
                <a16:creationId xmlns:a16="http://schemas.microsoft.com/office/drawing/2014/main" id="{EF5698DA-4F68-44CB-B783-D34D044141D9}"/>
              </a:ext>
            </a:extLst>
          </p:cNvPr>
          <p:cNvGrpSpPr/>
          <p:nvPr/>
        </p:nvGrpSpPr>
        <p:grpSpPr>
          <a:xfrm>
            <a:off x="12769227" y="2483438"/>
            <a:ext cx="5051622" cy="847113"/>
            <a:chOff x="6510195" y="2581887"/>
            <a:chExt cx="5051622" cy="847113"/>
          </a:xfrm>
        </p:grpSpPr>
        <p:sp>
          <p:nvSpPr>
            <p:cNvPr id="829" name="Rounded Rectangle">
              <a:extLst>
                <a:ext uri="{FF2B5EF4-FFF2-40B4-BE49-F238E27FC236}">
                  <a16:creationId xmlns:a16="http://schemas.microsoft.com/office/drawing/2014/main" id="{C5ABB7BD-BDEA-406B-8483-052A7E033FE1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30" name="Motion design">
              <a:extLst>
                <a:ext uri="{FF2B5EF4-FFF2-40B4-BE49-F238E27FC236}">
                  <a16:creationId xmlns:a16="http://schemas.microsoft.com/office/drawing/2014/main" id="{0D66D98B-6B92-43C6-A94B-E7DF3B0C091C}"/>
                </a:ext>
              </a:extLst>
            </p:cNvPr>
            <p:cNvSpPr txBox="1"/>
            <p:nvPr/>
          </p:nvSpPr>
          <p:spPr>
            <a:xfrm>
              <a:off x="7434559" y="2867383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убликаты</a:t>
              </a:r>
            </a:p>
          </p:txBody>
        </p:sp>
        <p:sp>
          <p:nvSpPr>
            <p:cNvPr id="831" name="Circle">
              <a:extLst>
                <a:ext uri="{FF2B5EF4-FFF2-40B4-BE49-F238E27FC236}">
                  <a16:creationId xmlns:a16="http://schemas.microsoft.com/office/drawing/2014/main" id="{F464B225-4B07-4E97-8D6F-78F416D1F115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32" name="Рисунок 411">
              <a:extLst>
                <a:ext uri="{FF2B5EF4-FFF2-40B4-BE49-F238E27FC236}">
                  <a16:creationId xmlns:a16="http://schemas.microsoft.com/office/drawing/2014/main" id="{6F78B853-B6EB-458B-83F9-3D16BC1E1265}"/>
                </a:ext>
              </a:extLst>
            </p:cNvPr>
            <p:cNvSpPr/>
            <p:nvPr/>
          </p:nvSpPr>
          <p:spPr>
            <a:xfrm>
              <a:off x="6793956" y="2855978"/>
              <a:ext cx="310319" cy="310498"/>
            </a:xfrm>
            <a:custGeom>
              <a:avLst/>
              <a:gdLst>
                <a:gd name="connsiteX0" fmla="*/ 103231 w 310319"/>
                <a:gd name="connsiteY0" fmla="*/ 103018 h 310498"/>
                <a:gd name="connsiteX1" fmla="*/ 103231 w 310319"/>
                <a:gd name="connsiteY1" fmla="*/ 54718 h 310498"/>
                <a:gd name="connsiteX2" fmla="*/ 107026 w 310319"/>
                <a:gd name="connsiteY2" fmla="*/ 18315 h 310498"/>
                <a:gd name="connsiteX3" fmla="*/ 122028 w 310319"/>
                <a:gd name="connsiteY3" fmla="*/ 3313 h 310498"/>
                <a:gd name="connsiteX4" fmla="*/ 158431 w 310319"/>
                <a:gd name="connsiteY4" fmla="*/ -482 h 310498"/>
                <a:gd name="connsiteX5" fmla="*/ 255030 w 310319"/>
                <a:gd name="connsiteY5" fmla="*/ -482 h 310498"/>
                <a:gd name="connsiteX6" fmla="*/ 291433 w 310319"/>
                <a:gd name="connsiteY6" fmla="*/ 3313 h 310498"/>
                <a:gd name="connsiteX7" fmla="*/ 306435 w 310319"/>
                <a:gd name="connsiteY7" fmla="*/ 18315 h 310498"/>
                <a:gd name="connsiteX8" fmla="*/ 310230 w 310319"/>
                <a:gd name="connsiteY8" fmla="*/ 54718 h 310498"/>
                <a:gd name="connsiteX9" fmla="*/ 310230 w 310319"/>
                <a:gd name="connsiteY9" fmla="*/ 151318 h 310498"/>
                <a:gd name="connsiteX10" fmla="*/ 306435 w 310319"/>
                <a:gd name="connsiteY10" fmla="*/ 187720 h 310498"/>
                <a:gd name="connsiteX11" fmla="*/ 291433 w 310319"/>
                <a:gd name="connsiteY11" fmla="*/ 202723 h 310498"/>
                <a:gd name="connsiteX12" fmla="*/ 255208 w 310319"/>
                <a:gd name="connsiteY12" fmla="*/ 206518 h 310498"/>
                <a:gd name="connsiteX13" fmla="*/ 206908 w 310319"/>
                <a:gd name="connsiteY13" fmla="*/ 206518 h 310498"/>
                <a:gd name="connsiteX14" fmla="*/ 103409 w 310319"/>
                <a:gd name="connsiteY14" fmla="*/ 103018 h 310498"/>
                <a:gd name="connsiteX15" fmla="*/ 55111 w 310319"/>
                <a:gd name="connsiteY15" fmla="*/ 103018 h 310498"/>
                <a:gd name="connsiteX16" fmla="*/ 18706 w 310319"/>
                <a:gd name="connsiteY16" fmla="*/ 106813 h 310498"/>
                <a:gd name="connsiteX17" fmla="*/ 3692 w 310319"/>
                <a:gd name="connsiteY17" fmla="*/ 121815 h 310498"/>
                <a:gd name="connsiteX18" fmla="*/ -89 w 310319"/>
                <a:gd name="connsiteY18" fmla="*/ 158217 h 310498"/>
                <a:gd name="connsiteX19" fmla="*/ -89 w 310319"/>
                <a:gd name="connsiteY19" fmla="*/ 254817 h 310498"/>
                <a:gd name="connsiteX20" fmla="*/ 3692 w 310319"/>
                <a:gd name="connsiteY20" fmla="*/ 291220 h 310498"/>
                <a:gd name="connsiteX21" fmla="*/ 18706 w 310319"/>
                <a:gd name="connsiteY21" fmla="*/ 306222 h 310498"/>
                <a:gd name="connsiteX22" fmla="*/ 55111 w 310319"/>
                <a:gd name="connsiteY22" fmla="*/ 310017 h 310498"/>
                <a:gd name="connsiteX23" fmla="*/ 151876 w 310319"/>
                <a:gd name="connsiteY23" fmla="*/ 310017 h 310498"/>
                <a:gd name="connsiteX24" fmla="*/ 188101 w 310319"/>
                <a:gd name="connsiteY24" fmla="*/ 306222 h 310498"/>
                <a:gd name="connsiteX25" fmla="*/ 203103 w 310319"/>
                <a:gd name="connsiteY25" fmla="*/ 291220 h 310498"/>
                <a:gd name="connsiteX26" fmla="*/ 206908 w 310319"/>
                <a:gd name="connsiteY26" fmla="*/ 254995 h 310498"/>
                <a:gd name="connsiteX27" fmla="*/ 206908 w 310319"/>
                <a:gd name="connsiteY27" fmla="*/ 206695 h 310498"/>
                <a:gd name="connsiteX28" fmla="*/ 103409 w 310319"/>
                <a:gd name="connsiteY28" fmla="*/ 103195 h 310498"/>
                <a:gd name="connsiteX29" fmla="*/ 151708 w 310319"/>
                <a:gd name="connsiteY29" fmla="*/ 103195 h 310498"/>
                <a:gd name="connsiteX30" fmla="*/ 188101 w 310319"/>
                <a:gd name="connsiteY30" fmla="*/ 106990 h 310498"/>
                <a:gd name="connsiteX31" fmla="*/ 203103 w 310319"/>
                <a:gd name="connsiteY31" fmla="*/ 121993 h 310498"/>
                <a:gd name="connsiteX32" fmla="*/ 206908 w 310319"/>
                <a:gd name="connsiteY32" fmla="*/ 158395 h 310498"/>
                <a:gd name="connsiteX33" fmla="*/ 206908 w 310319"/>
                <a:gd name="connsiteY33" fmla="*/ 206695 h 31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0319" h="310498">
                  <a:moveTo>
                    <a:pt x="103231" y="103018"/>
                  </a:moveTo>
                  <a:lnTo>
                    <a:pt x="103231" y="54718"/>
                  </a:lnTo>
                  <a:cubicBezTo>
                    <a:pt x="103231" y="35398"/>
                    <a:pt x="103231" y="25738"/>
                    <a:pt x="107026" y="18315"/>
                  </a:cubicBezTo>
                  <a:cubicBezTo>
                    <a:pt x="110309" y="11771"/>
                    <a:pt x="115651" y="6596"/>
                    <a:pt x="122028" y="3313"/>
                  </a:cubicBezTo>
                  <a:cubicBezTo>
                    <a:pt x="129451" y="-482"/>
                    <a:pt x="139111" y="-482"/>
                    <a:pt x="158431" y="-482"/>
                  </a:cubicBezTo>
                  <a:lnTo>
                    <a:pt x="255030" y="-482"/>
                  </a:lnTo>
                  <a:cubicBezTo>
                    <a:pt x="274350" y="-482"/>
                    <a:pt x="284010" y="-482"/>
                    <a:pt x="291433" y="3313"/>
                  </a:cubicBezTo>
                  <a:cubicBezTo>
                    <a:pt x="297978" y="6596"/>
                    <a:pt x="303153" y="11938"/>
                    <a:pt x="306435" y="18315"/>
                  </a:cubicBezTo>
                  <a:cubicBezTo>
                    <a:pt x="310230" y="25738"/>
                    <a:pt x="310230" y="35398"/>
                    <a:pt x="310230" y="54718"/>
                  </a:cubicBezTo>
                  <a:lnTo>
                    <a:pt x="310230" y="151318"/>
                  </a:lnTo>
                  <a:cubicBezTo>
                    <a:pt x="310230" y="170638"/>
                    <a:pt x="310230" y="180297"/>
                    <a:pt x="306435" y="187720"/>
                  </a:cubicBezTo>
                  <a:cubicBezTo>
                    <a:pt x="303153" y="194265"/>
                    <a:pt x="297810" y="199440"/>
                    <a:pt x="291433" y="202723"/>
                  </a:cubicBezTo>
                  <a:cubicBezTo>
                    <a:pt x="284010" y="206518"/>
                    <a:pt x="274350" y="206518"/>
                    <a:pt x="255208" y="206518"/>
                  </a:cubicBezTo>
                  <a:lnTo>
                    <a:pt x="206908" y="206518"/>
                  </a:lnTo>
                  <a:moveTo>
                    <a:pt x="103409" y="103018"/>
                  </a:moveTo>
                  <a:lnTo>
                    <a:pt x="55111" y="103018"/>
                  </a:lnTo>
                  <a:cubicBezTo>
                    <a:pt x="35778" y="103018"/>
                    <a:pt x="26117" y="103018"/>
                    <a:pt x="18706" y="106813"/>
                  </a:cubicBezTo>
                  <a:cubicBezTo>
                    <a:pt x="12152" y="110095"/>
                    <a:pt x="6977" y="115438"/>
                    <a:pt x="3692" y="121815"/>
                  </a:cubicBezTo>
                  <a:cubicBezTo>
                    <a:pt x="-89" y="129238"/>
                    <a:pt x="-89" y="138898"/>
                    <a:pt x="-89" y="158217"/>
                  </a:cubicBezTo>
                  <a:lnTo>
                    <a:pt x="-89" y="254817"/>
                  </a:lnTo>
                  <a:cubicBezTo>
                    <a:pt x="-89" y="274137"/>
                    <a:pt x="-89" y="283797"/>
                    <a:pt x="3692" y="291220"/>
                  </a:cubicBezTo>
                  <a:cubicBezTo>
                    <a:pt x="6977" y="297764"/>
                    <a:pt x="12317" y="302939"/>
                    <a:pt x="18706" y="306222"/>
                  </a:cubicBezTo>
                  <a:cubicBezTo>
                    <a:pt x="26117" y="310017"/>
                    <a:pt x="35778" y="310017"/>
                    <a:pt x="55111" y="310017"/>
                  </a:cubicBezTo>
                  <a:lnTo>
                    <a:pt x="151876" y="310017"/>
                  </a:lnTo>
                  <a:cubicBezTo>
                    <a:pt x="171196" y="310017"/>
                    <a:pt x="180856" y="310017"/>
                    <a:pt x="188101" y="306222"/>
                  </a:cubicBezTo>
                  <a:cubicBezTo>
                    <a:pt x="194656" y="302939"/>
                    <a:pt x="199831" y="297597"/>
                    <a:pt x="203103" y="291220"/>
                  </a:cubicBezTo>
                  <a:cubicBezTo>
                    <a:pt x="206908" y="283797"/>
                    <a:pt x="206908" y="274137"/>
                    <a:pt x="206908" y="254995"/>
                  </a:cubicBezTo>
                  <a:lnTo>
                    <a:pt x="206908" y="206695"/>
                  </a:lnTo>
                  <a:moveTo>
                    <a:pt x="103409" y="103195"/>
                  </a:moveTo>
                  <a:lnTo>
                    <a:pt x="151708" y="103195"/>
                  </a:lnTo>
                  <a:cubicBezTo>
                    <a:pt x="171018" y="103195"/>
                    <a:pt x="180678" y="103195"/>
                    <a:pt x="188101" y="106990"/>
                  </a:cubicBezTo>
                  <a:cubicBezTo>
                    <a:pt x="194656" y="110263"/>
                    <a:pt x="199831" y="115616"/>
                    <a:pt x="203103" y="121993"/>
                  </a:cubicBezTo>
                  <a:cubicBezTo>
                    <a:pt x="206908" y="129416"/>
                    <a:pt x="206908" y="139065"/>
                    <a:pt x="206908" y="158395"/>
                  </a:cubicBezTo>
                  <a:lnTo>
                    <a:pt x="206908" y="206695"/>
                  </a:lnTo>
                </a:path>
              </a:pathLst>
            </a:custGeom>
            <a:noFill/>
            <a:ln w="2222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33" name="Группа 832">
            <a:extLst>
              <a:ext uri="{FF2B5EF4-FFF2-40B4-BE49-F238E27FC236}">
                <a16:creationId xmlns:a16="http://schemas.microsoft.com/office/drawing/2014/main" id="{1D8EE375-6ACB-426A-A84D-CBD828FC8AF2}"/>
              </a:ext>
            </a:extLst>
          </p:cNvPr>
          <p:cNvGrpSpPr/>
          <p:nvPr/>
        </p:nvGrpSpPr>
        <p:grpSpPr>
          <a:xfrm>
            <a:off x="12769227" y="3541524"/>
            <a:ext cx="5051622" cy="847113"/>
            <a:chOff x="6510195" y="3639973"/>
            <a:chExt cx="5051622" cy="847113"/>
          </a:xfrm>
        </p:grpSpPr>
        <p:sp>
          <p:nvSpPr>
            <p:cNvPr id="834" name="Rounded Rectangle">
              <a:extLst>
                <a:ext uri="{FF2B5EF4-FFF2-40B4-BE49-F238E27FC236}">
                  <a16:creationId xmlns:a16="http://schemas.microsoft.com/office/drawing/2014/main" id="{23CB3DF4-4511-49AE-BE70-F044DEC63E3A}"/>
                </a:ext>
              </a:extLst>
            </p:cNvPr>
            <p:cNvSpPr/>
            <p:nvPr/>
          </p:nvSpPr>
          <p:spPr>
            <a:xfrm>
              <a:off x="6510195" y="36399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35" name="Motion design">
              <a:extLst>
                <a:ext uri="{FF2B5EF4-FFF2-40B4-BE49-F238E27FC236}">
                  <a16:creationId xmlns:a16="http://schemas.microsoft.com/office/drawing/2014/main" id="{B61EA1D6-7AFD-4C1A-8249-A1A33E5167C1}"/>
                </a:ext>
              </a:extLst>
            </p:cNvPr>
            <p:cNvSpPr txBox="1"/>
            <p:nvPr/>
          </p:nvSpPr>
          <p:spPr>
            <a:xfrm>
              <a:off x="7434559" y="3925470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Межсистемные связи </a:t>
              </a:r>
            </a:p>
          </p:txBody>
        </p:sp>
        <p:sp>
          <p:nvSpPr>
            <p:cNvPr id="836" name="Circle">
              <a:extLst>
                <a:ext uri="{FF2B5EF4-FFF2-40B4-BE49-F238E27FC236}">
                  <a16:creationId xmlns:a16="http://schemas.microsoft.com/office/drawing/2014/main" id="{03F2BF2B-8E46-473B-9475-16982364E24E}"/>
                </a:ext>
              </a:extLst>
            </p:cNvPr>
            <p:cNvSpPr/>
            <p:nvPr/>
          </p:nvSpPr>
          <p:spPr>
            <a:xfrm>
              <a:off x="6636379" y="37458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37" name="Рисунок 416">
              <a:extLst>
                <a:ext uri="{FF2B5EF4-FFF2-40B4-BE49-F238E27FC236}">
                  <a16:creationId xmlns:a16="http://schemas.microsoft.com/office/drawing/2014/main" id="{96237968-CAF0-451D-B95C-973F25E938F5}"/>
                </a:ext>
              </a:extLst>
            </p:cNvPr>
            <p:cNvSpPr/>
            <p:nvPr/>
          </p:nvSpPr>
          <p:spPr>
            <a:xfrm>
              <a:off x="6827214" y="3980041"/>
              <a:ext cx="261188" cy="161551"/>
            </a:xfrm>
            <a:custGeom>
              <a:avLst/>
              <a:gdLst>
                <a:gd name="connsiteX0" fmla="*/ 159615 w 261188"/>
                <a:gd name="connsiteY0" fmla="*/ 124836 h 161551"/>
                <a:gd name="connsiteX1" fmla="*/ 261188 w 261188"/>
                <a:gd name="connsiteY1" fmla="*/ 124836 h 161551"/>
                <a:gd name="connsiteX2" fmla="*/ 0 w 261188"/>
                <a:gd name="connsiteY2" fmla="*/ 124836 h 161551"/>
                <a:gd name="connsiteX3" fmla="*/ 29021 w 261188"/>
                <a:gd name="connsiteY3" fmla="*/ 124836 h 161551"/>
                <a:gd name="connsiteX4" fmla="*/ 29021 w 261188"/>
                <a:gd name="connsiteY4" fmla="*/ 124836 h 161551"/>
                <a:gd name="connsiteX5" fmla="*/ 65297 w 261188"/>
                <a:gd name="connsiteY5" fmla="*/ 161552 h 161551"/>
                <a:gd name="connsiteX6" fmla="*/ 101573 w 261188"/>
                <a:gd name="connsiteY6" fmla="*/ 124836 h 161551"/>
                <a:gd name="connsiteX7" fmla="*/ 65297 w 261188"/>
                <a:gd name="connsiteY7" fmla="*/ 88119 h 161551"/>
                <a:gd name="connsiteX8" fmla="*/ 29021 w 261188"/>
                <a:gd name="connsiteY8" fmla="*/ 124836 h 161551"/>
                <a:gd name="connsiteX9" fmla="*/ 246678 w 261188"/>
                <a:gd name="connsiteY9" fmla="*/ 36716 h 161551"/>
                <a:gd name="connsiteX10" fmla="*/ 261188 w 261188"/>
                <a:gd name="connsiteY10" fmla="*/ 36716 h 161551"/>
                <a:gd name="connsiteX11" fmla="*/ 0 w 261188"/>
                <a:gd name="connsiteY11" fmla="*/ 36716 h 161551"/>
                <a:gd name="connsiteX12" fmla="*/ 101573 w 261188"/>
                <a:gd name="connsiteY12" fmla="*/ 36716 h 161551"/>
                <a:gd name="connsiteX13" fmla="*/ 195891 w 261188"/>
                <a:gd name="connsiteY13" fmla="*/ 73433 h 161551"/>
                <a:gd name="connsiteX14" fmla="*/ 159615 w 261188"/>
                <a:gd name="connsiteY14" fmla="*/ 36716 h 161551"/>
                <a:gd name="connsiteX15" fmla="*/ 195891 w 261188"/>
                <a:gd name="connsiteY15" fmla="*/ 0 h 161551"/>
                <a:gd name="connsiteX16" fmla="*/ 232167 w 261188"/>
                <a:gd name="connsiteY16" fmla="*/ 36716 h 161551"/>
                <a:gd name="connsiteX17" fmla="*/ 195891 w 261188"/>
                <a:gd name="connsiteY17" fmla="*/ 73433 h 16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1188" h="161551">
                  <a:moveTo>
                    <a:pt x="159615" y="124836"/>
                  </a:moveTo>
                  <a:lnTo>
                    <a:pt x="261188" y="124836"/>
                  </a:lnTo>
                  <a:moveTo>
                    <a:pt x="0" y="124836"/>
                  </a:moveTo>
                  <a:lnTo>
                    <a:pt x="29021" y="124836"/>
                  </a:lnTo>
                  <a:moveTo>
                    <a:pt x="29021" y="124836"/>
                  </a:moveTo>
                  <a:cubicBezTo>
                    <a:pt x="29021" y="145103"/>
                    <a:pt x="45273" y="161552"/>
                    <a:pt x="65297" y="161552"/>
                  </a:cubicBezTo>
                  <a:cubicBezTo>
                    <a:pt x="85321" y="161552"/>
                    <a:pt x="101573" y="145103"/>
                    <a:pt x="101573" y="124836"/>
                  </a:cubicBezTo>
                  <a:cubicBezTo>
                    <a:pt x="101573" y="104568"/>
                    <a:pt x="85321" y="88119"/>
                    <a:pt x="65297" y="88119"/>
                  </a:cubicBezTo>
                  <a:cubicBezTo>
                    <a:pt x="45273" y="88119"/>
                    <a:pt x="29021" y="104568"/>
                    <a:pt x="29021" y="124836"/>
                  </a:cubicBezTo>
                  <a:close/>
                  <a:moveTo>
                    <a:pt x="246678" y="36716"/>
                  </a:moveTo>
                  <a:lnTo>
                    <a:pt x="261188" y="36716"/>
                  </a:lnTo>
                  <a:moveTo>
                    <a:pt x="0" y="36716"/>
                  </a:moveTo>
                  <a:lnTo>
                    <a:pt x="101573" y="36716"/>
                  </a:lnTo>
                  <a:moveTo>
                    <a:pt x="195891" y="73433"/>
                  </a:moveTo>
                  <a:cubicBezTo>
                    <a:pt x="175867" y="73433"/>
                    <a:pt x="159615" y="56984"/>
                    <a:pt x="159615" y="36716"/>
                  </a:cubicBezTo>
                  <a:cubicBezTo>
                    <a:pt x="159615" y="16449"/>
                    <a:pt x="175867" y="0"/>
                    <a:pt x="195891" y="0"/>
                  </a:cubicBezTo>
                  <a:cubicBezTo>
                    <a:pt x="215916" y="0"/>
                    <a:pt x="232167" y="16449"/>
                    <a:pt x="232167" y="36716"/>
                  </a:cubicBezTo>
                  <a:cubicBezTo>
                    <a:pt x="232167" y="56984"/>
                    <a:pt x="215916" y="73433"/>
                    <a:pt x="195891" y="73433"/>
                  </a:cubicBezTo>
                  <a:close/>
                </a:path>
              </a:pathLst>
            </a:custGeom>
            <a:noFill/>
            <a:ln w="2222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38" name="Группа 837">
            <a:extLst>
              <a:ext uri="{FF2B5EF4-FFF2-40B4-BE49-F238E27FC236}">
                <a16:creationId xmlns:a16="http://schemas.microsoft.com/office/drawing/2014/main" id="{F46AB098-BF3D-4B13-B797-B1D52B4E31A1}"/>
              </a:ext>
            </a:extLst>
          </p:cNvPr>
          <p:cNvGrpSpPr/>
          <p:nvPr/>
        </p:nvGrpSpPr>
        <p:grpSpPr>
          <a:xfrm>
            <a:off x="12769227" y="4591114"/>
            <a:ext cx="5051622" cy="847113"/>
            <a:chOff x="6510195" y="4689563"/>
            <a:chExt cx="5051622" cy="847113"/>
          </a:xfrm>
        </p:grpSpPr>
        <p:sp>
          <p:nvSpPr>
            <p:cNvPr id="839" name="Rounded Rectangle">
              <a:extLst>
                <a:ext uri="{FF2B5EF4-FFF2-40B4-BE49-F238E27FC236}">
                  <a16:creationId xmlns:a16="http://schemas.microsoft.com/office/drawing/2014/main" id="{61208201-136F-4422-8C14-A16BAE5DC47D}"/>
                </a:ext>
              </a:extLst>
            </p:cNvPr>
            <p:cNvSpPr/>
            <p:nvPr/>
          </p:nvSpPr>
          <p:spPr>
            <a:xfrm>
              <a:off x="6510195" y="468956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40" name="Motion design">
              <a:extLst>
                <a:ext uri="{FF2B5EF4-FFF2-40B4-BE49-F238E27FC236}">
                  <a16:creationId xmlns:a16="http://schemas.microsoft.com/office/drawing/2014/main" id="{34E06E9E-3018-48F1-ACB3-9C96BE54410E}"/>
                </a:ext>
              </a:extLst>
            </p:cNvPr>
            <p:cNvSpPr txBox="1"/>
            <p:nvPr/>
          </p:nvSpPr>
          <p:spPr>
            <a:xfrm>
              <a:off x="7434559" y="4975061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роблемы с синхронизацией данных </a:t>
              </a:r>
            </a:p>
          </p:txBody>
        </p:sp>
        <p:sp>
          <p:nvSpPr>
            <p:cNvPr id="841" name="Circle">
              <a:extLst>
                <a:ext uri="{FF2B5EF4-FFF2-40B4-BE49-F238E27FC236}">
                  <a16:creationId xmlns:a16="http://schemas.microsoft.com/office/drawing/2014/main" id="{2BF008BA-EEDE-45E6-84D8-E80D4A199EAC}"/>
                </a:ext>
              </a:extLst>
            </p:cNvPr>
            <p:cNvSpPr/>
            <p:nvPr/>
          </p:nvSpPr>
          <p:spPr>
            <a:xfrm>
              <a:off x="6636379" y="479545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42" name="Рисунок 841">
              <a:extLst>
                <a:ext uri="{FF2B5EF4-FFF2-40B4-BE49-F238E27FC236}">
                  <a16:creationId xmlns:a16="http://schemas.microsoft.com/office/drawing/2014/main" id="{39761678-B979-4746-9D67-FF03EC4FA5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6812513" y="4952982"/>
              <a:ext cx="290591" cy="330218"/>
            </a:xfrm>
            <a:prstGeom prst="rect">
              <a:avLst/>
            </a:prstGeom>
          </p:spPr>
        </p:pic>
      </p:grpSp>
      <p:pic>
        <p:nvPicPr>
          <p:cNvPr id="1015" name="Рисунок 1014">
            <a:extLst>
              <a:ext uri="{FF2B5EF4-FFF2-40B4-BE49-F238E27FC236}">
                <a16:creationId xmlns:a16="http://schemas.microsoft.com/office/drawing/2014/main" id="{5399BF01-33A0-4E42-8643-270EEF4B610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400000">
            <a:off x="6365533" y="2807816"/>
            <a:ext cx="707460" cy="1242368"/>
          </a:xfrm>
          <a:prstGeom prst="rect">
            <a:avLst/>
          </a:prstGeom>
        </p:spPr>
      </p:pic>
      <p:grpSp>
        <p:nvGrpSpPr>
          <p:cNvPr id="423" name="CRM">
            <a:extLst>
              <a:ext uri="{FF2B5EF4-FFF2-40B4-BE49-F238E27FC236}">
                <a16:creationId xmlns:a16="http://schemas.microsoft.com/office/drawing/2014/main" id="{A3F61585-39DA-4C2E-AF33-B57587D040AE}"/>
              </a:ext>
            </a:extLst>
          </p:cNvPr>
          <p:cNvGrpSpPr/>
          <p:nvPr/>
        </p:nvGrpSpPr>
        <p:grpSpPr>
          <a:xfrm>
            <a:off x="538173" y="2220009"/>
            <a:ext cx="1728864" cy="1925642"/>
            <a:chOff x="2450726" y="1495697"/>
            <a:chExt cx="2224863" cy="2478094"/>
          </a:xfrm>
        </p:grpSpPr>
        <p:sp>
          <p:nvSpPr>
            <p:cNvPr id="424" name="Shape_фон">
              <a:extLst>
                <a:ext uri="{FF2B5EF4-FFF2-40B4-BE49-F238E27FC236}">
                  <a16:creationId xmlns:a16="http://schemas.microsoft.com/office/drawing/2014/main" id="{7878CDE7-F528-408C-87CD-39749D6BBA12}"/>
                </a:ext>
              </a:extLst>
            </p:cNvPr>
            <p:cNvSpPr/>
            <p:nvPr/>
          </p:nvSpPr>
          <p:spPr>
            <a:xfrm>
              <a:off x="2450726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5" name="Описание">
              <a:extLst>
                <a:ext uri="{FF2B5EF4-FFF2-40B4-BE49-F238E27FC236}">
                  <a16:creationId xmlns:a16="http://schemas.microsoft.com/office/drawing/2014/main" id="{DFFCD45F-9501-4B00-B673-679611028C43}"/>
                </a:ext>
              </a:extLst>
            </p:cNvPr>
            <p:cNvSpPr txBox="1"/>
            <p:nvPr/>
          </p:nvSpPr>
          <p:spPr>
            <a:xfrm>
              <a:off x="3195757" y="1661541"/>
              <a:ext cx="734803" cy="3960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426" name="Группа 425">
              <a:extLst>
                <a:ext uri="{FF2B5EF4-FFF2-40B4-BE49-F238E27FC236}">
                  <a16:creationId xmlns:a16="http://schemas.microsoft.com/office/drawing/2014/main" id="{E843A88F-BF01-4D9A-B2C4-225A4BC4E112}"/>
                </a:ext>
              </a:extLst>
            </p:cNvPr>
            <p:cNvGrpSpPr/>
            <p:nvPr/>
          </p:nvGrpSpPr>
          <p:grpSpPr>
            <a:xfrm>
              <a:off x="2602581" y="2185291"/>
              <a:ext cx="1823301" cy="295269"/>
              <a:chOff x="2554158" y="1493927"/>
              <a:chExt cx="3536455" cy="572700"/>
            </a:xfrm>
          </p:grpSpPr>
          <p:sp>
            <p:nvSpPr>
              <p:cNvPr id="507" name="Rounded Rectangle">
                <a:extLst>
                  <a:ext uri="{FF2B5EF4-FFF2-40B4-BE49-F238E27FC236}">
                    <a16:creationId xmlns:a16="http://schemas.microsoft.com/office/drawing/2014/main" id="{2001BEB1-3129-43D5-B9AF-B780C191B98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08" name="Market analysis">
                <a:extLst>
                  <a:ext uri="{FF2B5EF4-FFF2-40B4-BE49-F238E27FC236}">
                    <a16:creationId xmlns:a16="http://schemas.microsoft.com/office/drawing/2014/main" id="{0E251291-E46C-4104-88B4-DFD89B1C8EF9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09" name="Группа 508">
                <a:extLst>
                  <a:ext uri="{FF2B5EF4-FFF2-40B4-BE49-F238E27FC236}">
                    <a16:creationId xmlns:a16="http://schemas.microsoft.com/office/drawing/2014/main" id="{A6B1CA66-38E0-4664-8584-8D592CA18A8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10" name="Circle">
                  <a:extLst>
                    <a:ext uri="{FF2B5EF4-FFF2-40B4-BE49-F238E27FC236}">
                      <a16:creationId xmlns:a16="http://schemas.microsoft.com/office/drawing/2014/main" id="{399E168E-8E09-4CDF-840E-91509301C36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11" name="Группа 510">
                  <a:extLst>
                    <a:ext uri="{FF2B5EF4-FFF2-40B4-BE49-F238E27FC236}">
                      <a16:creationId xmlns:a16="http://schemas.microsoft.com/office/drawing/2014/main" id="{DED5F3D6-2998-46C7-86DF-529C63D78D4B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12" name="Полилиния: фигура 511">
                    <a:extLst>
                      <a:ext uri="{FF2B5EF4-FFF2-40B4-BE49-F238E27FC236}">
                        <a16:creationId xmlns:a16="http://schemas.microsoft.com/office/drawing/2014/main" id="{59439FD0-1B63-47A3-B44E-58A09694302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13" name="Карточка 1_Ава">
                    <a:extLst>
                      <a:ext uri="{FF2B5EF4-FFF2-40B4-BE49-F238E27FC236}">
                        <a16:creationId xmlns:a16="http://schemas.microsoft.com/office/drawing/2014/main" id="{550D69D0-E53A-4518-911B-F05875E47F9D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14" name="Карточка 1_Ава">
                      <a:extLst>
                        <a:ext uri="{FF2B5EF4-FFF2-40B4-BE49-F238E27FC236}">
                          <a16:creationId xmlns:a16="http://schemas.microsoft.com/office/drawing/2014/main" id="{CFF179E0-A736-46C1-AC94-F515DD8F71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20" name="Полилиния: фигура 519">
                        <a:extLst>
                          <a:ext uri="{FF2B5EF4-FFF2-40B4-BE49-F238E27FC236}">
                            <a16:creationId xmlns:a16="http://schemas.microsoft.com/office/drawing/2014/main" id="{406D109B-0A15-4879-BE7C-683BE87513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1" name="Полилиния: фигура 520">
                        <a:extLst>
                          <a:ext uri="{FF2B5EF4-FFF2-40B4-BE49-F238E27FC236}">
                            <a16:creationId xmlns:a16="http://schemas.microsoft.com/office/drawing/2014/main" id="{B555FD09-4780-4DA1-838F-03FB857DD3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2" name="Полилиния: фигура 521">
                        <a:extLst>
                          <a:ext uri="{FF2B5EF4-FFF2-40B4-BE49-F238E27FC236}">
                            <a16:creationId xmlns:a16="http://schemas.microsoft.com/office/drawing/2014/main" id="{7F49EE6B-CE61-4AA4-8AAD-0B919A2450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3" name="Полилиния: фигура 522">
                        <a:extLst>
                          <a:ext uri="{FF2B5EF4-FFF2-40B4-BE49-F238E27FC236}">
                            <a16:creationId xmlns:a16="http://schemas.microsoft.com/office/drawing/2014/main" id="{2448845D-7285-48F3-9595-14958E0C95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4" name="Полилиния: фигура 523">
                        <a:extLst>
                          <a:ext uri="{FF2B5EF4-FFF2-40B4-BE49-F238E27FC236}">
                            <a16:creationId xmlns:a16="http://schemas.microsoft.com/office/drawing/2014/main" id="{65D2EA56-B892-4817-97C4-4C635B95D4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5" name="Полилиния: фигура 524">
                        <a:extLst>
                          <a:ext uri="{FF2B5EF4-FFF2-40B4-BE49-F238E27FC236}">
                            <a16:creationId xmlns:a16="http://schemas.microsoft.com/office/drawing/2014/main" id="{FFAD1468-30CB-4A31-A3EE-FA4942AAEA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6" name="Полилиния: фигура 525">
                        <a:extLst>
                          <a:ext uri="{FF2B5EF4-FFF2-40B4-BE49-F238E27FC236}">
                            <a16:creationId xmlns:a16="http://schemas.microsoft.com/office/drawing/2014/main" id="{95E0CE84-451D-4111-A94B-7C66BDB7A7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7" name="Полилиния: фигура 526">
                        <a:extLst>
                          <a:ext uri="{FF2B5EF4-FFF2-40B4-BE49-F238E27FC236}">
                            <a16:creationId xmlns:a16="http://schemas.microsoft.com/office/drawing/2014/main" id="{71E941D3-62BB-4D8E-A233-07A04027DC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8" name="Полилиния: фигура 527">
                        <a:extLst>
                          <a:ext uri="{FF2B5EF4-FFF2-40B4-BE49-F238E27FC236}">
                            <a16:creationId xmlns:a16="http://schemas.microsoft.com/office/drawing/2014/main" id="{E9039AD8-9D63-4305-9DFC-44C19020CC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9" name="Полилиния: фигура 528">
                        <a:extLst>
                          <a:ext uri="{FF2B5EF4-FFF2-40B4-BE49-F238E27FC236}">
                            <a16:creationId xmlns:a16="http://schemas.microsoft.com/office/drawing/2014/main" id="{64AE1832-AF6C-44BE-948C-57F470B9F6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0" name="Полилиния: фигура 529">
                        <a:extLst>
                          <a:ext uri="{FF2B5EF4-FFF2-40B4-BE49-F238E27FC236}">
                            <a16:creationId xmlns:a16="http://schemas.microsoft.com/office/drawing/2014/main" id="{B94DF908-4733-4E4A-8495-8AA1553E0D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1" name="Полилиния: фигура 530">
                        <a:extLst>
                          <a:ext uri="{FF2B5EF4-FFF2-40B4-BE49-F238E27FC236}">
                            <a16:creationId xmlns:a16="http://schemas.microsoft.com/office/drawing/2014/main" id="{9741B104-13B5-491D-9679-5E555D22EE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15" name="Карточка 1_Ава">
                      <a:extLst>
                        <a:ext uri="{FF2B5EF4-FFF2-40B4-BE49-F238E27FC236}">
                          <a16:creationId xmlns:a16="http://schemas.microsoft.com/office/drawing/2014/main" id="{EEC038D0-0EF0-493E-8FCA-EE2C3B648F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16" name="Полилиния: фигура 515">
                        <a:extLst>
                          <a:ext uri="{FF2B5EF4-FFF2-40B4-BE49-F238E27FC236}">
                            <a16:creationId xmlns:a16="http://schemas.microsoft.com/office/drawing/2014/main" id="{F8A372F1-12CF-4B70-AA2A-CADE175D19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7" name="Полилиния: фигура 516">
                        <a:extLst>
                          <a:ext uri="{FF2B5EF4-FFF2-40B4-BE49-F238E27FC236}">
                            <a16:creationId xmlns:a16="http://schemas.microsoft.com/office/drawing/2014/main" id="{63C87A1D-1687-4DF6-B774-F6289F26B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8" name="Полилиния: фигура 517">
                        <a:extLst>
                          <a:ext uri="{FF2B5EF4-FFF2-40B4-BE49-F238E27FC236}">
                            <a16:creationId xmlns:a16="http://schemas.microsoft.com/office/drawing/2014/main" id="{2E17D723-EDE0-4F4C-B68F-7FF282D756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9" name="Полилиния: фигура 518">
                        <a:extLst>
                          <a:ext uri="{FF2B5EF4-FFF2-40B4-BE49-F238E27FC236}">
                            <a16:creationId xmlns:a16="http://schemas.microsoft.com/office/drawing/2014/main" id="{C3DC3479-B0CA-4047-8664-DEA49580C7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7" name="Группа 426">
              <a:extLst>
                <a:ext uri="{FF2B5EF4-FFF2-40B4-BE49-F238E27FC236}">
                  <a16:creationId xmlns:a16="http://schemas.microsoft.com/office/drawing/2014/main" id="{61425FC2-670A-442D-B8B2-A7C30ECB7369}"/>
                </a:ext>
              </a:extLst>
            </p:cNvPr>
            <p:cNvGrpSpPr/>
            <p:nvPr/>
          </p:nvGrpSpPr>
          <p:grpSpPr>
            <a:xfrm>
              <a:off x="2602581" y="3442801"/>
              <a:ext cx="1823301" cy="295269"/>
              <a:chOff x="2554158" y="1493927"/>
              <a:chExt cx="3536455" cy="572700"/>
            </a:xfrm>
          </p:grpSpPr>
          <p:sp>
            <p:nvSpPr>
              <p:cNvPr id="480" name="Rounded Rectangle">
                <a:extLst>
                  <a:ext uri="{FF2B5EF4-FFF2-40B4-BE49-F238E27FC236}">
                    <a16:creationId xmlns:a16="http://schemas.microsoft.com/office/drawing/2014/main" id="{2CA65C8F-03E3-4A6E-9956-D5C92C1B7CD8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81" name="Market analysis">
                <a:extLst>
                  <a:ext uri="{FF2B5EF4-FFF2-40B4-BE49-F238E27FC236}">
                    <a16:creationId xmlns:a16="http://schemas.microsoft.com/office/drawing/2014/main" id="{A99854CA-5B1A-417F-B920-E5524BB96D88}"/>
                  </a:ext>
                </a:extLst>
              </p:cNvPr>
              <p:cNvSpPr txBox="1"/>
              <p:nvPr/>
            </p:nvSpPr>
            <p:spPr>
              <a:xfrm>
                <a:off x="3249623" y="1633528"/>
                <a:ext cx="1727475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82" name="Группа 481">
                <a:extLst>
                  <a:ext uri="{FF2B5EF4-FFF2-40B4-BE49-F238E27FC236}">
                    <a16:creationId xmlns:a16="http://schemas.microsoft.com/office/drawing/2014/main" id="{1CBC767F-1319-40D9-8EB1-79D7E19611F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83" name="Circle">
                  <a:extLst>
                    <a:ext uri="{FF2B5EF4-FFF2-40B4-BE49-F238E27FC236}">
                      <a16:creationId xmlns:a16="http://schemas.microsoft.com/office/drawing/2014/main" id="{456B70BB-2E23-4D60-8471-24B22E13507C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84" name="Группа 483">
                  <a:extLst>
                    <a:ext uri="{FF2B5EF4-FFF2-40B4-BE49-F238E27FC236}">
                      <a16:creationId xmlns:a16="http://schemas.microsoft.com/office/drawing/2014/main" id="{1EF80A3E-FB77-4BA4-AF74-329CE7F770D5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85" name="Полилиния: фигура 484">
                    <a:extLst>
                      <a:ext uri="{FF2B5EF4-FFF2-40B4-BE49-F238E27FC236}">
                        <a16:creationId xmlns:a16="http://schemas.microsoft.com/office/drawing/2014/main" id="{ED2EA330-5487-4310-BC8D-097BAB8E60CA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86" name="Карточка 1_Ава">
                    <a:extLst>
                      <a:ext uri="{FF2B5EF4-FFF2-40B4-BE49-F238E27FC236}">
                        <a16:creationId xmlns:a16="http://schemas.microsoft.com/office/drawing/2014/main" id="{A7F4D18F-8360-4D6E-A772-28244A26BCF7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87" name="Карточка 1_Ава">
                      <a:extLst>
                        <a:ext uri="{FF2B5EF4-FFF2-40B4-BE49-F238E27FC236}">
                          <a16:creationId xmlns:a16="http://schemas.microsoft.com/office/drawing/2014/main" id="{F15F7CBE-CD5A-4629-9E21-47BC09502F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95" name="Полилиния: фигура 494">
                        <a:extLst>
                          <a:ext uri="{FF2B5EF4-FFF2-40B4-BE49-F238E27FC236}">
                            <a16:creationId xmlns:a16="http://schemas.microsoft.com/office/drawing/2014/main" id="{8EE2070B-6468-4256-89D3-984F7A9551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6" name="Полилиния: фигура 495">
                        <a:extLst>
                          <a:ext uri="{FF2B5EF4-FFF2-40B4-BE49-F238E27FC236}">
                            <a16:creationId xmlns:a16="http://schemas.microsoft.com/office/drawing/2014/main" id="{1C761FD0-3143-4F89-A61B-E355D1C5DF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7" name="Полилиния: фигура 496">
                        <a:extLst>
                          <a:ext uri="{FF2B5EF4-FFF2-40B4-BE49-F238E27FC236}">
                            <a16:creationId xmlns:a16="http://schemas.microsoft.com/office/drawing/2014/main" id="{61865543-A961-4CB6-956D-BEC2658AA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8" name="Полилиния: фигура 497">
                        <a:extLst>
                          <a:ext uri="{FF2B5EF4-FFF2-40B4-BE49-F238E27FC236}">
                            <a16:creationId xmlns:a16="http://schemas.microsoft.com/office/drawing/2014/main" id="{307B1BCC-C986-4131-AC97-4B8DACA244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9" name="Полилиния: фигура 498">
                        <a:extLst>
                          <a:ext uri="{FF2B5EF4-FFF2-40B4-BE49-F238E27FC236}">
                            <a16:creationId xmlns:a16="http://schemas.microsoft.com/office/drawing/2014/main" id="{82A96983-3998-4652-8FAE-230CDE6772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0" name="Полилиния: фигура 499">
                        <a:extLst>
                          <a:ext uri="{FF2B5EF4-FFF2-40B4-BE49-F238E27FC236}">
                            <a16:creationId xmlns:a16="http://schemas.microsoft.com/office/drawing/2014/main" id="{63320C22-1DC5-4970-85B0-379B12F592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1" name="Полилиния: фигура 500">
                        <a:extLst>
                          <a:ext uri="{FF2B5EF4-FFF2-40B4-BE49-F238E27FC236}">
                            <a16:creationId xmlns:a16="http://schemas.microsoft.com/office/drawing/2014/main" id="{C1A28B5E-B267-47FD-9248-9A26A90D1B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2" name="Полилиния: фигура 501">
                        <a:extLst>
                          <a:ext uri="{FF2B5EF4-FFF2-40B4-BE49-F238E27FC236}">
                            <a16:creationId xmlns:a16="http://schemas.microsoft.com/office/drawing/2014/main" id="{C94FF993-4AE7-4B79-AC6D-4D500F2285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3" name="Полилиния: фигура 502">
                        <a:extLst>
                          <a:ext uri="{FF2B5EF4-FFF2-40B4-BE49-F238E27FC236}">
                            <a16:creationId xmlns:a16="http://schemas.microsoft.com/office/drawing/2014/main" id="{F6BF10C4-979B-4C43-88DC-6AFEAED388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4" name="Полилиния: фигура 503">
                        <a:extLst>
                          <a:ext uri="{FF2B5EF4-FFF2-40B4-BE49-F238E27FC236}">
                            <a16:creationId xmlns:a16="http://schemas.microsoft.com/office/drawing/2014/main" id="{1766256F-DFEF-43ED-AD6F-35A3696110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5" name="Полилиния: фигура 504">
                        <a:extLst>
                          <a:ext uri="{FF2B5EF4-FFF2-40B4-BE49-F238E27FC236}">
                            <a16:creationId xmlns:a16="http://schemas.microsoft.com/office/drawing/2014/main" id="{60DDAC27-CFC0-4F15-A34C-0766527E32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06" name="Полилиния: фигура 505">
                        <a:extLst>
                          <a:ext uri="{FF2B5EF4-FFF2-40B4-BE49-F238E27FC236}">
                            <a16:creationId xmlns:a16="http://schemas.microsoft.com/office/drawing/2014/main" id="{6E32D738-7CCC-4D45-91B1-5EBBD32CED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88" name="Карточка 1_Ава">
                      <a:extLst>
                        <a:ext uri="{FF2B5EF4-FFF2-40B4-BE49-F238E27FC236}">
                          <a16:creationId xmlns:a16="http://schemas.microsoft.com/office/drawing/2014/main" id="{96AFF877-251A-4D63-8F31-79B5C2D5948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91" name="Полилиния: фигура 490">
                        <a:extLst>
                          <a:ext uri="{FF2B5EF4-FFF2-40B4-BE49-F238E27FC236}">
                            <a16:creationId xmlns:a16="http://schemas.microsoft.com/office/drawing/2014/main" id="{A2E2F93E-CC38-482F-913E-851276A714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2" name="Полилиния: фигура 491">
                        <a:extLst>
                          <a:ext uri="{FF2B5EF4-FFF2-40B4-BE49-F238E27FC236}">
                            <a16:creationId xmlns:a16="http://schemas.microsoft.com/office/drawing/2014/main" id="{84F7B742-0803-463E-9455-75E207CF49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3" name="Полилиния: фигура 492">
                        <a:extLst>
                          <a:ext uri="{FF2B5EF4-FFF2-40B4-BE49-F238E27FC236}">
                            <a16:creationId xmlns:a16="http://schemas.microsoft.com/office/drawing/2014/main" id="{56500E88-A81E-4563-A470-28D61299DF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94" name="Полилиния: фигура 493">
                        <a:extLst>
                          <a:ext uri="{FF2B5EF4-FFF2-40B4-BE49-F238E27FC236}">
                            <a16:creationId xmlns:a16="http://schemas.microsoft.com/office/drawing/2014/main" id="{5BC719B6-BBDC-429C-8AD9-06CDE96475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8" name="Группа 427">
              <a:extLst>
                <a:ext uri="{FF2B5EF4-FFF2-40B4-BE49-F238E27FC236}">
                  <a16:creationId xmlns:a16="http://schemas.microsoft.com/office/drawing/2014/main" id="{3A8651F0-708C-4CA7-9153-E4070D0A0165}"/>
                </a:ext>
              </a:extLst>
            </p:cNvPr>
            <p:cNvGrpSpPr/>
            <p:nvPr/>
          </p:nvGrpSpPr>
          <p:grpSpPr>
            <a:xfrm>
              <a:off x="2602581" y="2604461"/>
              <a:ext cx="1823301" cy="295269"/>
              <a:chOff x="2554158" y="1493927"/>
              <a:chExt cx="3536455" cy="572700"/>
            </a:xfrm>
          </p:grpSpPr>
          <p:sp>
            <p:nvSpPr>
              <p:cNvPr id="455" name="Rounded Rectangle">
                <a:extLst>
                  <a:ext uri="{FF2B5EF4-FFF2-40B4-BE49-F238E27FC236}">
                    <a16:creationId xmlns:a16="http://schemas.microsoft.com/office/drawing/2014/main" id="{FD5C4707-977C-41CE-90F5-D343358D6F8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56" name="Market analysis">
                <a:extLst>
                  <a:ext uri="{FF2B5EF4-FFF2-40B4-BE49-F238E27FC236}">
                    <a16:creationId xmlns:a16="http://schemas.microsoft.com/office/drawing/2014/main" id="{89B1CE1B-A35F-4CEA-93A9-FFFAF94D1E15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57" name="Группа 456">
                <a:extLst>
                  <a:ext uri="{FF2B5EF4-FFF2-40B4-BE49-F238E27FC236}">
                    <a16:creationId xmlns:a16="http://schemas.microsoft.com/office/drawing/2014/main" id="{33F7363E-A732-4BE7-A38F-8635781D1B4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58" name="Circle">
                  <a:extLst>
                    <a:ext uri="{FF2B5EF4-FFF2-40B4-BE49-F238E27FC236}">
                      <a16:creationId xmlns:a16="http://schemas.microsoft.com/office/drawing/2014/main" id="{3B2CC185-F5E5-4C8F-843F-FFB921FFD79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59" name="Группа 458">
                  <a:extLst>
                    <a:ext uri="{FF2B5EF4-FFF2-40B4-BE49-F238E27FC236}">
                      <a16:creationId xmlns:a16="http://schemas.microsoft.com/office/drawing/2014/main" id="{F99CA689-8A92-4E72-9EA5-9644734FD46A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60" name="Полилиния: фигура 459">
                    <a:extLst>
                      <a:ext uri="{FF2B5EF4-FFF2-40B4-BE49-F238E27FC236}">
                        <a16:creationId xmlns:a16="http://schemas.microsoft.com/office/drawing/2014/main" id="{71A9961E-9F16-45C1-861C-DAAFA0664F7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61" name="Карточка 1_Ава">
                    <a:extLst>
                      <a:ext uri="{FF2B5EF4-FFF2-40B4-BE49-F238E27FC236}">
                        <a16:creationId xmlns:a16="http://schemas.microsoft.com/office/drawing/2014/main" id="{DD6F7009-A6CC-48E9-84C3-5118824B11A8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62" name="Карточка 1_Ава">
                      <a:extLst>
                        <a:ext uri="{FF2B5EF4-FFF2-40B4-BE49-F238E27FC236}">
                          <a16:creationId xmlns:a16="http://schemas.microsoft.com/office/drawing/2014/main" id="{BB27BFB3-7B12-43FA-A55A-0F89C7B59F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68" name="Полилиния: фигура 467">
                        <a:extLst>
                          <a:ext uri="{FF2B5EF4-FFF2-40B4-BE49-F238E27FC236}">
                            <a16:creationId xmlns:a16="http://schemas.microsoft.com/office/drawing/2014/main" id="{A326D694-3261-4E71-B817-DB188929B1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9" name="Полилиния: фигура 468">
                        <a:extLst>
                          <a:ext uri="{FF2B5EF4-FFF2-40B4-BE49-F238E27FC236}">
                            <a16:creationId xmlns:a16="http://schemas.microsoft.com/office/drawing/2014/main" id="{FE73562B-4336-4AD5-93A4-599246A39C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0" name="Полилиния: фигура 469">
                        <a:extLst>
                          <a:ext uri="{FF2B5EF4-FFF2-40B4-BE49-F238E27FC236}">
                            <a16:creationId xmlns:a16="http://schemas.microsoft.com/office/drawing/2014/main" id="{94C7FCD3-96C8-4556-BC5B-01930A254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1" name="Полилиния: фигура 470">
                        <a:extLst>
                          <a:ext uri="{FF2B5EF4-FFF2-40B4-BE49-F238E27FC236}">
                            <a16:creationId xmlns:a16="http://schemas.microsoft.com/office/drawing/2014/main" id="{F1E64F4F-CB0D-4864-896F-08FC846FF2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2" name="Полилиния: фигура 471">
                        <a:extLst>
                          <a:ext uri="{FF2B5EF4-FFF2-40B4-BE49-F238E27FC236}">
                            <a16:creationId xmlns:a16="http://schemas.microsoft.com/office/drawing/2014/main" id="{E4416BD4-B57D-4326-A9C3-2ABC138B85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3" name="Полилиния: фигура 472">
                        <a:extLst>
                          <a:ext uri="{FF2B5EF4-FFF2-40B4-BE49-F238E27FC236}">
                            <a16:creationId xmlns:a16="http://schemas.microsoft.com/office/drawing/2014/main" id="{BDDDE06F-6732-4FF1-B2BE-01DC70A0D5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4" name="Полилиния: фигура 473">
                        <a:extLst>
                          <a:ext uri="{FF2B5EF4-FFF2-40B4-BE49-F238E27FC236}">
                            <a16:creationId xmlns:a16="http://schemas.microsoft.com/office/drawing/2014/main" id="{12637B7D-5666-4996-AF00-E6A45F7D9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5" name="Полилиния: фигура 474">
                        <a:extLst>
                          <a:ext uri="{FF2B5EF4-FFF2-40B4-BE49-F238E27FC236}">
                            <a16:creationId xmlns:a16="http://schemas.microsoft.com/office/drawing/2014/main" id="{FC5FDCF0-9B09-4BF7-ACAC-CEF4A71732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6" name="Полилиния: фигура 475">
                        <a:extLst>
                          <a:ext uri="{FF2B5EF4-FFF2-40B4-BE49-F238E27FC236}">
                            <a16:creationId xmlns:a16="http://schemas.microsoft.com/office/drawing/2014/main" id="{E7599BC2-986E-4626-ABE4-F78D5FC7E6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7" name="Полилиния: фигура 476">
                        <a:extLst>
                          <a:ext uri="{FF2B5EF4-FFF2-40B4-BE49-F238E27FC236}">
                            <a16:creationId xmlns:a16="http://schemas.microsoft.com/office/drawing/2014/main" id="{1135FFA8-DDD7-4444-B569-D1BCB8500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8" name="Полилиния: фигура 477">
                        <a:extLst>
                          <a:ext uri="{FF2B5EF4-FFF2-40B4-BE49-F238E27FC236}">
                            <a16:creationId xmlns:a16="http://schemas.microsoft.com/office/drawing/2014/main" id="{1E5135C5-813E-4724-92E6-587FC29FA2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9" name="Полилиния: фигура 478">
                        <a:extLst>
                          <a:ext uri="{FF2B5EF4-FFF2-40B4-BE49-F238E27FC236}">
                            <a16:creationId xmlns:a16="http://schemas.microsoft.com/office/drawing/2014/main" id="{C1A2C35C-6648-43BA-B12B-F7C6827688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63" name="Карточка 1_Ава">
                      <a:extLst>
                        <a:ext uri="{FF2B5EF4-FFF2-40B4-BE49-F238E27FC236}">
                          <a16:creationId xmlns:a16="http://schemas.microsoft.com/office/drawing/2014/main" id="{5CF0686B-CD61-4F53-B7CC-8133CEF7E4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64" name="Полилиния: фигура 463">
                        <a:extLst>
                          <a:ext uri="{FF2B5EF4-FFF2-40B4-BE49-F238E27FC236}">
                            <a16:creationId xmlns:a16="http://schemas.microsoft.com/office/drawing/2014/main" id="{54516CFB-D142-47A6-8BF9-080D2FE035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5" name="Полилиния: фигура 464">
                        <a:extLst>
                          <a:ext uri="{FF2B5EF4-FFF2-40B4-BE49-F238E27FC236}">
                            <a16:creationId xmlns:a16="http://schemas.microsoft.com/office/drawing/2014/main" id="{F120232A-18E5-42C7-8FDD-97D8205E7C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6" name="Полилиния: фигура 465">
                        <a:extLst>
                          <a:ext uri="{FF2B5EF4-FFF2-40B4-BE49-F238E27FC236}">
                            <a16:creationId xmlns:a16="http://schemas.microsoft.com/office/drawing/2014/main" id="{4C7AA9EB-5B83-4EE0-8D12-B0EECBA569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7" name="Полилиния: фигура 466">
                        <a:extLst>
                          <a:ext uri="{FF2B5EF4-FFF2-40B4-BE49-F238E27FC236}">
                            <a16:creationId xmlns:a16="http://schemas.microsoft.com/office/drawing/2014/main" id="{913F7452-E411-4DE9-BA31-1D4E767291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9" name="Группа 428">
              <a:extLst>
                <a:ext uri="{FF2B5EF4-FFF2-40B4-BE49-F238E27FC236}">
                  <a16:creationId xmlns:a16="http://schemas.microsoft.com/office/drawing/2014/main" id="{23AC4740-F5A6-4CD7-9B9D-5CC90530413E}"/>
                </a:ext>
              </a:extLst>
            </p:cNvPr>
            <p:cNvGrpSpPr/>
            <p:nvPr/>
          </p:nvGrpSpPr>
          <p:grpSpPr>
            <a:xfrm>
              <a:off x="2602581" y="3023631"/>
              <a:ext cx="1823301" cy="295269"/>
              <a:chOff x="2554158" y="1493927"/>
              <a:chExt cx="3536455" cy="572700"/>
            </a:xfrm>
          </p:grpSpPr>
          <p:sp>
            <p:nvSpPr>
              <p:cNvPr id="430" name="Rounded Rectangle">
                <a:extLst>
                  <a:ext uri="{FF2B5EF4-FFF2-40B4-BE49-F238E27FC236}">
                    <a16:creationId xmlns:a16="http://schemas.microsoft.com/office/drawing/2014/main" id="{B365A9B2-8E66-445A-8D7D-4D89FDBB6776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31" name="Market analysis">
                <a:extLst>
                  <a:ext uri="{FF2B5EF4-FFF2-40B4-BE49-F238E27FC236}">
                    <a16:creationId xmlns:a16="http://schemas.microsoft.com/office/drawing/2014/main" id="{6CFBA5B6-030C-4E28-9A42-CC6CF0950203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32" name="Группа 431">
                <a:extLst>
                  <a:ext uri="{FF2B5EF4-FFF2-40B4-BE49-F238E27FC236}">
                    <a16:creationId xmlns:a16="http://schemas.microsoft.com/office/drawing/2014/main" id="{590AD656-235D-42E6-9694-F39DEBD877D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33" name="Circle">
                  <a:extLst>
                    <a:ext uri="{FF2B5EF4-FFF2-40B4-BE49-F238E27FC236}">
                      <a16:creationId xmlns:a16="http://schemas.microsoft.com/office/drawing/2014/main" id="{31A4A39D-86D1-4549-80B5-543903F57A3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34" name="Группа 433">
                  <a:extLst>
                    <a:ext uri="{FF2B5EF4-FFF2-40B4-BE49-F238E27FC236}">
                      <a16:creationId xmlns:a16="http://schemas.microsoft.com/office/drawing/2014/main" id="{5D3D6D78-C20D-4AD9-941D-E76E156FE113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35" name="Полилиния: фигура 434">
                    <a:extLst>
                      <a:ext uri="{FF2B5EF4-FFF2-40B4-BE49-F238E27FC236}">
                        <a16:creationId xmlns:a16="http://schemas.microsoft.com/office/drawing/2014/main" id="{4B73840D-F945-4416-8A1B-34EECB763410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36" name="Карточка 1_Ава">
                    <a:extLst>
                      <a:ext uri="{FF2B5EF4-FFF2-40B4-BE49-F238E27FC236}">
                        <a16:creationId xmlns:a16="http://schemas.microsoft.com/office/drawing/2014/main" id="{8940F4F1-10CF-4A2A-A019-F2D06406F93E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37" name="Карточка 1_Ава">
                      <a:extLst>
                        <a:ext uri="{FF2B5EF4-FFF2-40B4-BE49-F238E27FC236}">
                          <a16:creationId xmlns:a16="http://schemas.microsoft.com/office/drawing/2014/main" id="{75B9A704-B2BC-4190-8F4D-9AB3536B9E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43" name="Полилиния: фигура 442">
                        <a:extLst>
                          <a:ext uri="{FF2B5EF4-FFF2-40B4-BE49-F238E27FC236}">
                            <a16:creationId xmlns:a16="http://schemas.microsoft.com/office/drawing/2014/main" id="{0F6CEA1F-E1C8-4187-B2A6-FB36733571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4" name="Полилиния: фигура 443">
                        <a:extLst>
                          <a:ext uri="{FF2B5EF4-FFF2-40B4-BE49-F238E27FC236}">
                            <a16:creationId xmlns:a16="http://schemas.microsoft.com/office/drawing/2014/main" id="{DCEE02BB-1F55-432B-84D4-1750ACC3BA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5" name="Полилиния: фигура 444">
                        <a:extLst>
                          <a:ext uri="{FF2B5EF4-FFF2-40B4-BE49-F238E27FC236}">
                            <a16:creationId xmlns:a16="http://schemas.microsoft.com/office/drawing/2014/main" id="{9D64A0E1-3D63-4E54-929F-8E223108F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6" name="Полилиния: фигура 445">
                        <a:extLst>
                          <a:ext uri="{FF2B5EF4-FFF2-40B4-BE49-F238E27FC236}">
                            <a16:creationId xmlns:a16="http://schemas.microsoft.com/office/drawing/2014/main" id="{219863A7-3BE3-4855-B032-7F18BB2B8D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7" name="Полилиния: фигура 446">
                        <a:extLst>
                          <a:ext uri="{FF2B5EF4-FFF2-40B4-BE49-F238E27FC236}">
                            <a16:creationId xmlns:a16="http://schemas.microsoft.com/office/drawing/2014/main" id="{222FA527-049D-4080-B83E-62807BCB4C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8" name="Полилиния: фигура 447">
                        <a:extLst>
                          <a:ext uri="{FF2B5EF4-FFF2-40B4-BE49-F238E27FC236}">
                            <a16:creationId xmlns:a16="http://schemas.microsoft.com/office/drawing/2014/main" id="{4DF3ED31-D9E0-43F9-AA76-C111FA6771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9" name="Полилиния: фигура 448">
                        <a:extLst>
                          <a:ext uri="{FF2B5EF4-FFF2-40B4-BE49-F238E27FC236}">
                            <a16:creationId xmlns:a16="http://schemas.microsoft.com/office/drawing/2014/main" id="{BDD24AF0-0A68-4EEE-B7F1-14A838AFAB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0" name="Полилиния: фигура 449">
                        <a:extLst>
                          <a:ext uri="{FF2B5EF4-FFF2-40B4-BE49-F238E27FC236}">
                            <a16:creationId xmlns:a16="http://schemas.microsoft.com/office/drawing/2014/main" id="{861AF3B1-624C-41E6-8C1F-B14EC161D6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1" name="Полилиния: фигура 450">
                        <a:extLst>
                          <a:ext uri="{FF2B5EF4-FFF2-40B4-BE49-F238E27FC236}">
                            <a16:creationId xmlns:a16="http://schemas.microsoft.com/office/drawing/2014/main" id="{E9774A0A-59E2-4916-92F8-2DA535E53F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2" name="Полилиния: фигура 451">
                        <a:extLst>
                          <a:ext uri="{FF2B5EF4-FFF2-40B4-BE49-F238E27FC236}">
                            <a16:creationId xmlns:a16="http://schemas.microsoft.com/office/drawing/2014/main" id="{6006A2D1-FD33-476A-A80F-EC5C63217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3" name="Полилиния: фигура 452">
                        <a:extLst>
                          <a:ext uri="{FF2B5EF4-FFF2-40B4-BE49-F238E27FC236}">
                            <a16:creationId xmlns:a16="http://schemas.microsoft.com/office/drawing/2014/main" id="{D288A26A-8277-4F55-B586-F40BEFA3A2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4" name="Полилиния: фигура 453">
                        <a:extLst>
                          <a:ext uri="{FF2B5EF4-FFF2-40B4-BE49-F238E27FC236}">
                            <a16:creationId xmlns:a16="http://schemas.microsoft.com/office/drawing/2014/main" id="{1E6E730D-1014-4190-BE75-FF423422A5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38" name="Карточка 1_Ава">
                      <a:extLst>
                        <a:ext uri="{FF2B5EF4-FFF2-40B4-BE49-F238E27FC236}">
                          <a16:creationId xmlns:a16="http://schemas.microsoft.com/office/drawing/2014/main" id="{D7312DD7-1AD5-4E62-9A17-0064032761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39" name="Полилиния: фигура 438">
                        <a:extLst>
                          <a:ext uri="{FF2B5EF4-FFF2-40B4-BE49-F238E27FC236}">
                            <a16:creationId xmlns:a16="http://schemas.microsoft.com/office/drawing/2014/main" id="{895219D3-46F9-4612-9D6C-00F602E4D7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0" name="Полилиния: фигура 439">
                        <a:extLst>
                          <a:ext uri="{FF2B5EF4-FFF2-40B4-BE49-F238E27FC236}">
                            <a16:creationId xmlns:a16="http://schemas.microsoft.com/office/drawing/2014/main" id="{35787BB2-E41F-4B3F-BD80-E1C4F886A7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1" name="Полилиния: фигура 440">
                        <a:extLst>
                          <a:ext uri="{FF2B5EF4-FFF2-40B4-BE49-F238E27FC236}">
                            <a16:creationId xmlns:a16="http://schemas.microsoft.com/office/drawing/2014/main" id="{5A9127F8-27AD-49CD-86E6-75D5142245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2" name="Полилиния: фигура 441">
                        <a:extLst>
                          <a:ext uri="{FF2B5EF4-FFF2-40B4-BE49-F238E27FC236}">
                            <a16:creationId xmlns:a16="http://schemas.microsoft.com/office/drawing/2014/main" id="{80256AD4-589C-4E1C-A63C-26E5E4E7D1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532" name="АБС">
            <a:extLst>
              <a:ext uri="{FF2B5EF4-FFF2-40B4-BE49-F238E27FC236}">
                <a16:creationId xmlns:a16="http://schemas.microsoft.com/office/drawing/2014/main" id="{6DADECEF-1852-46BA-9DC5-2543F630F23C}"/>
              </a:ext>
            </a:extLst>
          </p:cNvPr>
          <p:cNvGrpSpPr/>
          <p:nvPr/>
        </p:nvGrpSpPr>
        <p:grpSpPr>
          <a:xfrm>
            <a:off x="1760143" y="2178380"/>
            <a:ext cx="1728864" cy="1925642"/>
            <a:chOff x="5218769" y="1495697"/>
            <a:chExt cx="2224863" cy="2478094"/>
          </a:xfrm>
        </p:grpSpPr>
        <p:sp>
          <p:nvSpPr>
            <p:cNvPr id="533" name="Shape_фон">
              <a:extLst>
                <a:ext uri="{FF2B5EF4-FFF2-40B4-BE49-F238E27FC236}">
                  <a16:creationId xmlns:a16="http://schemas.microsoft.com/office/drawing/2014/main" id="{6C9EE9C2-B9C9-4D8E-941B-E5408D804D30}"/>
                </a:ext>
              </a:extLst>
            </p:cNvPr>
            <p:cNvSpPr/>
            <p:nvPr/>
          </p:nvSpPr>
          <p:spPr>
            <a:xfrm>
              <a:off x="5218769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34" name="Описание">
              <a:extLst>
                <a:ext uri="{FF2B5EF4-FFF2-40B4-BE49-F238E27FC236}">
                  <a16:creationId xmlns:a16="http://schemas.microsoft.com/office/drawing/2014/main" id="{AA4342D2-3DAD-4D4D-8F9B-6CEDFD24E53A}"/>
                </a:ext>
              </a:extLst>
            </p:cNvPr>
            <p:cNvSpPr txBox="1"/>
            <p:nvPr/>
          </p:nvSpPr>
          <p:spPr>
            <a:xfrm>
              <a:off x="5992678" y="1663083"/>
              <a:ext cx="677042" cy="3960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АБС</a:t>
              </a:r>
            </a:p>
          </p:txBody>
        </p:sp>
        <p:grpSp>
          <p:nvGrpSpPr>
            <p:cNvPr id="535" name="Группа 534">
              <a:extLst>
                <a:ext uri="{FF2B5EF4-FFF2-40B4-BE49-F238E27FC236}">
                  <a16:creationId xmlns:a16="http://schemas.microsoft.com/office/drawing/2014/main" id="{0511C410-4FF3-45B4-B725-B94F3C6AD8DF}"/>
                </a:ext>
              </a:extLst>
            </p:cNvPr>
            <p:cNvGrpSpPr/>
            <p:nvPr/>
          </p:nvGrpSpPr>
          <p:grpSpPr>
            <a:xfrm>
              <a:off x="5455160" y="2185291"/>
              <a:ext cx="1823301" cy="295269"/>
              <a:chOff x="2554158" y="1493927"/>
              <a:chExt cx="3536455" cy="572700"/>
            </a:xfrm>
          </p:grpSpPr>
          <p:sp>
            <p:nvSpPr>
              <p:cNvPr id="588" name="Rounded Rectangle">
                <a:extLst>
                  <a:ext uri="{FF2B5EF4-FFF2-40B4-BE49-F238E27FC236}">
                    <a16:creationId xmlns:a16="http://schemas.microsoft.com/office/drawing/2014/main" id="{1A4E7C93-48D2-485C-9953-7651F5EAC809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89" name="Market analysis">
                <a:extLst>
                  <a:ext uri="{FF2B5EF4-FFF2-40B4-BE49-F238E27FC236}">
                    <a16:creationId xmlns:a16="http://schemas.microsoft.com/office/drawing/2014/main" id="{1A5701E0-323B-4E73-80F0-267B57736F9D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90" name="Группа 589">
                <a:extLst>
                  <a:ext uri="{FF2B5EF4-FFF2-40B4-BE49-F238E27FC236}">
                    <a16:creationId xmlns:a16="http://schemas.microsoft.com/office/drawing/2014/main" id="{E9C26C44-3DE3-407D-9B15-96DDDD83DAA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91" name="Circle">
                  <a:extLst>
                    <a:ext uri="{FF2B5EF4-FFF2-40B4-BE49-F238E27FC236}">
                      <a16:creationId xmlns:a16="http://schemas.microsoft.com/office/drawing/2014/main" id="{AA8D897D-71FB-4879-93F9-042B7B67848F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92" name="Группа 591">
                  <a:extLst>
                    <a:ext uri="{FF2B5EF4-FFF2-40B4-BE49-F238E27FC236}">
                      <a16:creationId xmlns:a16="http://schemas.microsoft.com/office/drawing/2014/main" id="{B2FF3C4D-AE15-4C6A-8CEB-9FF575174FA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93" name="Полилиния: фигура 592">
                    <a:extLst>
                      <a:ext uri="{FF2B5EF4-FFF2-40B4-BE49-F238E27FC236}">
                        <a16:creationId xmlns:a16="http://schemas.microsoft.com/office/drawing/2014/main" id="{BD529CF0-AF11-4275-A6A5-0874AC9F8779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94" name="Карточка 1_Ава">
                    <a:extLst>
                      <a:ext uri="{FF2B5EF4-FFF2-40B4-BE49-F238E27FC236}">
                        <a16:creationId xmlns:a16="http://schemas.microsoft.com/office/drawing/2014/main" id="{C3035900-6D61-400F-BABC-86A39BD5E94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95" name="Карточка 1_Ава">
                      <a:extLst>
                        <a:ext uri="{FF2B5EF4-FFF2-40B4-BE49-F238E27FC236}">
                          <a16:creationId xmlns:a16="http://schemas.microsoft.com/office/drawing/2014/main" id="{871AE15F-B126-4A56-AC13-2523BE929CB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01" name="Полилиния: фигура 600">
                        <a:extLst>
                          <a:ext uri="{FF2B5EF4-FFF2-40B4-BE49-F238E27FC236}">
                            <a16:creationId xmlns:a16="http://schemas.microsoft.com/office/drawing/2014/main" id="{6163113E-4840-427D-89EE-B7971C6443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2" name="Полилиния: фигура 601">
                        <a:extLst>
                          <a:ext uri="{FF2B5EF4-FFF2-40B4-BE49-F238E27FC236}">
                            <a16:creationId xmlns:a16="http://schemas.microsoft.com/office/drawing/2014/main" id="{5E687C68-F81A-42E5-BF96-3115C1E466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3" name="Полилиния: фигура 602">
                        <a:extLst>
                          <a:ext uri="{FF2B5EF4-FFF2-40B4-BE49-F238E27FC236}">
                            <a16:creationId xmlns:a16="http://schemas.microsoft.com/office/drawing/2014/main" id="{918EC7A0-9E91-42D3-A168-FE524CDF07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4" name="Полилиния: фигура 603">
                        <a:extLst>
                          <a:ext uri="{FF2B5EF4-FFF2-40B4-BE49-F238E27FC236}">
                            <a16:creationId xmlns:a16="http://schemas.microsoft.com/office/drawing/2014/main" id="{5E0307F8-3813-4159-8D01-EF7F57EB18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5" name="Полилиния: фигура 604">
                        <a:extLst>
                          <a:ext uri="{FF2B5EF4-FFF2-40B4-BE49-F238E27FC236}">
                            <a16:creationId xmlns:a16="http://schemas.microsoft.com/office/drawing/2014/main" id="{4C0CCC51-3977-45AE-BE90-ADF578DDEF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6" name="Полилиния: фигура 605">
                        <a:extLst>
                          <a:ext uri="{FF2B5EF4-FFF2-40B4-BE49-F238E27FC236}">
                            <a16:creationId xmlns:a16="http://schemas.microsoft.com/office/drawing/2014/main" id="{47F3DB23-BEB7-44C5-8BF0-E24EFF4740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7" name="Полилиния: фигура 606">
                        <a:extLst>
                          <a:ext uri="{FF2B5EF4-FFF2-40B4-BE49-F238E27FC236}">
                            <a16:creationId xmlns:a16="http://schemas.microsoft.com/office/drawing/2014/main" id="{09582B10-D69A-488B-9BEF-540C4DFAF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8" name="Полилиния: фигура 607">
                        <a:extLst>
                          <a:ext uri="{FF2B5EF4-FFF2-40B4-BE49-F238E27FC236}">
                            <a16:creationId xmlns:a16="http://schemas.microsoft.com/office/drawing/2014/main" id="{93CA744E-0D7A-4081-8425-BA971AE31A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9" name="Полилиния: фигура 608">
                        <a:extLst>
                          <a:ext uri="{FF2B5EF4-FFF2-40B4-BE49-F238E27FC236}">
                            <a16:creationId xmlns:a16="http://schemas.microsoft.com/office/drawing/2014/main" id="{B0288564-CE0B-4A8B-9B8F-B53BDB934B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0" name="Полилиния: фигура 609">
                        <a:extLst>
                          <a:ext uri="{FF2B5EF4-FFF2-40B4-BE49-F238E27FC236}">
                            <a16:creationId xmlns:a16="http://schemas.microsoft.com/office/drawing/2014/main" id="{867C6EF4-166C-4943-BEC5-FD3F4B8C8A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1" name="Полилиния: фигура 610">
                        <a:extLst>
                          <a:ext uri="{FF2B5EF4-FFF2-40B4-BE49-F238E27FC236}">
                            <a16:creationId xmlns:a16="http://schemas.microsoft.com/office/drawing/2014/main" id="{FF3AB058-87E7-435A-8CFE-21A23C2F66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2" name="Полилиния: фигура 611">
                        <a:extLst>
                          <a:ext uri="{FF2B5EF4-FFF2-40B4-BE49-F238E27FC236}">
                            <a16:creationId xmlns:a16="http://schemas.microsoft.com/office/drawing/2014/main" id="{326C2EEB-799F-4F53-83E2-42C9C579A2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96" name="Карточка 1_Ава">
                      <a:extLst>
                        <a:ext uri="{FF2B5EF4-FFF2-40B4-BE49-F238E27FC236}">
                          <a16:creationId xmlns:a16="http://schemas.microsoft.com/office/drawing/2014/main" id="{F2F9C42E-CE5C-4F6A-9FCD-945923DF22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97" name="Полилиния: фигура 596">
                        <a:extLst>
                          <a:ext uri="{FF2B5EF4-FFF2-40B4-BE49-F238E27FC236}">
                            <a16:creationId xmlns:a16="http://schemas.microsoft.com/office/drawing/2014/main" id="{482224C5-151F-4BDF-8092-CC25CC3F83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8" name="Полилиния: фигура 597">
                        <a:extLst>
                          <a:ext uri="{FF2B5EF4-FFF2-40B4-BE49-F238E27FC236}">
                            <a16:creationId xmlns:a16="http://schemas.microsoft.com/office/drawing/2014/main" id="{DD5B8B1F-E547-40E9-8984-B26A9E61F5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9" name="Полилиния: фигура 598">
                        <a:extLst>
                          <a:ext uri="{FF2B5EF4-FFF2-40B4-BE49-F238E27FC236}">
                            <a16:creationId xmlns:a16="http://schemas.microsoft.com/office/drawing/2014/main" id="{42AAA5CF-CC38-4425-94EC-364BFDBA6D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0" name="Полилиния: фигура 599">
                        <a:extLst>
                          <a:ext uri="{FF2B5EF4-FFF2-40B4-BE49-F238E27FC236}">
                            <a16:creationId xmlns:a16="http://schemas.microsoft.com/office/drawing/2014/main" id="{4C211752-A84B-4FA4-8F3A-E5CC324994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36" name="Группа 535">
              <a:extLst>
                <a:ext uri="{FF2B5EF4-FFF2-40B4-BE49-F238E27FC236}">
                  <a16:creationId xmlns:a16="http://schemas.microsoft.com/office/drawing/2014/main" id="{4E51CC28-330D-4E79-A5E2-4819DBBE8A52}"/>
                </a:ext>
              </a:extLst>
            </p:cNvPr>
            <p:cNvGrpSpPr/>
            <p:nvPr/>
          </p:nvGrpSpPr>
          <p:grpSpPr>
            <a:xfrm>
              <a:off x="5455160" y="2604461"/>
              <a:ext cx="1823301" cy="295269"/>
              <a:chOff x="2554158" y="1493927"/>
              <a:chExt cx="3536455" cy="572700"/>
            </a:xfrm>
          </p:grpSpPr>
          <p:sp>
            <p:nvSpPr>
              <p:cNvPr id="563" name="Rounded Rectangle">
                <a:extLst>
                  <a:ext uri="{FF2B5EF4-FFF2-40B4-BE49-F238E27FC236}">
                    <a16:creationId xmlns:a16="http://schemas.microsoft.com/office/drawing/2014/main" id="{0B936BF0-BFE8-47D3-95F6-3CEE62797ACD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64" name="Market analysis">
                <a:extLst>
                  <a:ext uri="{FF2B5EF4-FFF2-40B4-BE49-F238E27FC236}">
                    <a16:creationId xmlns:a16="http://schemas.microsoft.com/office/drawing/2014/main" id="{B8DCC671-CDD9-45C1-A4EC-AAB30FE18F7D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65" name="Группа 564">
                <a:extLst>
                  <a:ext uri="{FF2B5EF4-FFF2-40B4-BE49-F238E27FC236}">
                    <a16:creationId xmlns:a16="http://schemas.microsoft.com/office/drawing/2014/main" id="{F4145D00-61C0-46EF-817E-EB0FF327EA4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66" name="Circle">
                  <a:extLst>
                    <a:ext uri="{FF2B5EF4-FFF2-40B4-BE49-F238E27FC236}">
                      <a16:creationId xmlns:a16="http://schemas.microsoft.com/office/drawing/2014/main" id="{F40D1D62-A8D4-4BA0-8BF7-99D7D587029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67" name="Группа 566">
                  <a:extLst>
                    <a:ext uri="{FF2B5EF4-FFF2-40B4-BE49-F238E27FC236}">
                      <a16:creationId xmlns:a16="http://schemas.microsoft.com/office/drawing/2014/main" id="{792F1921-99E7-46A7-A06F-9FC33AFC428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68" name="Полилиния: фигура 567">
                    <a:extLst>
                      <a:ext uri="{FF2B5EF4-FFF2-40B4-BE49-F238E27FC236}">
                        <a16:creationId xmlns:a16="http://schemas.microsoft.com/office/drawing/2014/main" id="{6CDF8F11-6F5C-4A4A-9542-92D2B70F610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69" name="Карточка 1_Ава">
                    <a:extLst>
                      <a:ext uri="{FF2B5EF4-FFF2-40B4-BE49-F238E27FC236}">
                        <a16:creationId xmlns:a16="http://schemas.microsoft.com/office/drawing/2014/main" id="{FCEB8ABE-19FF-46D4-B115-7B3EB5B0EF37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70" name="Карточка 1_Ава">
                      <a:extLst>
                        <a:ext uri="{FF2B5EF4-FFF2-40B4-BE49-F238E27FC236}">
                          <a16:creationId xmlns:a16="http://schemas.microsoft.com/office/drawing/2014/main" id="{5C4A7192-1CD5-45AF-A969-FD54F9E94E9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76" name="Полилиния: фигура 575">
                        <a:extLst>
                          <a:ext uri="{FF2B5EF4-FFF2-40B4-BE49-F238E27FC236}">
                            <a16:creationId xmlns:a16="http://schemas.microsoft.com/office/drawing/2014/main" id="{20E03FC0-CF64-4E3D-A134-642AB82E74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7" name="Полилиния: фигура 576">
                        <a:extLst>
                          <a:ext uri="{FF2B5EF4-FFF2-40B4-BE49-F238E27FC236}">
                            <a16:creationId xmlns:a16="http://schemas.microsoft.com/office/drawing/2014/main" id="{A87132A0-C46C-4F10-AEC1-2C3B3FEF81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8" name="Полилиния: фигура 577">
                        <a:extLst>
                          <a:ext uri="{FF2B5EF4-FFF2-40B4-BE49-F238E27FC236}">
                            <a16:creationId xmlns:a16="http://schemas.microsoft.com/office/drawing/2014/main" id="{A3991F76-A15B-4BE7-9C2A-7956E6D9C9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9" name="Полилиния: фигура 578">
                        <a:extLst>
                          <a:ext uri="{FF2B5EF4-FFF2-40B4-BE49-F238E27FC236}">
                            <a16:creationId xmlns:a16="http://schemas.microsoft.com/office/drawing/2014/main" id="{42E99B3C-11F4-4714-AEE7-7032896A77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0" name="Полилиния: фигура 579">
                        <a:extLst>
                          <a:ext uri="{FF2B5EF4-FFF2-40B4-BE49-F238E27FC236}">
                            <a16:creationId xmlns:a16="http://schemas.microsoft.com/office/drawing/2014/main" id="{F43961FF-C7E1-409A-9909-3CC8BEEE7B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1" name="Полилиния: фигура 580">
                        <a:extLst>
                          <a:ext uri="{FF2B5EF4-FFF2-40B4-BE49-F238E27FC236}">
                            <a16:creationId xmlns:a16="http://schemas.microsoft.com/office/drawing/2014/main" id="{27C7E63B-5EC7-4D2E-A047-B15B03E5D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2" name="Полилиния: фигура 581">
                        <a:extLst>
                          <a:ext uri="{FF2B5EF4-FFF2-40B4-BE49-F238E27FC236}">
                            <a16:creationId xmlns:a16="http://schemas.microsoft.com/office/drawing/2014/main" id="{4DFBF636-4D2A-49D1-B717-37C7B76885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3" name="Полилиния: фигура 582">
                        <a:extLst>
                          <a:ext uri="{FF2B5EF4-FFF2-40B4-BE49-F238E27FC236}">
                            <a16:creationId xmlns:a16="http://schemas.microsoft.com/office/drawing/2014/main" id="{3DDF1172-F785-4D3A-BC22-6EE65B7AE1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4" name="Полилиния: фигура 583">
                        <a:extLst>
                          <a:ext uri="{FF2B5EF4-FFF2-40B4-BE49-F238E27FC236}">
                            <a16:creationId xmlns:a16="http://schemas.microsoft.com/office/drawing/2014/main" id="{385F8E6D-3B46-44E1-87A2-2B24CB6692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5" name="Полилиния: фигура 584">
                        <a:extLst>
                          <a:ext uri="{FF2B5EF4-FFF2-40B4-BE49-F238E27FC236}">
                            <a16:creationId xmlns:a16="http://schemas.microsoft.com/office/drawing/2014/main" id="{120280D9-8945-44E1-8D32-41870AF6F7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6" name="Полилиния: фигура 585">
                        <a:extLst>
                          <a:ext uri="{FF2B5EF4-FFF2-40B4-BE49-F238E27FC236}">
                            <a16:creationId xmlns:a16="http://schemas.microsoft.com/office/drawing/2014/main" id="{81D99EDD-4AA9-4D93-8901-EA81790212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7" name="Полилиния: фигура 586">
                        <a:extLst>
                          <a:ext uri="{FF2B5EF4-FFF2-40B4-BE49-F238E27FC236}">
                            <a16:creationId xmlns:a16="http://schemas.microsoft.com/office/drawing/2014/main" id="{E0E9D7CB-3BB8-4F7E-85B5-BD5F506D96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71" name="Карточка 1_Ава">
                      <a:extLst>
                        <a:ext uri="{FF2B5EF4-FFF2-40B4-BE49-F238E27FC236}">
                          <a16:creationId xmlns:a16="http://schemas.microsoft.com/office/drawing/2014/main" id="{23860484-CD1A-44AB-AD92-507635CCEE2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72" name="Полилиния: фигура 571">
                        <a:extLst>
                          <a:ext uri="{FF2B5EF4-FFF2-40B4-BE49-F238E27FC236}">
                            <a16:creationId xmlns:a16="http://schemas.microsoft.com/office/drawing/2014/main" id="{8ADE9D1C-E134-4735-9DA8-ADF753A39B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3" name="Полилиния: фигура 572">
                        <a:extLst>
                          <a:ext uri="{FF2B5EF4-FFF2-40B4-BE49-F238E27FC236}">
                            <a16:creationId xmlns:a16="http://schemas.microsoft.com/office/drawing/2014/main" id="{1B520EEF-3287-4860-A7F3-A9219802EA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4" name="Полилиния: фигура 573">
                        <a:extLst>
                          <a:ext uri="{FF2B5EF4-FFF2-40B4-BE49-F238E27FC236}">
                            <a16:creationId xmlns:a16="http://schemas.microsoft.com/office/drawing/2014/main" id="{0C309CB5-AAE1-4AB0-94E2-AC10DA4E58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75" name="Полилиния: фигура 574">
                        <a:extLst>
                          <a:ext uri="{FF2B5EF4-FFF2-40B4-BE49-F238E27FC236}">
                            <a16:creationId xmlns:a16="http://schemas.microsoft.com/office/drawing/2014/main" id="{98337333-69DB-4C4C-B53A-3BFECCDA86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37" name="Группа 536">
              <a:extLst>
                <a:ext uri="{FF2B5EF4-FFF2-40B4-BE49-F238E27FC236}">
                  <a16:creationId xmlns:a16="http://schemas.microsoft.com/office/drawing/2014/main" id="{673B1E53-5D3F-46BB-9511-221DB789F3B9}"/>
                </a:ext>
              </a:extLst>
            </p:cNvPr>
            <p:cNvGrpSpPr/>
            <p:nvPr/>
          </p:nvGrpSpPr>
          <p:grpSpPr>
            <a:xfrm>
              <a:off x="5455160" y="3023631"/>
              <a:ext cx="1823301" cy="295269"/>
              <a:chOff x="2554158" y="1493927"/>
              <a:chExt cx="3536455" cy="572700"/>
            </a:xfrm>
          </p:grpSpPr>
          <p:sp>
            <p:nvSpPr>
              <p:cNvPr id="538" name="Rounded Rectangle">
                <a:extLst>
                  <a:ext uri="{FF2B5EF4-FFF2-40B4-BE49-F238E27FC236}">
                    <a16:creationId xmlns:a16="http://schemas.microsoft.com/office/drawing/2014/main" id="{13C52870-D1B7-445E-91C1-54ED89AA7C3B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39" name="Market analysis">
                <a:extLst>
                  <a:ext uri="{FF2B5EF4-FFF2-40B4-BE49-F238E27FC236}">
                    <a16:creationId xmlns:a16="http://schemas.microsoft.com/office/drawing/2014/main" id="{69DA38A0-852D-42B8-8C3F-CE9FF76DA8AB}"/>
                  </a:ext>
                </a:extLst>
              </p:cNvPr>
              <p:cNvSpPr txBox="1"/>
              <p:nvPr/>
            </p:nvSpPr>
            <p:spPr>
              <a:xfrm>
                <a:off x="3249623" y="1633528"/>
                <a:ext cx="1727475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40" name="Группа 539">
                <a:extLst>
                  <a:ext uri="{FF2B5EF4-FFF2-40B4-BE49-F238E27FC236}">
                    <a16:creationId xmlns:a16="http://schemas.microsoft.com/office/drawing/2014/main" id="{F69D1011-D9ED-4FBA-ADCA-3FFC63237F9C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41" name="Circle">
                  <a:extLst>
                    <a:ext uri="{FF2B5EF4-FFF2-40B4-BE49-F238E27FC236}">
                      <a16:creationId xmlns:a16="http://schemas.microsoft.com/office/drawing/2014/main" id="{E5BF11E5-1612-48A1-9126-1BB9BC1BC764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42" name="Группа 541">
                  <a:extLst>
                    <a:ext uri="{FF2B5EF4-FFF2-40B4-BE49-F238E27FC236}">
                      <a16:creationId xmlns:a16="http://schemas.microsoft.com/office/drawing/2014/main" id="{042AF5B6-0A8F-4EBC-AAE3-14BAC65DFA77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43" name="Полилиния: фигура 542">
                    <a:extLst>
                      <a:ext uri="{FF2B5EF4-FFF2-40B4-BE49-F238E27FC236}">
                        <a16:creationId xmlns:a16="http://schemas.microsoft.com/office/drawing/2014/main" id="{5E61B83F-261C-46FC-9E42-D9CA8CC8B6DB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44" name="Карточка 1_Ава">
                    <a:extLst>
                      <a:ext uri="{FF2B5EF4-FFF2-40B4-BE49-F238E27FC236}">
                        <a16:creationId xmlns:a16="http://schemas.microsoft.com/office/drawing/2014/main" id="{95293E0A-D34B-4DF9-94D7-4808BB4E1AB6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45" name="Карточка 1_Ава">
                      <a:extLst>
                        <a:ext uri="{FF2B5EF4-FFF2-40B4-BE49-F238E27FC236}">
                          <a16:creationId xmlns:a16="http://schemas.microsoft.com/office/drawing/2014/main" id="{9491E4B6-D94B-42B5-8DBB-60851F6D377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51" name="Полилиния: фигура 550">
                        <a:extLst>
                          <a:ext uri="{FF2B5EF4-FFF2-40B4-BE49-F238E27FC236}">
                            <a16:creationId xmlns:a16="http://schemas.microsoft.com/office/drawing/2014/main" id="{5516D2A7-7562-4255-98B8-F738AEF9BA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2" name="Полилиния: фигура 551">
                        <a:extLst>
                          <a:ext uri="{FF2B5EF4-FFF2-40B4-BE49-F238E27FC236}">
                            <a16:creationId xmlns:a16="http://schemas.microsoft.com/office/drawing/2014/main" id="{E873BFBC-400C-453E-9FB5-0E614E57D6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3" name="Полилиния: фигура 552">
                        <a:extLst>
                          <a:ext uri="{FF2B5EF4-FFF2-40B4-BE49-F238E27FC236}">
                            <a16:creationId xmlns:a16="http://schemas.microsoft.com/office/drawing/2014/main" id="{22E532F4-308B-46CC-BB56-A27440289B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4" name="Полилиния: фигура 553">
                        <a:extLst>
                          <a:ext uri="{FF2B5EF4-FFF2-40B4-BE49-F238E27FC236}">
                            <a16:creationId xmlns:a16="http://schemas.microsoft.com/office/drawing/2014/main" id="{C06091DF-8C47-472D-BCE3-E5D1FF4D66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5" name="Полилиния: фигура 554">
                        <a:extLst>
                          <a:ext uri="{FF2B5EF4-FFF2-40B4-BE49-F238E27FC236}">
                            <a16:creationId xmlns:a16="http://schemas.microsoft.com/office/drawing/2014/main" id="{29564B6D-C93B-4849-AF65-874D484995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6" name="Полилиния: фигура 555">
                        <a:extLst>
                          <a:ext uri="{FF2B5EF4-FFF2-40B4-BE49-F238E27FC236}">
                            <a16:creationId xmlns:a16="http://schemas.microsoft.com/office/drawing/2014/main" id="{1D9EA2B2-C033-4430-9CAB-239A7B5A9A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7" name="Полилиния: фигура 556">
                        <a:extLst>
                          <a:ext uri="{FF2B5EF4-FFF2-40B4-BE49-F238E27FC236}">
                            <a16:creationId xmlns:a16="http://schemas.microsoft.com/office/drawing/2014/main" id="{7D28E052-9A5E-4D5D-A89E-248CDB480E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8" name="Полилиния: фигура 557">
                        <a:extLst>
                          <a:ext uri="{FF2B5EF4-FFF2-40B4-BE49-F238E27FC236}">
                            <a16:creationId xmlns:a16="http://schemas.microsoft.com/office/drawing/2014/main" id="{734394DD-9F30-42D8-A4A5-A54B1E6EF6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9" name="Полилиния: фигура 558">
                        <a:extLst>
                          <a:ext uri="{FF2B5EF4-FFF2-40B4-BE49-F238E27FC236}">
                            <a16:creationId xmlns:a16="http://schemas.microsoft.com/office/drawing/2014/main" id="{B4BCE7C5-9819-4F32-ADDB-746BDFAC64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0" name="Полилиния: фигура 559">
                        <a:extLst>
                          <a:ext uri="{FF2B5EF4-FFF2-40B4-BE49-F238E27FC236}">
                            <a16:creationId xmlns:a16="http://schemas.microsoft.com/office/drawing/2014/main" id="{9658378A-97FB-4D78-9561-9E905CC97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1" name="Полилиния: фигура 560">
                        <a:extLst>
                          <a:ext uri="{FF2B5EF4-FFF2-40B4-BE49-F238E27FC236}">
                            <a16:creationId xmlns:a16="http://schemas.microsoft.com/office/drawing/2014/main" id="{187A9592-A434-4C05-BC4D-B3A32326D6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62" name="Полилиния: фигура 561">
                        <a:extLst>
                          <a:ext uri="{FF2B5EF4-FFF2-40B4-BE49-F238E27FC236}">
                            <a16:creationId xmlns:a16="http://schemas.microsoft.com/office/drawing/2014/main" id="{263A51C7-C7D7-4531-8C7B-B36DEA15E7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46" name="Карточка 1_Ава">
                      <a:extLst>
                        <a:ext uri="{FF2B5EF4-FFF2-40B4-BE49-F238E27FC236}">
                          <a16:creationId xmlns:a16="http://schemas.microsoft.com/office/drawing/2014/main" id="{7F9D16C1-FB11-49C2-BA92-16BD2736B3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47" name="Полилиния: фигура 546">
                        <a:extLst>
                          <a:ext uri="{FF2B5EF4-FFF2-40B4-BE49-F238E27FC236}">
                            <a16:creationId xmlns:a16="http://schemas.microsoft.com/office/drawing/2014/main" id="{9D5D571E-3053-40F3-86DF-1401F5C24C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48" name="Полилиния: фигура 547">
                        <a:extLst>
                          <a:ext uri="{FF2B5EF4-FFF2-40B4-BE49-F238E27FC236}">
                            <a16:creationId xmlns:a16="http://schemas.microsoft.com/office/drawing/2014/main" id="{8578D3F6-012F-48D7-8A34-772A6269FD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49" name="Полилиния: фигура 548">
                        <a:extLst>
                          <a:ext uri="{FF2B5EF4-FFF2-40B4-BE49-F238E27FC236}">
                            <a16:creationId xmlns:a16="http://schemas.microsoft.com/office/drawing/2014/main" id="{B97EA60C-B35D-4AF5-AF90-B3A443466A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50" name="Полилиния: фигура 549">
                        <a:extLst>
                          <a:ext uri="{FF2B5EF4-FFF2-40B4-BE49-F238E27FC236}">
                            <a16:creationId xmlns:a16="http://schemas.microsoft.com/office/drawing/2014/main" id="{E3109870-BA9E-42D0-94D2-DFA1EBCB50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613" name="Процессинг">
            <a:extLst>
              <a:ext uri="{FF2B5EF4-FFF2-40B4-BE49-F238E27FC236}">
                <a16:creationId xmlns:a16="http://schemas.microsoft.com/office/drawing/2014/main" id="{58FE067B-CC82-4AE5-8B25-FF6904CA76E1}"/>
              </a:ext>
            </a:extLst>
          </p:cNvPr>
          <p:cNvGrpSpPr/>
          <p:nvPr/>
        </p:nvGrpSpPr>
        <p:grpSpPr>
          <a:xfrm>
            <a:off x="3221908" y="2191623"/>
            <a:ext cx="1728864" cy="1925642"/>
            <a:chOff x="8021775" y="1495697"/>
            <a:chExt cx="2224863" cy="2478094"/>
          </a:xfrm>
        </p:grpSpPr>
        <p:sp>
          <p:nvSpPr>
            <p:cNvPr id="614" name="Shape_фон">
              <a:extLst>
                <a:ext uri="{FF2B5EF4-FFF2-40B4-BE49-F238E27FC236}">
                  <a16:creationId xmlns:a16="http://schemas.microsoft.com/office/drawing/2014/main" id="{271EF52F-E6F4-4373-9D35-E5926E13FC0A}"/>
                </a:ext>
              </a:extLst>
            </p:cNvPr>
            <p:cNvSpPr/>
            <p:nvPr/>
          </p:nvSpPr>
          <p:spPr>
            <a:xfrm>
              <a:off x="8021775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15" name="Описание">
              <a:extLst>
                <a:ext uri="{FF2B5EF4-FFF2-40B4-BE49-F238E27FC236}">
                  <a16:creationId xmlns:a16="http://schemas.microsoft.com/office/drawing/2014/main" id="{C3210E04-F1EC-42AA-9240-277087318374}"/>
                </a:ext>
              </a:extLst>
            </p:cNvPr>
            <p:cNvSpPr txBox="1"/>
            <p:nvPr/>
          </p:nvSpPr>
          <p:spPr>
            <a:xfrm>
              <a:off x="8323667" y="1637650"/>
              <a:ext cx="1621079" cy="396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Процессинг</a:t>
              </a:r>
            </a:p>
          </p:txBody>
        </p:sp>
        <p:grpSp>
          <p:nvGrpSpPr>
            <p:cNvPr id="616" name="Группа 615">
              <a:extLst>
                <a:ext uri="{FF2B5EF4-FFF2-40B4-BE49-F238E27FC236}">
                  <a16:creationId xmlns:a16="http://schemas.microsoft.com/office/drawing/2014/main" id="{42AC1C9B-A388-4004-AE9E-A75A0DD52A82}"/>
                </a:ext>
              </a:extLst>
            </p:cNvPr>
            <p:cNvGrpSpPr/>
            <p:nvPr/>
          </p:nvGrpSpPr>
          <p:grpSpPr>
            <a:xfrm>
              <a:off x="8244168" y="2185291"/>
              <a:ext cx="1823301" cy="295269"/>
              <a:chOff x="2554158" y="1493927"/>
              <a:chExt cx="3536455" cy="572700"/>
            </a:xfrm>
          </p:grpSpPr>
          <p:sp>
            <p:nvSpPr>
              <p:cNvPr id="643" name="Rounded Rectangle">
                <a:extLst>
                  <a:ext uri="{FF2B5EF4-FFF2-40B4-BE49-F238E27FC236}">
                    <a16:creationId xmlns:a16="http://schemas.microsoft.com/office/drawing/2014/main" id="{7F1F3EB1-72ED-40AE-9234-F5D5327FFC64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44" name="Market analysis">
                <a:extLst>
                  <a:ext uri="{FF2B5EF4-FFF2-40B4-BE49-F238E27FC236}">
                    <a16:creationId xmlns:a16="http://schemas.microsoft.com/office/drawing/2014/main" id="{C44ECCEE-D6E5-4E67-B987-F9BBFBA1CFFF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45" name="Группа 644">
                <a:extLst>
                  <a:ext uri="{FF2B5EF4-FFF2-40B4-BE49-F238E27FC236}">
                    <a16:creationId xmlns:a16="http://schemas.microsoft.com/office/drawing/2014/main" id="{6BCBD71E-DA19-496A-B257-88C65950528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46" name="Circle">
                  <a:extLst>
                    <a:ext uri="{FF2B5EF4-FFF2-40B4-BE49-F238E27FC236}">
                      <a16:creationId xmlns:a16="http://schemas.microsoft.com/office/drawing/2014/main" id="{D530B663-722E-4348-8716-334405AF6AD7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47" name="Группа 646">
                  <a:extLst>
                    <a:ext uri="{FF2B5EF4-FFF2-40B4-BE49-F238E27FC236}">
                      <a16:creationId xmlns:a16="http://schemas.microsoft.com/office/drawing/2014/main" id="{6FD26018-4BD1-4D7A-8276-F55F3365F986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48" name="Полилиния: фигура 647">
                    <a:extLst>
                      <a:ext uri="{FF2B5EF4-FFF2-40B4-BE49-F238E27FC236}">
                        <a16:creationId xmlns:a16="http://schemas.microsoft.com/office/drawing/2014/main" id="{626CAEDD-8AD0-41F9-9C51-27E65E02767B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49" name="Карточка 1_Ава">
                    <a:extLst>
                      <a:ext uri="{FF2B5EF4-FFF2-40B4-BE49-F238E27FC236}">
                        <a16:creationId xmlns:a16="http://schemas.microsoft.com/office/drawing/2014/main" id="{7C002BBF-71DB-44E5-9369-C26937E30FF0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50" name="Карточка 1_Ава">
                      <a:extLst>
                        <a:ext uri="{FF2B5EF4-FFF2-40B4-BE49-F238E27FC236}">
                          <a16:creationId xmlns:a16="http://schemas.microsoft.com/office/drawing/2014/main" id="{37405153-B3B8-49AD-B70E-E1111C4030F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56" name="Полилиния: фигура 655">
                        <a:extLst>
                          <a:ext uri="{FF2B5EF4-FFF2-40B4-BE49-F238E27FC236}">
                            <a16:creationId xmlns:a16="http://schemas.microsoft.com/office/drawing/2014/main" id="{8B5098C8-1818-4A74-9F05-A085EDDB1F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7" name="Полилиния: фигура 656">
                        <a:extLst>
                          <a:ext uri="{FF2B5EF4-FFF2-40B4-BE49-F238E27FC236}">
                            <a16:creationId xmlns:a16="http://schemas.microsoft.com/office/drawing/2014/main" id="{98146FBD-4889-49D4-82B1-559FF7B159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8" name="Полилиния: фигура 657">
                        <a:extLst>
                          <a:ext uri="{FF2B5EF4-FFF2-40B4-BE49-F238E27FC236}">
                            <a16:creationId xmlns:a16="http://schemas.microsoft.com/office/drawing/2014/main" id="{9DE63293-B086-4285-AE3C-7432746C12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9" name="Полилиния: фигура 658">
                        <a:extLst>
                          <a:ext uri="{FF2B5EF4-FFF2-40B4-BE49-F238E27FC236}">
                            <a16:creationId xmlns:a16="http://schemas.microsoft.com/office/drawing/2014/main" id="{D49D36E9-BA5D-43B0-A60B-977CC0B4E9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0" name="Полилиния: фигура 659">
                        <a:extLst>
                          <a:ext uri="{FF2B5EF4-FFF2-40B4-BE49-F238E27FC236}">
                            <a16:creationId xmlns:a16="http://schemas.microsoft.com/office/drawing/2014/main" id="{9795BA8D-28C5-4058-A7AE-F1711314EE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1" name="Полилиния: фигура 660">
                        <a:extLst>
                          <a:ext uri="{FF2B5EF4-FFF2-40B4-BE49-F238E27FC236}">
                            <a16:creationId xmlns:a16="http://schemas.microsoft.com/office/drawing/2014/main" id="{19D34744-C5F3-4E9A-840E-3E8B859FDF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2" name="Полилиния: фигура 661">
                        <a:extLst>
                          <a:ext uri="{FF2B5EF4-FFF2-40B4-BE49-F238E27FC236}">
                            <a16:creationId xmlns:a16="http://schemas.microsoft.com/office/drawing/2014/main" id="{728BBC97-DFBE-45F9-B830-BD6168DEE9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3" name="Полилиния: фигура 662">
                        <a:extLst>
                          <a:ext uri="{FF2B5EF4-FFF2-40B4-BE49-F238E27FC236}">
                            <a16:creationId xmlns:a16="http://schemas.microsoft.com/office/drawing/2014/main" id="{218BE016-3188-4A74-8945-0C9F8879F3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4" name="Полилиния: фигура 663">
                        <a:extLst>
                          <a:ext uri="{FF2B5EF4-FFF2-40B4-BE49-F238E27FC236}">
                            <a16:creationId xmlns:a16="http://schemas.microsoft.com/office/drawing/2014/main" id="{336F9FC7-A9F4-4E5C-A365-CE7C8C473C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5" name="Полилиния: фигура 664">
                        <a:extLst>
                          <a:ext uri="{FF2B5EF4-FFF2-40B4-BE49-F238E27FC236}">
                            <a16:creationId xmlns:a16="http://schemas.microsoft.com/office/drawing/2014/main" id="{AE21A03A-1669-4012-8FED-EE406193E2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6" name="Полилиния: фигура 665">
                        <a:extLst>
                          <a:ext uri="{FF2B5EF4-FFF2-40B4-BE49-F238E27FC236}">
                            <a16:creationId xmlns:a16="http://schemas.microsoft.com/office/drawing/2014/main" id="{8885F2AE-8244-4A04-B975-9D2A767C9A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7" name="Полилиния: фигура 666">
                        <a:extLst>
                          <a:ext uri="{FF2B5EF4-FFF2-40B4-BE49-F238E27FC236}">
                            <a16:creationId xmlns:a16="http://schemas.microsoft.com/office/drawing/2014/main" id="{EB41711A-A856-4345-91D3-66E0769A6C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51" name="Карточка 1_Ава">
                      <a:extLst>
                        <a:ext uri="{FF2B5EF4-FFF2-40B4-BE49-F238E27FC236}">
                          <a16:creationId xmlns:a16="http://schemas.microsoft.com/office/drawing/2014/main" id="{E114930F-17B1-4081-931A-BF12250C11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52" name="Полилиния: фигура 651">
                        <a:extLst>
                          <a:ext uri="{FF2B5EF4-FFF2-40B4-BE49-F238E27FC236}">
                            <a16:creationId xmlns:a16="http://schemas.microsoft.com/office/drawing/2014/main" id="{7EE38963-192A-4D2B-A42A-194A707E63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3" name="Полилиния: фигура 652">
                        <a:extLst>
                          <a:ext uri="{FF2B5EF4-FFF2-40B4-BE49-F238E27FC236}">
                            <a16:creationId xmlns:a16="http://schemas.microsoft.com/office/drawing/2014/main" id="{F6B63D1D-C804-45EB-9220-B9DA15DCE8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4" name="Полилиния: фигура 653">
                        <a:extLst>
                          <a:ext uri="{FF2B5EF4-FFF2-40B4-BE49-F238E27FC236}">
                            <a16:creationId xmlns:a16="http://schemas.microsoft.com/office/drawing/2014/main" id="{44070113-4699-438F-BCA9-47FDAD26F4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5" name="Полилиния: фигура 654">
                        <a:extLst>
                          <a:ext uri="{FF2B5EF4-FFF2-40B4-BE49-F238E27FC236}">
                            <a16:creationId xmlns:a16="http://schemas.microsoft.com/office/drawing/2014/main" id="{4412C956-801D-4D2F-97CA-C598AF38EF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17" name="Группа 616">
              <a:extLst>
                <a:ext uri="{FF2B5EF4-FFF2-40B4-BE49-F238E27FC236}">
                  <a16:creationId xmlns:a16="http://schemas.microsoft.com/office/drawing/2014/main" id="{935CC6A9-B257-43D1-AFC9-A252B8DD62B1}"/>
                </a:ext>
              </a:extLst>
            </p:cNvPr>
            <p:cNvGrpSpPr/>
            <p:nvPr/>
          </p:nvGrpSpPr>
          <p:grpSpPr>
            <a:xfrm>
              <a:off x="8244168" y="2604461"/>
              <a:ext cx="1823301" cy="295269"/>
              <a:chOff x="2554158" y="1493927"/>
              <a:chExt cx="3536455" cy="572700"/>
            </a:xfrm>
          </p:grpSpPr>
          <p:sp>
            <p:nvSpPr>
              <p:cNvPr id="618" name="Rounded Rectangle">
                <a:extLst>
                  <a:ext uri="{FF2B5EF4-FFF2-40B4-BE49-F238E27FC236}">
                    <a16:creationId xmlns:a16="http://schemas.microsoft.com/office/drawing/2014/main" id="{78AEC9AB-0A81-4700-8C65-FB3AD0E26778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19" name="Market analysis">
                <a:extLst>
                  <a:ext uri="{FF2B5EF4-FFF2-40B4-BE49-F238E27FC236}">
                    <a16:creationId xmlns:a16="http://schemas.microsoft.com/office/drawing/2014/main" id="{8710BA5A-04A8-40F8-AC54-F1A2A276093A}"/>
                  </a:ext>
                </a:extLst>
              </p:cNvPr>
              <p:cNvSpPr txBox="1"/>
              <p:nvPr/>
            </p:nvSpPr>
            <p:spPr>
              <a:xfrm>
                <a:off x="3249623" y="1633528"/>
                <a:ext cx="1727475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20" name="Группа 619">
                <a:extLst>
                  <a:ext uri="{FF2B5EF4-FFF2-40B4-BE49-F238E27FC236}">
                    <a16:creationId xmlns:a16="http://schemas.microsoft.com/office/drawing/2014/main" id="{30CF52B6-34A3-49A6-8A32-4F023E287E3A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21" name="Circle">
                  <a:extLst>
                    <a:ext uri="{FF2B5EF4-FFF2-40B4-BE49-F238E27FC236}">
                      <a16:creationId xmlns:a16="http://schemas.microsoft.com/office/drawing/2014/main" id="{E5A5772A-2FF1-4123-B45D-842E2A15DC21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22" name="Группа 621">
                  <a:extLst>
                    <a:ext uri="{FF2B5EF4-FFF2-40B4-BE49-F238E27FC236}">
                      <a16:creationId xmlns:a16="http://schemas.microsoft.com/office/drawing/2014/main" id="{016A24BE-AF4E-4B99-8E1F-70C03CB5C19A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23" name="Полилиния: фигура 622">
                    <a:extLst>
                      <a:ext uri="{FF2B5EF4-FFF2-40B4-BE49-F238E27FC236}">
                        <a16:creationId xmlns:a16="http://schemas.microsoft.com/office/drawing/2014/main" id="{D7B7936F-7FB4-43F5-918C-13A97A779BAA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24" name="Карточка 1_Ава">
                    <a:extLst>
                      <a:ext uri="{FF2B5EF4-FFF2-40B4-BE49-F238E27FC236}">
                        <a16:creationId xmlns:a16="http://schemas.microsoft.com/office/drawing/2014/main" id="{BED75E78-E4A3-4C6C-A176-837435059721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25" name="Карточка 1_Ава">
                      <a:extLst>
                        <a:ext uri="{FF2B5EF4-FFF2-40B4-BE49-F238E27FC236}">
                          <a16:creationId xmlns:a16="http://schemas.microsoft.com/office/drawing/2014/main" id="{1BD691F2-9FF4-4265-A8EE-E9B370CA17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31" name="Полилиния: фигура 630">
                        <a:extLst>
                          <a:ext uri="{FF2B5EF4-FFF2-40B4-BE49-F238E27FC236}">
                            <a16:creationId xmlns:a16="http://schemas.microsoft.com/office/drawing/2014/main" id="{3839B6E0-E901-44FA-AD73-DDEB80EE22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2" name="Полилиния: фигура 631">
                        <a:extLst>
                          <a:ext uri="{FF2B5EF4-FFF2-40B4-BE49-F238E27FC236}">
                            <a16:creationId xmlns:a16="http://schemas.microsoft.com/office/drawing/2014/main" id="{5C6EFBDE-649F-49FA-9C17-091E0D3510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3" name="Полилиния: фигура 632">
                        <a:extLst>
                          <a:ext uri="{FF2B5EF4-FFF2-40B4-BE49-F238E27FC236}">
                            <a16:creationId xmlns:a16="http://schemas.microsoft.com/office/drawing/2014/main" id="{95C67D1B-0884-4031-B3C9-FFC1DC2A5D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4" name="Полилиния: фигура 633">
                        <a:extLst>
                          <a:ext uri="{FF2B5EF4-FFF2-40B4-BE49-F238E27FC236}">
                            <a16:creationId xmlns:a16="http://schemas.microsoft.com/office/drawing/2014/main" id="{2B81A90A-BAA7-442F-9A1E-0B7AF93BD8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5" name="Полилиния: фигура 634">
                        <a:extLst>
                          <a:ext uri="{FF2B5EF4-FFF2-40B4-BE49-F238E27FC236}">
                            <a16:creationId xmlns:a16="http://schemas.microsoft.com/office/drawing/2014/main" id="{F5B540B9-0D72-4DC6-96D4-37AFB04D2F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6" name="Полилиния: фигура 635">
                        <a:extLst>
                          <a:ext uri="{FF2B5EF4-FFF2-40B4-BE49-F238E27FC236}">
                            <a16:creationId xmlns:a16="http://schemas.microsoft.com/office/drawing/2014/main" id="{AB97E415-9FB2-4535-8B74-22DAF7A8E7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7" name="Полилиния: фигура 636">
                        <a:extLst>
                          <a:ext uri="{FF2B5EF4-FFF2-40B4-BE49-F238E27FC236}">
                            <a16:creationId xmlns:a16="http://schemas.microsoft.com/office/drawing/2014/main" id="{3FAAE2AC-45A3-49B2-9D65-069CE5F8A2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8" name="Полилиния: фигура 637">
                        <a:extLst>
                          <a:ext uri="{FF2B5EF4-FFF2-40B4-BE49-F238E27FC236}">
                            <a16:creationId xmlns:a16="http://schemas.microsoft.com/office/drawing/2014/main" id="{74FE12BA-FDDF-4890-B0ED-8FC2CA61F1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9" name="Полилиния: фигура 638">
                        <a:extLst>
                          <a:ext uri="{FF2B5EF4-FFF2-40B4-BE49-F238E27FC236}">
                            <a16:creationId xmlns:a16="http://schemas.microsoft.com/office/drawing/2014/main" id="{FE7C2718-5BB3-4457-A340-B76500BE9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0" name="Полилиния: фигура 639">
                        <a:extLst>
                          <a:ext uri="{FF2B5EF4-FFF2-40B4-BE49-F238E27FC236}">
                            <a16:creationId xmlns:a16="http://schemas.microsoft.com/office/drawing/2014/main" id="{3CC48F5E-1FF2-489C-9DC8-7EE25D8CE5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1" name="Полилиния: фигура 640">
                        <a:extLst>
                          <a:ext uri="{FF2B5EF4-FFF2-40B4-BE49-F238E27FC236}">
                            <a16:creationId xmlns:a16="http://schemas.microsoft.com/office/drawing/2014/main" id="{ED1C846D-919B-41A1-9298-9BB95760F3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2" name="Полилиния: фигура 641">
                        <a:extLst>
                          <a:ext uri="{FF2B5EF4-FFF2-40B4-BE49-F238E27FC236}">
                            <a16:creationId xmlns:a16="http://schemas.microsoft.com/office/drawing/2014/main" id="{94E8511B-E3A7-4C20-871D-AAAA40BF33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26" name="Карточка 1_Ава">
                      <a:extLst>
                        <a:ext uri="{FF2B5EF4-FFF2-40B4-BE49-F238E27FC236}">
                          <a16:creationId xmlns:a16="http://schemas.microsoft.com/office/drawing/2014/main" id="{AD226115-A934-471B-9612-199B3C0478F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27" name="Полилиния: фигура 626">
                        <a:extLst>
                          <a:ext uri="{FF2B5EF4-FFF2-40B4-BE49-F238E27FC236}">
                            <a16:creationId xmlns:a16="http://schemas.microsoft.com/office/drawing/2014/main" id="{F58D38EF-6818-471A-B8BD-B65887A5B5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8" name="Полилиния: фигура 627">
                        <a:extLst>
                          <a:ext uri="{FF2B5EF4-FFF2-40B4-BE49-F238E27FC236}">
                            <a16:creationId xmlns:a16="http://schemas.microsoft.com/office/drawing/2014/main" id="{82238C46-9667-48F6-8A4C-4E4A04E724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9" name="Полилиния: фигура 628">
                        <a:extLst>
                          <a:ext uri="{FF2B5EF4-FFF2-40B4-BE49-F238E27FC236}">
                            <a16:creationId xmlns:a16="http://schemas.microsoft.com/office/drawing/2014/main" id="{7A47439A-25DD-42EE-B26B-D337E14F70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0" name="Полилиния: фигура 629">
                        <a:extLst>
                          <a:ext uri="{FF2B5EF4-FFF2-40B4-BE49-F238E27FC236}">
                            <a16:creationId xmlns:a16="http://schemas.microsoft.com/office/drawing/2014/main" id="{77F71116-D1AD-4B39-AF00-65C396FA63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668" name="ДБО">
            <a:extLst>
              <a:ext uri="{FF2B5EF4-FFF2-40B4-BE49-F238E27FC236}">
                <a16:creationId xmlns:a16="http://schemas.microsoft.com/office/drawing/2014/main" id="{FFD453DC-8C91-47FB-B26D-E7A08C5C0DE3}"/>
              </a:ext>
            </a:extLst>
          </p:cNvPr>
          <p:cNvGrpSpPr/>
          <p:nvPr/>
        </p:nvGrpSpPr>
        <p:grpSpPr>
          <a:xfrm>
            <a:off x="2747775" y="3201811"/>
            <a:ext cx="1728864" cy="1506192"/>
            <a:chOff x="6762441" y="3744634"/>
            <a:chExt cx="2224863" cy="1938308"/>
          </a:xfrm>
        </p:grpSpPr>
        <p:sp>
          <p:nvSpPr>
            <p:cNvPr id="669" name="Shape_фон">
              <a:extLst>
                <a:ext uri="{FF2B5EF4-FFF2-40B4-BE49-F238E27FC236}">
                  <a16:creationId xmlns:a16="http://schemas.microsoft.com/office/drawing/2014/main" id="{6A50BB0C-91FC-476A-8611-B8EC7546DA82}"/>
                </a:ext>
              </a:extLst>
            </p:cNvPr>
            <p:cNvSpPr/>
            <p:nvPr/>
          </p:nvSpPr>
          <p:spPr>
            <a:xfrm>
              <a:off x="6762441" y="3744634"/>
              <a:ext cx="2224863" cy="193830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0" name="Описание">
              <a:extLst>
                <a:ext uri="{FF2B5EF4-FFF2-40B4-BE49-F238E27FC236}">
                  <a16:creationId xmlns:a16="http://schemas.microsoft.com/office/drawing/2014/main" id="{5BF05E17-BF19-46EB-B8A5-1C30AD728032}"/>
                </a:ext>
              </a:extLst>
            </p:cNvPr>
            <p:cNvSpPr txBox="1"/>
            <p:nvPr/>
          </p:nvSpPr>
          <p:spPr>
            <a:xfrm>
              <a:off x="7064333" y="3886587"/>
              <a:ext cx="1621079" cy="396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ДБО</a:t>
              </a:r>
            </a:p>
          </p:txBody>
        </p:sp>
        <p:grpSp>
          <p:nvGrpSpPr>
            <p:cNvPr id="671" name="Группа 670">
              <a:extLst>
                <a:ext uri="{FF2B5EF4-FFF2-40B4-BE49-F238E27FC236}">
                  <a16:creationId xmlns:a16="http://schemas.microsoft.com/office/drawing/2014/main" id="{A6D8C613-B5F2-452D-BB33-D42074C88B42}"/>
                </a:ext>
              </a:extLst>
            </p:cNvPr>
            <p:cNvGrpSpPr/>
            <p:nvPr/>
          </p:nvGrpSpPr>
          <p:grpSpPr>
            <a:xfrm>
              <a:off x="6984834" y="4434228"/>
              <a:ext cx="1823301" cy="295269"/>
              <a:chOff x="2554158" y="1493927"/>
              <a:chExt cx="3536455" cy="572700"/>
            </a:xfrm>
          </p:grpSpPr>
          <p:sp>
            <p:nvSpPr>
              <p:cNvPr id="698" name="Rounded Rectangle">
                <a:extLst>
                  <a:ext uri="{FF2B5EF4-FFF2-40B4-BE49-F238E27FC236}">
                    <a16:creationId xmlns:a16="http://schemas.microsoft.com/office/drawing/2014/main" id="{47D15581-0FE7-4BFD-980D-CA8393231463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99" name="Market analysis">
                <a:extLst>
                  <a:ext uri="{FF2B5EF4-FFF2-40B4-BE49-F238E27FC236}">
                    <a16:creationId xmlns:a16="http://schemas.microsoft.com/office/drawing/2014/main" id="{E96D06AC-156C-4270-B2E4-2E4A1641502D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00" name="Группа 699">
                <a:extLst>
                  <a:ext uri="{FF2B5EF4-FFF2-40B4-BE49-F238E27FC236}">
                    <a16:creationId xmlns:a16="http://schemas.microsoft.com/office/drawing/2014/main" id="{30511896-4B9A-41D9-B92A-3013585FCB30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01" name="Circle">
                  <a:extLst>
                    <a:ext uri="{FF2B5EF4-FFF2-40B4-BE49-F238E27FC236}">
                      <a16:creationId xmlns:a16="http://schemas.microsoft.com/office/drawing/2014/main" id="{2855C77E-B9A3-4716-8AC6-B50C206182B8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02" name="Группа 701">
                  <a:extLst>
                    <a:ext uri="{FF2B5EF4-FFF2-40B4-BE49-F238E27FC236}">
                      <a16:creationId xmlns:a16="http://schemas.microsoft.com/office/drawing/2014/main" id="{669C5CE0-FA4F-480E-BCA9-F30E58CE643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03" name="Полилиния: фигура 702">
                    <a:extLst>
                      <a:ext uri="{FF2B5EF4-FFF2-40B4-BE49-F238E27FC236}">
                        <a16:creationId xmlns:a16="http://schemas.microsoft.com/office/drawing/2014/main" id="{EE187BB7-1E0B-4F84-9BAC-0CFF394023BE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04" name="Карточка 1_Ава">
                    <a:extLst>
                      <a:ext uri="{FF2B5EF4-FFF2-40B4-BE49-F238E27FC236}">
                        <a16:creationId xmlns:a16="http://schemas.microsoft.com/office/drawing/2014/main" id="{89C7B1D7-6D2E-44B9-94D8-9D27418A3385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05" name="Карточка 1_Ава">
                      <a:extLst>
                        <a:ext uri="{FF2B5EF4-FFF2-40B4-BE49-F238E27FC236}">
                          <a16:creationId xmlns:a16="http://schemas.microsoft.com/office/drawing/2014/main" id="{3EBF12E2-EEF8-48D8-A422-5F27786AD1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11" name="Полилиния: фигура 710">
                        <a:extLst>
                          <a:ext uri="{FF2B5EF4-FFF2-40B4-BE49-F238E27FC236}">
                            <a16:creationId xmlns:a16="http://schemas.microsoft.com/office/drawing/2014/main" id="{306AD584-9E3E-4CC0-B758-16723F425A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2" name="Полилиния: фигура 711">
                        <a:extLst>
                          <a:ext uri="{FF2B5EF4-FFF2-40B4-BE49-F238E27FC236}">
                            <a16:creationId xmlns:a16="http://schemas.microsoft.com/office/drawing/2014/main" id="{4F8261AD-7267-4F7C-A6D0-1CA87B3933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3" name="Полилиния: фигура 712">
                        <a:extLst>
                          <a:ext uri="{FF2B5EF4-FFF2-40B4-BE49-F238E27FC236}">
                            <a16:creationId xmlns:a16="http://schemas.microsoft.com/office/drawing/2014/main" id="{9460C9F2-CB1E-4682-B271-2BEB11B37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4" name="Полилиния: фигура 713">
                        <a:extLst>
                          <a:ext uri="{FF2B5EF4-FFF2-40B4-BE49-F238E27FC236}">
                            <a16:creationId xmlns:a16="http://schemas.microsoft.com/office/drawing/2014/main" id="{8EA7245A-FCD7-41B8-B6C0-DC81397680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5" name="Полилиния: фигура 714">
                        <a:extLst>
                          <a:ext uri="{FF2B5EF4-FFF2-40B4-BE49-F238E27FC236}">
                            <a16:creationId xmlns:a16="http://schemas.microsoft.com/office/drawing/2014/main" id="{AD20C87B-1D1C-413D-8289-47522AA753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6" name="Полилиния: фигура 715">
                        <a:extLst>
                          <a:ext uri="{FF2B5EF4-FFF2-40B4-BE49-F238E27FC236}">
                            <a16:creationId xmlns:a16="http://schemas.microsoft.com/office/drawing/2014/main" id="{157BD03E-A73D-4F94-90AA-56AAC4CF56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7" name="Полилиния: фигура 716">
                        <a:extLst>
                          <a:ext uri="{FF2B5EF4-FFF2-40B4-BE49-F238E27FC236}">
                            <a16:creationId xmlns:a16="http://schemas.microsoft.com/office/drawing/2014/main" id="{DF58CEB5-05ED-45D9-9441-341BDB4202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8" name="Полилиния: фигура 717">
                        <a:extLst>
                          <a:ext uri="{FF2B5EF4-FFF2-40B4-BE49-F238E27FC236}">
                            <a16:creationId xmlns:a16="http://schemas.microsoft.com/office/drawing/2014/main" id="{CC12FAD7-707C-479B-BCF7-7983BB55F6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9" name="Полилиния: фигура 718">
                        <a:extLst>
                          <a:ext uri="{FF2B5EF4-FFF2-40B4-BE49-F238E27FC236}">
                            <a16:creationId xmlns:a16="http://schemas.microsoft.com/office/drawing/2014/main" id="{C65C150D-C67B-49C0-B74D-26F5D1CEFD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0" name="Полилиния: фигура 719">
                        <a:extLst>
                          <a:ext uri="{FF2B5EF4-FFF2-40B4-BE49-F238E27FC236}">
                            <a16:creationId xmlns:a16="http://schemas.microsoft.com/office/drawing/2014/main" id="{DD07F601-E7DA-42FF-9D11-D67FCC49FA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1" name="Полилиния: фигура 720">
                        <a:extLst>
                          <a:ext uri="{FF2B5EF4-FFF2-40B4-BE49-F238E27FC236}">
                            <a16:creationId xmlns:a16="http://schemas.microsoft.com/office/drawing/2014/main" id="{0DFD63C8-1718-4209-829D-E8A4EEB0E3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2" name="Полилиния: фигура 721">
                        <a:extLst>
                          <a:ext uri="{FF2B5EF4-FFF2-40B4-BE49-F238E27FC236}">
                            <a16:creationId xmlns:a16="http://schemas.microsoft.com/office/drawing/2014/main" id="{35ED51E5-654D-492D-A0AD-2ACFB6741B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06" name="Карточка 1_Ава">
                      <a:extLst>
                        <a:ext uri="{FF2B5EF4-FFF2-40B4-BE49-F238E27FC236}">
                          <a16:creationId xmlns:a16="http://schemas.microsoft.com/office/drawing/2014/main" id="{A6C27542-0C35-488D-965B-EBE237A502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07" name="Полилиния: фигура 706">
                        <a:extLst>
                          <a:ext uri="{FF2B5EF4-FFF2-40B4-BE49-F238E27FC236}">
                            <a16:creationId xmlns:a16="http://schemas.microsoft.com/office/drawing/2014/main" id="{E79D04D8-81A3-4B72-956E-975B79EAE7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8" name="Полилиния: фигура 707">
                        <a:extLst>
                          <a:ext uri="{FF2B5EF4-FFF2-40B4-BE49-F238E27FC236}">
                            <a16:creationId xmlns:a16="http://schemas.microsoft.com/office/drawing/2014/main" id="{9744D204-16EA-40B3-ACE4-55163AFC9E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9" name="Полилиния: фигура 708">
                        <a:extLst>
                          <a:ext uri="{FF2B5EF4-FFF2-40B4-BE49-F238E27FC236}">
                            <a16:creationId xmlns:a16="http://schemas.microsoft.com/office/drawing/2014/main" id="{2BCA5EAA-20DC-497E-8A96-E644A2BE0C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0" name="Полилиния: фигура 709">
                        <a:extLst>
                          <a:ext uri="{FF2B5EF4-FFF2-40B4-BE49-F238E27FC236}">
                            <a16:creationId xmlns:a16="http://schemas.microsoft.com/office/drawing/2014/main" id="{9AB89EC7-20A3-492C-9698-427E1C81D1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72" name="Группа 671">
              <a:extLst>
                <a:ext uri="{FF2B5EF4-FFF2-40B4-BE49-F238E27FC236}">
                  <a16:creationId xmlns:a16="http://schemas.microsoft.com/office/drawing/2014/main" id="{4155EAA3-8557-4D29-AEA2-E3821036EA15}"/>
                </a:ext>
              </a:extLst>
            </p:cNvPr>
            <p:cNvGrpSpPr/>
            <p:nvPr/>
          </p:nvGrpSpPr>
          <p:grpSpPr>
            <a:xfrm>
              <a:off x="6984834" y="4853398"/>
              <a:ext cx="1823301" cy="295269"/>
              <a:chOff x="2554158" y="1493927"/>
              <a:chExt cx="3536455" cy="572700"/>
            </a:xfrm>
          </p:grpSpPr>
          <p:sp>
            <p:nvSpPr>
              <p:cNvPr id="673" name="Rounded Rectangle">
                <a:extLst>
                  <a:ext uri="{FF2B5EF4-FFF2-40B4-BE49-F238E27FC236}">
                    <a16:creationId xmlns:a16="http://schemas.microsoft.com/office/drawing/2014/main" id="{2D89A8B9-36ED-4625-A681-E9E9A97B779C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74" name="Market analysis">
                <a:extLst>
                  <a:ext uri="{FF2B5EF4-FFF2-40B4-BE49-F238E27FC236}">
                    <a16:creationId xmlns:a16="http://schemas.microsoft.com/office/drawing/2014/main" id="{59FDC325-E80B-47CB-BEEA-94B9CBF0A9F1}"/>
                  </a:ext>
                </a:extLst>
              </p:cNvPr>
              <p:cNvSpPr txBox="1"/>
              <p:nvPr/>
            </p:nvSpPr>
            <p:spPr>
              <a:xfrm>
                <a:off x="3249623" y="1633528"/>
                <a:ext cx="1727475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75" name="Группа 674">
                <a:extLst>
                  <a:ext uri="{FF2B5EF4-FFF2-40B4-BE49-F238E27FC236}">
                    <a16:creationId xmlns:a16="http://schemas.microsoft.com/office/drawing/2014/main" id="{61A0D4C6-3076-4B48-A8B2-336E9F1CA26A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76" name="Circle">
                  <a:extLst>
                    <a:ext uri="{FF2B5EF4-FFF2-40B4-BE49-F238E27FC236}">
                      <a16:creationId xmlns:a16="http://schemas.microsoft.com/office/drawing/2014/main" id="{C31DDD99-5347-4D1C-920D-89B59B08645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ln w="0"/>
                    <a:solidFill>
                      <a:schemeClr val="accent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77" name="Группа 676">
                  <a:extLst>
                    <a:ext uri="{FF2B5EF4-FFF2-40B4-BE49-F238E27FC236}">
                      <a16:creationId xmlns:a16="http://schemas.microsoft.com/office/drawing/2014/main" id="{E1A489DA-CEF6-4DD2-8D3C-EC0D16D4310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78" name="Полилиния: фигура 677">
                    <a:extLst>
                      <a:ext uri="{FF2B5EF4-FFF2-40B4-BE49-F238E27FC236}">
                        <a16:creationId xmlns:a16="http://schemas.microsoft.com/office/drawing/2014/main" id="{340CCBE1-B0D5-4025-8414-BF7707C9AAA6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79" name="Карточка 1_Ава">
                    <a:extLst>
                      <a:ext uri="{FF2B5EF4-FFF2-40B4-BE49-F238E27FC236}">
                        <a16:creationId xmlns:a16="http://schemas.microsoft.com/office/drawing/2014/main" id="{EB51CCA2-866F-4598-91CD-47793F0B69D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80" name="Карточка 1_Ава">
                      <a:extLst>
                        <a:ext uri="{FF2B5EF4-FFF2-40B4-BE49-F238E27FC236}">
                          <a16:creationId xmlns:a16="http://schemas.microsoft.com/office/drawing/2014/main" id="{AF78B194-BCEE-40DF-8F92-E0EF6FEFA7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86" name="Полилиния: фигура 685">
                        <a:extLst>
                          <a:ext uri="{FF2B5EF4-FFF2-40B4-BE49-F238E27FC236}">
                            <a16:creationId xmlns:a16="http://schemas.microsoft.com/office/drawing/2014/main" id="{4159C27C-EEB1-445B-A660-AE3A5B2F2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7" name="Полилиния: фигура 686">
                        <a:extLst>
                          <a:ext uri="{FF2B5EF4-FFF2-40B4-BE49-F238E27FC236}">
                            <a16:creationId xmlns:a16="http://schemas.microsoft.com/office/drawing/2014/main" id="{63D56F07-DF78-44B7-BC7D-2676100770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8" name="Полилиния: фигура 687">
                        <a:extLst>
                          <a:ext uri="{FF2B5EF4-FFF2-40B4-BE49-F238E27FC236}">
                            <a16:creationId xmlns:a16="http://schemas.microsoft.com/office/drawing/2014/main" id="{A0153F5A-FACE-4A0D-B530-F689DD85ED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9" name="Полилиния: фигура 688">
                        <a:extLst>
                          <a:ext uri="{FF2B5EF4-FFF2-40B4-BE49-F238E27FC236}">
                            <a16:creationId xmlns:a16="http://schemas.microsoft.com/office/drawing/2014/main" id="{38C0F122-D0BD-42F6-8826-93A65D1CC4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0" name="Полилиния: фигура 689">
                        <a:extLst>
                          <a:ext uri="{FF2B5EF4-FFF2-40B4-BE49-F238E27FC236}">
                            <a16:creationId xmlns:a16="http://schemas.microsoft.com/office/drawing/2014/main" id="{EA8515F7-3F1D-4844-9E7D-0A5CFB0864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1" name="Полилиния: фигура 690">
                        <a:extLst>
                          <a:ext uri="{FF2B5EF4-FFF2-40B4-BE49-F238E27FC236}">
                            <a16:creationId xmlns:a16="http://schemas.microsoft.com/office/drawing/2014/main" id="{8AC65F3A-1754-489C-A4FE-C59A940CC4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2" name="Полилиния: фигура 691">
                        <a:extLst>
                          <a:ext uri="{FF2B5EF4-FFF2-40B4-BE49-F238E27FC236}">
                            <a16:creationId xmlns:a16="http://schemas.microsoft.com/office/drawing/2014/main" id="{015FA184-1266-45F4-9469-C71D3F5C6E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3" name="Полилиния: фигура 692">
                        <a:extLst>
                          <a:ext uri="{FF2B5EF4-FFF2-40B4-BE49-F238E27FC236}">
                            <a16:creationId xmlns:a16="http://schemas.microsoft.com/office/drawing/2014/main" id="{8612495A-8E86-4027-BCBA-024FABF03F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4" name="Полилиния: фигура 693">
                        <a:extLst>
                          <a:ext uri="{FF2B5EF4-FFF2-40B4-BE49-F238E27FC236}">
                            <a16:creationId xmlns:a16="http://schemas.microsoft.com/office/drawing/2014/main" id="{E23FAEC5-393F-4A94-B701-22C99BD3F1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5" name="Полилиния: фигура 694">
                        <a:extLst>
                          <a:ext uri="{FF2B5EF4-FFF2-40B4-BE49-F238E27FC236}">
                            <a16:creationId xmlns:a16="http://schemas.microsoft.com/office/drawing/2014/main" id="{9D63CDA7-6055-418F-BE59-7FF7131F3F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6" name="Полилиния: фигура 695">
                        <a:extLst>
                          <a:ext uri="{FF2B5EF4-FFF2-40B4-BE49-F238E27FC236}">
                            <a16:creationId xmlns:a16="http://schemas.microsoft.com/office/drawing/2014/main" id="{BC70D955-D057-431B-94FA-6AFC75620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7" name="Полилиния: фигура 696">
                        <a:extLst>
                          <a:ext uri="{FF2B5EF4-FFF2-40B4-BE49-F238E27FC236}">
                            <a16:creationId xmlns:a16="http://schemas.microsoft.com/office/drawing/2014/main" id="{4E3A5755-C37A-4C93-B422-D94E393C14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81" name="Карточка 1_Ава">
                      <a:extLst>
                        <a:ext uri="{FF2B5EF4-FFF2-40B4-BE49-F238E27FC236}">
                          <a16:creationId xmlns:a16="http://schemas.microsoft.com/office/drawing/2014/main" id="{55E4876D-922D-4021-B276-1EB532C4A7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82" name="Полилиния: фигура 681">
                        <a:extLst>
                          <a:ext uri="{FF2B5EF4-FFF2-40B4-BE49-F238E27FC236}">
                            <a16:creationId xmlns:a16="http://schemas.microsoft.com/office/drawing/2014/main" id="{057D1FC6-7330-4193-8918-09E8A2CDB9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3" name="Полилиния: фигура 682">
                        <a:extLst>
                          <a:ext uri="{FF2B5EF4-FFF2-40B4-BE49-F238E27FC236}">
                            <a16:creationId xmlns:a16="http://schemas.microsoft.com/office/drawing/2014/main" id="{71E12CC8-1D7D-499F-83BA-C211027BC4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4" name="Полилиния: фигура 683">
                        <a:extLst>
                          <a:ext uri="{FF2B5EF4-FFF2-40B4-BE49-F238E27FC236}">
                            <a16:creationId xmlns:a16="http://schemas.microsoft.com/office/drawing/2014/main" id="{998B2E7A-4EA7-4F2D-8889-224075F25E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85" name="Полилиния: фигура 684">
                        <a:extLst>
                          <a:ext uri="{FF2B5EF4-FFF2-40B4-BE49-F238E27FC236}">
                            <a16:creationId xmlns:a16="http://schemas.microsoft.com/office/drawing/2014/main" id="{1E3DC35E-98FE-4A55-A33A-9475E92FE6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723" name="DWH">
            <a:extLst>
              <a:ext uri="{FF2B5EF4-FFF2-40B4-BE49-F238E27FC236}">
                <a16:creationId xmlns:a16="http://schemas.microsoft.com/office/drawing/2014/main" id="{527C32EC-36A5-4410-9AFE-D34A7FE28CA2}"/>
              </a:ext>
            </a:extLst>
          </p:cNvPr>
          <p:cNvGrpSpPr/>
          <p:nvPr/>
        </p:nvGrpSpPr>
        <p:grpSpPr>
          <a:xfrm>
            <a:off x="1022030" y="3157479"/>
            <a:ext cx="1728864" cy="1494182"/>
            <a:chOff x="3726533" y="3744634"/>
            <a:chExt cx="2224863" cy="1922851"/>
          </a:xfrm>
        </p:grpSpPr>
        <p:sp>
          <p:nvSpPr>
            <p:cNvPr id="724" name="Shape_фон">
              <a:extLst>
                <a:ext uri="{FF2B5EF4-FFF2-40B4-BE49-F238E27FC236}">
                  <a16:creationId xmlns:a16="http://schemas.microsoft.com/office/drawing/2014/main" id="{EEF5C71B-870A-425C-A8A0-CE6A6AF06D89}"/>
                </a:ext>
              </a:extLst>
            </p:cNvPr>
            <p:cNvSpPr/>
            <p:nvPr/>
          </p:nvSpPr>
          <p:spPr>
            <a:xfrm>
              <a:off x="3726533" y="3744634"/>
              <a:ext cx="2224863" cy="192285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25" name="Описание">
              <a:extLst>
                <a:ext uri="{FF2B5EF4-FFF2-40B4-BE49-F238E27FC236}">
                  <a16:creationId xmlns:a16="http://schemas.microsoft.com/office/drawing/2014/main" id="{17B4654B-00BA-434D-B117-19561FA611B1}"/>
                </a:ext>
              </a:extLst>
            </p:cNvPr>
            <p:cNvSpPr txBox="1"/>
            <p:nvPr/>
          </p:nvSpPr>
          <p:spPr>
            <a:xfrm>
              <a:off x="4028425" y="3886587"/>
              <a:ext cx="1621079" cy="396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DWH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726" name="Группа 725">
              <a:extLst>
                <a:ext uri="{FF2B5EF4-FFF2-40B4-BE49-F238E27FC236}">
                  <a16:creationId xmlns:a16="http://schemas.microsoft.com/office/drawing/2014/main" id="{EF3E0CF8-649D-45FF-A6A4-8EB053C99918}"/>
                </a:ext>
              </a:extLst>
            </p:cNvPr>
            <p:cNvGrpSpPr/>
            <p:nvPr/>
          </p:nvGrpSpPr>
          <p:grpSpPr>
            <a:xfrm>
              <a:off x="3948926" y="4397042"/>
              <a:ext cx="1823301" cy="295269"/>
              <a:chOff x="2554158" y="1493927"/>
              <a:chExt cx="3536455" cy="572700"/>
            </a:xfrm>
          </p:grpSpPr>
          <p:sp>
            <p:nvSpPr>
              <p:cNvPr id="779" name="Rounded Rectangle">
                <a:extLst>
                  <a:ext uri="{FF2B5EF4-FFF2-40B4-BE49-F238E27FC236}">
                    <a16:creationId xmlns:a16="http://schemas.microsoft.com/office/drawing/2014/main" id="{310D1A14-5CA9-4212-BC79-1B49B60EC14E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80" name="Market analysis">
                <a:extLst>
                  <a:ext uri="{FF2B5EF4-FFF2-40B4-BE49-F238E27FC236}">
                    <a16:creationId xmlns:a16="http://schemas.microsoft.com/office/drawing/2014/main" id="{DB555BA2-8EFC-4836-9995-BD8498014FFF}"/>
                  </a:ext>
                </a:extLst>
              </p:cNvPr>
              <p:cNvSpPr txBox="1"/>
              <p:nvPr/>
            </p:nvSpPr>
            <p:spPr>
              <a:xfrm>
                <a:off x="3249623" y="1656442"/>
                <a:ext cx="2045823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81" name="Группа 780">
                <a:extLst>
                  <a:ext uri="{FF2B5EF4-FFF2-40B4-BE49-F238E27FC236}">
                    <a16:creationId xmlns:a16="http://schemas.microsoft.com/office/drawing/2014/main" id="{37FE4C39-3884-4C32-A03C-07774F2FB48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82" name="Circle">
                  <a:extLst>
                    <a:ext uri="{FF2B5EF4-FFF2-40B4-BE49-F238E27FC236}">
                      <a16:creationId xmlns:a16="http://schemas.microsoft.com/office/drawing/2014/main" id="{4F39D9BC-FAC6-4843-BED5-FBBCBD40690A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83" name="Группа 782">
                  <a:extLst>
                    <a:ext uri="{FF2B5EF4-FFF2-40B4-BE49-F238E27FC236}">
                      <a16:creationId xmlns:a16="http://schemas.microsoft.com/office/drawing/2014/main" id="{C47D10AD-7C4D-473C-A496-107EDF1CD858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84" name="Полилиния: фигура 783">
                    <a:extLst>
                      <a:ext uri="{FF2B5EF4-FFF2-40B4-BE49-F238E27FC236}">
                        <a16:creationId xmlns:a16="http://schemas.microsoft.com/office/drawing/2014/main" id="{04DCF48E-B256-4E3F-B231-3F5776E8042C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85" name="Карточка 1_Ава">
                    <a:extLst>
                      <a:ext uri="{FF2B5EF4-FFF2-40B4-BE49-F238E27FC236}">
                        <a16:creationId xmlns:a16="http://schemas.microsoft.com/office/drawing/2014/main" id="{C7E6A62D-126F-4200-AF63-FB488A89DAC5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86" name="Карточка 1_Ава">
                      <a:extLst>
                        <a:ext uri="{FF2B5EF4-FFF2-40B4-BE49-F238E27FC236}">
                          <a16:creationId xmlns:a16="http://schemas.microsoft.com/office/drawing/2014/main" id="{C52C69FF-7A44-4718-A622-B03DC637F0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92" name="Полилиния: фигура 791">
                        <a:extLst>
                          <a:ext uri="{FF2B5EF4-FFF2-40B4-BE49-F238E27FC236}">
                            <a16:creationId xmlns:a16="http://schemas.microsoft.com/office/drawing/2014/main" id="{937EA3C7-3757-479C-87C0-09A28E3BAD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3" name="Полилиния: фигура 792">
                        <a:extLst>
                          <a:ext uri="{FF2B5EF4-FFF2-40B4-BE49-F238E27FC236}">
                            <a16:creationId xmlns:a16="http://schemas.microsoft.com/office/drawing/2014/main" id="{FA59C53C-459D-4959-9088-7781218901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4" name="Полилиния: фигура 793">
                        <a:extLst>
                          <a:ext uri="{FF2B5EF4-FFF2-40B4-BE49-F238E27FC236}">
                            <a16:creationId xmlns:a16="http://schemas.microsoft.com/office/drawing/2014/main" id="{453477B1-762D-4F57-816B-CEAAE6F21F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5" name="Полилиния: фигура 794">
                        <a:extLst>
                          <a:ext uri="{FF2B5EF4-FFF2-40B4-BE49-F238E27FC236}">
                            <a16:creationId xmlns:a16="http://schemas.microsoft.com/office/drawing/2014/main" id="{0B60D3AA-46D8-4B30-BA38-16B02A0032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6" name="Полилиния: фигура 795">
                        <a:extLst>
                          <a:ext uri="{FF2B5EF4-FFF2-40B4-BE49-F238E27FC236}">
                            <a16:creationId xmlns:a16="http://schemas.microsoft.com/office/drawing/2014/main" id="{94AA3295-E151-4B70-8C6C-91044BB755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7" name="Полилиния: фигура 796">
                        <a:extLst>
                          <a:ext uri="{FF2B5EF4-FFF2-40B4-BE49-F238E27FC236}">
                            <a16:creationId xmlns:a16="http://schemas.microsoft.com/office/drawing/2014/main" id="{06A03A18-4083-4DD9-B650-2E9FAEB79A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8" name="Полилиния: фигура 797">
                        <a:extLst>
                          <a:ext uri="{FF2B5EF4-FFF2-40B4-BE49-F238E27FC236}">
                            <a16:creationId xmlns:a16="http://schemas.microsoft.com/office/drawing/2014/main" id="{6A2E0C2D-464E-4B7F-9071-E61C18E18A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9" name="Полилиния: фигура 798">
                        <a:extLst>
                          <a:ext uri="{FF2B5EF4-FFF2-40B4-BE49-F238E27FC236}">
                            <a16:creationId xmlns:a16="http://schemas.microsoft.com/office/drawing/2014/main" id="{9A7B8EF4-9DB6-4C0E-9FEA-DBE441E71F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0" name="Полилиния: фигура 799">
                        <a:extLst>
                          <a:ext uri="{FF2B5EF4-FFF2-40B4-BE49-F238E27FC236}">
                            <a16:creationId xmlns:a16="http://schemas.microsoft.com/office/drawing/2014/main" id="{071E0754-01CE-4C08-B022-4D40A218D8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1" name="Полилиния: фигура 800">
                        <a:extLst>
                          <a:ext uri="{FF2B5EF4-FFF2-40B4-BE49-F238E27FC236}">
                            <a16:creationId xmlns:a16="http://schemas.microsoft.com/office/drawing/2014/main" id="{A7DA6097-E8A6-4885-A690-2158869883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2" name="Полилиния: фигура 801">
                        <a:extLst>
                          <a:ext uri="{FF2B5EF4-FFF2-40B4-BE49-F238E27FC236}">
                            <a16:creationId xmlns:a16="http://schemas.microsoft.com/office/drawing/2014/main" id="{1BE53B5A-BAD9-4783-9028-AA3FF305C0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3" name="Полилиния: фигура 802">
                        <a:extLst>
                          <a:ext uri="{FF2B5EF4-FFF2-40B4-BE49-F238E27FC236}">
                            <a16:creationId xmlns:a16="http://schemas.microsoft.com/office/drawing/2014/main" id="{A595E279-8E78-4C35-806E-0CAF34D1FB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87" name="Карточка 1_Ава">
                      <a:extLst>
                        <a:ext uri="{FF2B5EF4-FFF2-40B4-BE49-F238E27FC236}">
                          <a16:creationId xmlns:a16="http://schemas.microsoft.com/office/drawing/2014/main" id="{B9203CB3-3D27-45F4-A5FE-B0CEFB08BB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88" name="Полилиния: фигура 787">
                        <a:extLst>
                          <a:ext uri="{FF2B5EF4-FFF2-40B4-BE49-F238E27FC236}">
                            <a16:creationId xmlns:a16="http://schemas.microsoft.com/office/drawing/2014/main" id="{59E911FE-B003-4234-8EB3-49DF6593DB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89" name="Полилиния: фигура 788">
                        <a:extLst>
                          <a:ext uri="{FF2B5EF4-FFF2-40B4-BE49-F238E27FC236}">
                            <a16:creationId xmlns:a16="http://schemas.microsoft.com/office/drawing/2014/main" id="{B4F229F1-31B3-4699-A9B2-1F41448AB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0" name="Полилиния: фигура 789">
                        <a:extLst>
                          <a:ext uri="{FF2B5EF4-FFF2-40B4-BE49-F238E27FC236}">
                            <a16:creationId xmlns:a16="http://schemas.microsoft.com/office/drawing/2014/main" id="{4D92BED9-063B-4815-8384-8358E46FD5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1" name="Полилиния: фигура 790">
                        <a:extLst>
                          <a:ext uri="{FF2B5EF4-FFF2-40B4-BE49-F238E27FC236}">
                            <a16:creationId xmlns:a16="http://schemas.microsoft.com/office/drawing/2014/main" id="{BB097C1D-B917-44B8-B43C-7EF363A6DA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27" name="Группа 726">
              <a:extLst>
                <a:ext uri="{FF2B5EF4-FFF2-40B4-BE49-F238E27FC236}">
                  <a16:creationId xmlns:a16="http://schemas.microsoft.com/office/drawing/2014/main" id="{2C9671FD-0F3D-4D34-984B-8E64FF86D9D3}"/>
                </a:ext>
              </a:extLst>
            </p:cNvPr>
            <p:cNvGrpSpPr/>
            <p:nvPr/>
          </p:nvGrpSpPr>
          <p:grpSpPr>
            <a:xfrm>
              <a:off x="3948926" y="4816212"/>
              <a:ext cx="1823301" cy="295269"/>
              <a:chOff x="2554158" y="1493927"/>
              <a:chExt cx="3536455" cy="572700"/>
            </a:xfrm>
          </p:grpSpPr>
          <p:sp>
            <p:nvSpPr>
              <p:cNvPr id="754" name="Rounded Rectangle">
                <a:extLst>
                  <a:ext uri="{FF2B5EF4-FFF2-40B4-BE49-F238E27FC236}">
                    <a16:creationId xmlns:a16="http://schemas.microsoft.com/office/drawing/2014/main" id="{6A33D54E-ABFC-480B-B727-53CA8DE0B235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55" name="Market analysis">
                <a:extLst>
                  <a:ext uri="{FF2B5EF4-FFF2-40B4-BE49-F238E27FC236}">
                    <a16:creationId xmlns:a16="http://schemas.microsoft.com/office/drawing/2014/main" id="{E0C4BA58-FC14-462B-BD11-3C2213EC3F9E}"/>
                  </a:ext>
                </a:extLst>
              </p:cNvPr>
              <p:cNvSpPr txBox="1"/>
              <p:nvPr/>
            </p:nvSpPr>
            <p:spPr>
              <a:xfrm>
                <a:off x="3249623" y="1633528"/>
                <a:ext cx="1727475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56" name="Группа 755">
                <a:extLst>
                  <a:ext uri="{FF2B5EF4-FFF2-40B4-BE49-F238E27FC236}">
                    <a16:creationId xmlns:a16="http://schemas.microsoft.com/office/drawing/2014/main" id="{24512D09-ED60-4B18-87C8-0557D325D333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57" name="Circle">
                  <a:extLst>
                    <a:ext uri="{FF2B5EF4-FFF2-40B4-BE49-F238E27FC236}">
                      <a16:creationId xmlns:a16="http://schemas.microsoft.com/office/drawing/2014/main" id="{B0967DB6-0FD4-443B-A8DE-F6366E7F786E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58" name="Группа 757">
                  <a:extLst>
                    <a:ext uri="{FF2B5EF4-FFF2-40B4-BE49-F238E27FC236}">
                      <a16:creationId xmlns:a16="http://schemas.microsoft.com/office/drawing/2014/main" id="{0DEE9C9A-49B6-499B-83A1-D4D8BDBC45AE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59" name="Полилиния: фигура 758">
                    <a:extLst>
                      <a:ext uri="{FF2B5EF4-FFF2-40B4-BE49-F238E27FC236}">
                        <a16:creationId xmlns:a16="http://schemas.microsoft.com/office/drawing/2014/main" id="{4F0F9668-123D-408D-A817-D04FEC552BC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60" name="Карточка 1_Ава">
                    <a:extLst>
                      <a:ext uri="{FF2B5EF4-FFF2-40B4-BE49-F238E27FC236}">
                        <a16:creationId xmlns:a16="http://schemas.microsoft.com/office/drawing/2014/main" id="{3018F229-60FE-42E3-8283-85746AC8E570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61" name="Карточка 1_Ава">
                      <a:extLst>
                        <a:ext uri="{FF2B5EF4-FFF2-40B4-BE49-F238E27FC236}">
                          <a16:creationId xmlns:a16="http://schemas.microsoft.com/office/drawing/2014/main" id="{38D98452-1E64-443D-A92B-0C5A9C3A459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67" name="Полилиния: фигура 766">
                        <a:extLst>
                          <a:ext uri="{FF2B5EF4-FFF2-40B4-BE49-F238E27FC236}">
                            <a16:creationId xmlns:a16="http://schemas.microsoft.com/office/drawing/2014/main" id="{571D299D-C416-4F0A-8966-8E9E166DC1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8" name="Полилиния: фигура 767">
                        <a:extLst>
                          <a:ext uri="{FF2B5EF4-FFF2-40B4-BE49-F238E27FC236}">
                            <a16:creationId xmlns:a16="http://schemas.microsoft.com/office/drawing/2014/main" id="{9AE6CE44-55EE-4CC1-8D24-68058EAD84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9" name="Полилиния: фигура 768">
                        <a:extLst>
                          <a:ext uri="{FF2B5EF4-FFF2-40B4-BE49-F238E27FC236}">
                            <a16:creationId xmlns:a16="http://schemas.microsoft.com/office/drawing/2014/main" id="{80D28A66-06C5-4AEC-B502-F588F11BE4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0" name="Полилиния: фигура 769">
                        <a:extLst>
                          <a:ext uri="{FF2B5EF4-FFF2-40B4-BE49-F238E27FC236}">
                            <a16:creationId xmlns:a16="http://schemas.microsoft.com/office/drawing/2014/main" id="{15C884AF-22D8-400A-813C-4477010635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1" name="Полилиния: фигура 770">
                        <a:extLst>
                          <a:ext uri="{FF2B5EF4-FFF2-40B4-BE49-F238E27FC236}">
                            <a16:creationId xmlns:a16="http://schemas.microsoft.com/office/drawing/2014/main" id="{9B48826A-BC64-46E7-BEC8-E7432D416A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2" name="Полилиния: фигура 771">
                        <a:extLst>
                          <a:ext uri="{FF2B5EF4-FFF2-40B4-BE49-F238E27FC236}">
                            <a16:creationId xmlns:a16="http://schemas.microsoft.com/office/drawing/2014/main" id="{78102FAC-4B8B-4C14-B462-A5E4782384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3" name="Полилиния: фигура 772">
                        <a:extLst>
                          <a:ext uri="{FF2B5EF4-FFF2-40B4-BE49-F238E27FC236}">
                            <a16:creationId xmlns:a16="http://schemas.microsoft.com/office/drawing/2014/main" id="{9B96B361-6DC4-4500-9C6C-A687AB9B4A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4" name="Полилиния: фигура 773">
                        <a:extLst>
                          <a:ext uri="{FF2B5EF4-FFF2-40B4-BE49-F238E27FC236}">
                            <a16:creationId xmlns:a16="http://schemas.microsoft.com/office/drawing/2014/main" id="{EDD35D0F-C705-4B10-A475-0A746DDB9F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5" name="Полилиния: фигура 774">
                        <a:extLst>
                          <a:ext uri="{FF2B5EF4-FFF2-40B4-BE49-F238E27FC236}">
                            <a16:creationId xmlns:a16="http://schemas.microsoft.com/office/drawing/2014/main" id="{7FEA07DE-22A4-4814-8820-4BAD111C73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6" name="Полилиния: фигура 775">
                        <a:extLst>
                          <a:ext uri="{FF2B5EF4-FFF2-40B4-BE49-F238E27FC236}">
                            <a16:creationId xmlns:a16="http://schemas.microsoft.com/office/drawing/2014/main" id="{7F83DC79-4361-492A-83F6-A43A1D0694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7" name="Полилиния: фигура 776">
                        <a:extLst>
                          <a:ext uri="{FF2B5EF4-FFF2-40B4-BE49-F238E27FC236}">
                            <a16:creationId xmlns:a16="http://schemas.microsoft.com/office/drawing/2014/main" id="{73811BC7-D53C-4DA3-8EFF-A9484DDCC8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8" name="Полилиния: фигура 777">
                        <a:extLst>
                          <a:ext uri="{FF2B5EF4-FFF2-40B4-BE49-F238E27FC236}">
                            <a16:creationId xmlns:a16="http://schemas.microsoft.com/office/drawing/2014/main" id="{8F6AEA92-878D-43D7-93E9-1E677091C7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62" name="Карточка 1_Ава">
                      <a:extLst>
                        <a:ext uri="{FF2B5EF4-FFF2-40B4-BE49-F238E27FC236}">
                          <a16:creationId xmlns:a16="http://schemas.microsoft.com/office/drawing/2014/main" id="{3AAE5CAB-1B45-47E3-A8FE-63CA253F2B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63" name="Полилиния: фигура 762">
                        <a:extLst>
                          <a:ext uri="{FF2B5EF4-FFF2-40B4-BE49-F238E27FC236}">
                            <a16:creationId xmlns:a16="http://schemas.microsoft.com/office/drawing/2014/main" id="{79B947E6-AFFC-4AE4-B79F-52666C06E1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4" name="Полилиния: фигура 763">
                        <a:extLst>
                          <a:ext uri="{FF2B5EF4-FFF2-40B4-BE49-F238E27FC236}">
                            <a16:creationId xmlns:a16="http://schemas.microsoft.com/office/drawing/2014/main" id="{4A9DF37F-3C58-48A2-BF22-C3249F006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5" name="Полилиния: фигура 764">
                        <a:extLst>
                          <a:ext uri="{FF2B5EF4-FFF2-40B4-BE49-F238E27FC236}">
                            <a16:creationId xmlns:a16="http://schemas.microsoft.com/office/drawing/2014/main" id="{3A4C5063-F335-4C16-9641-18F3ED1C50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6" name="Полилиния: фигура 765">
                        <a:extLst>
                          <a:ext uri="{FF2B5EF4-FFF2-40B4-BE49-F238E27FC236}">
                            <a16:creationId xmlns:a16="http://schemas.microsoft.com/office/drawing/2014/main" id="{45406D6C-450F-4B3B-95F2-88F89E8F6E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28" name="Группа 727">
              <a:extLst>
                <a:ext uri="{FF2B5EF4-FFF2-40B4-BE49-F238E27FC236}">
                  <a16:creationId xmlns:a16="http://schemas.microsoft.com/office/drawing/2014/main" id="{47EE6D04-F009-4A29-B9C8-363001C08223}"/>
                </a:ext>
              </a:extLst>
            </p:cNvPr>
            <p:cNvGrpSpPr/>
            <p:nvPr/>
          </p:nvGrpSpPr>
          <p:grpSpPr>
            <a:xfrm>
              <a:off x="3948926" y="5197386"/>
              <a:ext cx="1823301" cy="295269"/>
              <a:chOff x="2554158" y="1493927"/>
              <a:chExt cx="3536455" cy="572700"/>
            </a:xfrm>
          </p:grpSpPr>
          <p:sp>
            <p:nvSpPr>
              <p:cNvPr id="729" name="Rounded Rectangle">
                <a:extLst>
                  <a:ext uri="{FF2B5EF4-FFF2-40B4-BE49-F238E27FC236}">
                    <a16:creationId xmlns:a16="http://schemas.microsoft.com/office/drawing/2014/main" id="{634E3759-9170-445C-81FC-716E506CD4A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30" name="Market analysis">
                <a:extLst>
                  <a:ext uri="{FF2B5EF4-FFF2-40B4-BE49-F238E27FC236}">
                    <a16:creationId xmlns:a16="http://schemas.microsoft.com/office/drawing/2014/main" id="{5C293846-F32C-4BD2-BB7A-C88FE6A56B4F}"/>
                  </a:ext>
                </a:extLst>
              </p:cNvPr>
              <p:cNvSpPr txBox="1"/>
              <p:nvPr/>
            </p:nvSpPr>
            <p:spPr>
              <a:xfrm>
                <a:off x="3249621" y="1633096"/>
                <a:ext cx="2323502" cy="22726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5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Лебедев Михаил Михайлович</a:t>
                </a:r>
                <a:endParaRPr sz="5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31" name="Группа 730">
                <a:extLst>
                  <a:ext uri="{FF2B5EF4-FFF2-40B4-BE49-F238E27FC236}">
                    <a16:creationId xmlns:a16="http://schemas.microsoft.com/office/drawing/2014/main" id="{44F82F8B-3688-4A4F-A2BE-7D6A49E6ADCF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32" name="Circle">
                  <a:extLst>
                    <a:ext uri="{FF2B5EF4-FFF2-40B4-BE49-F238E27FC236}">
                      <a16:creationId xmlns:a16="http://schemas.microsoft.com/office/drawing/2014/main" id="{E4954981-2EF8-456B-AC54-46FE0B6783FE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33" name="Группа 732">
                  <a:extLst>
                    <a:ext uri="{FF2B5EF4-FFF2-40B4-BE49-F238E27FC236}">
                      <a16:creationId xmlns:a16="http://schemas.microsoft.com/office/drawing/2014/main" id="{CA2300B7-28DC-461D-98BD-F3D6683EDDE9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34" name="Полилиния: фигура 733">
                    <a:extLst>
                      <a:ext uri="{FF2B5EF4-FFF2-40B4-BE49-F238E27FC236}">
                        <a16:creationId xmlns:a16="http://schemas.microsoft.com/office/drawing/2014/main" id="{FB7762AE-7BBC-46CB-BB05-62BF0E3F95E8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35" name="Карточка 1_Ава">
                    <a:extLst>
                      <a:ext uri="{FF2B5EF4-FFF2-40B4-BE49-F238E27FC236}">
                        <a16:creationId xmlns:a16="http://schemas.microsoft.com/office/drawing/2014/main" id="{84CC2553-D6A0-4000-97A6-37816BFAFC4B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36" name="Карточка 1_Ава">
                      <a:extLst>
                        <a:ext uri="{FF2B5EF4-FFF2-40B4-BE49-F238E27FC236}">
                          <a16:creationId xmlns:a16="http://schemas.microsoft.com/office/drawing/2014/main" id="{1700BD25-94DD-4B1D-ADA5-69BB52D1B5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42" name="Полилиния: фигура 741">
                        <a:extLst>
                          <a:ext uri="{FF2B5EF4-FFF2-40B4-BE49-F238E27FC236}">
                            <a16:creationId xmlns:a16="http://schemas.microsoft.com/office/drawing/2014/main" id="{AD34E6BA-FB13-4B95-A14D-DBBD82038B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3" name="Полилиния: фигура 742">
                        <a:extLst>
                          <a:ext uri="{FF2B5EF4-FFF2-40B4-BE49-F238E27FC236}">
                            <a16:creationId xmlns:a16="http://schemas.microsoft.com/office/drawing/2014/main" id="{E4C75CD2-F0D7-47AE-8F3A-DE02434CD7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4" name="Полилиния: фигура 743">
                        <a:extLst>
                          <a:ext uri="{FF2B5EF4-FFF2-40B4-BE49-F238E27FC236}">
                            <a16:creationId xmlns:a16="http://schemas.microsoft.com/office/drawing/2014/main" id="{3A595B99-1B19-4DB3-A928-42924D8E92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5" name="Полилиния: фигура 744">
                        <a:extLst>
                          <a:ext uri="{FF2B5EF4-FFF2-40B4-BE49-F238E27FC236}">
                            <a16:creationId xmlns:a16="http://schemas.microsoft.com/office/drawing/2014/main" id="{1CA005D4-B306-4A99-828F-A5E1BCCCB7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6" name="Полилиния: фигура 745">
                        <a:extLst>
                          <a:ext uri="{FF2B5EF4-FFF2-40B4-BE49-F238E27FC236}">
                            <a16:creationId xmlns:a16="http://schemas.microsoft.com/office/drawing/2014/main" id="{9AC5A30A-2750-4E07-AB89-42E9BE824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7" name="Полилиния: фигура 746">
                        <a:extLst>
                          <a:ext uri="{FF2B5EF4-FFF2-40B4-BE49-F238E27FC236}">
                            <a16:creationId xmlns:a16="http://schemas.microsoft.com/office/drawing/2014/main" id="{1417FDC3-B087-467B-91DB-6F59F11375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8" name="Полилиния: фигура 747">
                        <a:extLst>
                          <a:ext uri="{FF2B5EF4-FFF2-40B4-BE49-F238E27FC236}">
                            <a16:creationId xmlns:a16="http://schemas.microsoft.com/office/drawing/2014/main" id="{D9FACD5B-84CA-440B-B262-997FCE7410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9" name="Полилиния: фигура 748">
                        <a:extLst>
                          <a:ext uri="{FF2B5EF4-FFF2-40B4-BE49-F238E27FC236}">
                            <a16:creationId xmlns:a16="http://schemas.microsoft.com/office/drawing/2014/main" id="{092A9006-7ACC-4833-A058-C559DF0053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0" name="Полилиния: фигура 749">
                        <a:extLst>
                          <a:ext uri="{FF2B5EF4-FFF2-40B4-BE49-F238E27FC236}">
                            <a16:creationId xmlns:a16="http://schemas.microsoft.com/office/drawing/2014/main" id="{BEE28013-79F1-44F8-897E-C2F956F7F9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1" name="Полилиния: фигура 750">
                        <a:extLst>
                          <a:ext uri="{FF2B5EF4-FFF2-40B4-BE49-F238E27FC236}">
                            <a16:creationId xmlns:a16="http://schemas.microsoft.com/office/drawing/2014/main" id="{1DC2C877-FAE5-4D65-93DA-B9CD2FC2E4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2" name="Полилиния: фигура 751">
                        <a:extLst>
                          <a:ext uri="{FF2B5EF4-FFF2-40B4-BE49-F238E27FC236}">
                            <a16:creationId xmlns:a16="http://schemas.microsoft.com/office/drawing/2014/main" id="{A915EB3D-6D29-495A-9F8B-3D9FFDF46D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3" name="Полилиния: фигура 752">
                        <a:extLst>
                          <a:ext uri="{FF2B5EF4-FFF2-40B4-BE49-F238E27FC236}">
                            <a16:creationId xmlns:a16="http://schemas.microsoft.com/office/drawing/2014/main" id="{500D3652-C75F-49CA-80C7-BA9833CCC6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37" name="Карточка 1_Ава">
                      <a:extLst>
                        <a:ext uri="{FF2B5EF4-FFF2-40B4-BE49-F238E27FC236}">
                          <a16:creationId xmlns:a16="http://schemas.microsoft.com/office/drawing/2014/main" id="{2AA0F495-D53F-46B7-BC02-327918416E3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38" name="Полилиния: фигура 737">
                        <a:extLst>
                          <a:ext uri="{FF2B5EF4-FFF2-40B4-BE49-F238E27FC236}">
                            <a16:creationId xmlns:a16="http://schemas.microsoft.com/office/drawing/2014/main" id="{12202443-A0F8-4592-B9BB-4E7189D053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4">
                          <a:lumMod val="75000"/>
                        </a:schemeClr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39" name="Полилиния: фигура 738">
                        <a:extLst>
                          <a:ext uri="{FF2B5EF4-FFF2-40B4-BE49-F238E27FC236}">
                            <a16:creationId xmlns:a16="http://schemas.microsoft.com/office/drawing/2014/main" id="{73B0B0A8-27C7-48AB-B14D-1A27C1B300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0" name="Полилиния: фигура 739">
                        <a:extLst>
                          <a:ext uri="{FF2B5EF4-FFF2-40B4-BE49-F238E27FC236}">
                            <a16:creationId xmlns:a16="http://schemas.microsoft.com/office/drawing/2014/main" id="{9D59E851-66E4-4F12-82AD-512AA9D3DF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1" name="Полилиния: фигура 740">
                        <a:extLst>
                          <a:ext uri="{FF2B5EF4-FFF2-40B4-BE49-F238E27FC236}">
                            <a16:creationId xmlns:a16="http://schemas.microsoft.com/office/drawing/2014/main" id="{DCD766EC-37BF-47C2-93D9-0B18308FC3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636584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С «Единым клиентом»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2" name="Rounded Rectangle">
            <a:extLst>
              <a:ext uri="{FF2B5EF4-FFF2-40B4-BE49-F238E27FC236}">
                <a16:creationId xmlns:a16="http://schemas.microsoft.com/office/drawing/2014/main" id="{8F026AC0-7E58-4230-B99E-E9C98D363FB7}"/>
              </a:ext>
            </a:extLst>
          </p:cNvPr>
          <p:cNvSpPr/>
          <p:nvPr/>
        </p:nvSpPr>
        <p:spPr>
          <a:xfrm>
            <a:off x="-1" y="2147729"/>
            <a:ext cx="5192377" cy="2640296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1188" name="Группа 1187">
            <a:extLst>
              <a:ext uri="{FF2B5EF4-FFF2-40B4-BE49-F238E27FC236}">
                <a16:creationId xmlns:a16="http://schemas.microsoft.com/office/drawing/2014/main" id="{BC3A56E2-C0F7-429F-8036-59A2CE52FB5B}"/>
              </a:ext>
            </a:extLst>
          </p:cNvPr>
          <p:cNvGrpSpPr/>
          <p:nvPr/>
        </p:nvGrpSpPr>
        <p:grpSpPr>
          <a:xfrm>
            <a:off x="8167680" y="1965313"/>
            <a:ext cx="3068487" cy="3079979"/>
            <a:chOff x="8757491" y="1749491"/>
            <a:chExt cx="2788657" cy="2799101"/>
          </a:xfrm>
        </p:grpSpPr>
        <p:sp>
          <p:nvSpPr>
            <p:cNvPr id="1189" name="Shape_фон">
              <a:extLst>
                <a:ext uri="{FF2B5EF4-FFF2-40B4-BE49-F238E27FC236}">
                  <a16:creationId xmlns:a16="http://schemas.microsoft.com/office/drawing/2014/main" id="{2FD81F28-8C41-41DF-B1A9-A3630F91157B}"/>
                </a:ext>
              </a:extLst>
            </p:cNvPr>
            <p:cNvSpPr/>
            <p:nvPr/>
          </p:nvSpPr>
          <p:spPr>
            <a:xfrm>
              <a:off x="8757491" y="1749491"/>
              <a:ext cx="2788657" cy="279910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90" name="Описание">
              <a:extLst>
                <a:ext uri="{FF2B5EF4-FFF2-40B4-BE49-F238E27FC236}">
                  <a16:creationId xmlns:a16="http://schemas.microsoft.com/office/drawing/2014/main" id="{392FFD61-0810-4CC6-8F97-B2E665D33E6A}"/>
                </a:ext>
              </a:extLst>
            </p:cNvPr>
            <p:cNvSpPr txBox="1"/>
            <p:nvPr/>
          </p:nvSpPr>
          <p:spPr>
            <a:xfrm>
              <a:off x="9142827" y="2001412"/>
              <a:ext cx="2017984" cy="3636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«Единый клиент»</a:t>
              </a:r>
            </a:p>
          </p:txBody>
        </p:sp>
        <p:grpSp>
          <p:nvGrpSpPr>
            <p:cNvPr id="1191" name="ЕК_Лого">
              <a:extLst>
                <a:ext uri="{FF2B5EF4-FFF2-40B4-BE49-F238E27FC236}">
                  <a16:creationId xmlns:a16="http://schemas.microsoft.com/office/drawing/2014/main" id="{B3EE9007-F211-4439-AB50-E09E36B6B40A}"/>
                </a:ext>
              </a:extLst>
            </p:cNvPr>
            <p:cNvGrpSpPr/>
            <p:nvPr/>
          </p:nvGrpSpPr>
          <p:grpSpPr>
            <a:xfrm>
              <a:off x="9252369" y="2484399"/>
              <a:ext cx="1798900" cy="1785141"/>
              <a:chOff x="9141588" y="2080803"/>
              <a:chExt cx="2020578" cy="2005124"/>
            </a:xfrm>
          </p:grpSpPr>
          <p:sp>
            <p:nvSpPr>
              <p:cNvPr id="1192" name="Полилиния: фигура 1191">
                <a:extLst>
                  <a:ext uri="{FF2B5EF4-FFF2-40B4-BE49-F238E27FC236}">
                    <a16:creationId xmlns:a16="http://schemas.microsoft.com/office/drawing/2014/main" id="{DD97320C-AB5E-4382-A3A3-1A88C414E9EF}"/>
                  </a:ext>
                </a:extLst>
              </p:cNvPr>
              <p:cNvSpPr/>
              <p:nvPr/>
            </p:nvSpPr>
            <p:spPr>
              <a:xfrm>
                <a:off x="10289981" y="2794439"/>
                <a:ext cx="184663" cy="294906"/>
              </a:xfrm>
              <a:custGeom>
                <a:avLst/>
                <a:gdLst>
                  <a:gd name="connsiteX0" fmla="*/ 15893 w 184663"/>
                  <a:gd name="connsiteY0" fmla="*/ 4498 h 294906"/>
                  <a:gd name="connsiteX1" fmla="*/ 6956 w 184663"/>
                  <a:gd name="connsiteY1" fmla="*/ 9719 h 294906"/>
                  <a:gd name="connsiteX2" fmla="*/ 2856 w 184663"/>
                  <a:gd name="connsiteY2" fmla="*/ 19246 h 294906"/>
                  <a:gd name="connsiteX3" fmla="*/ 18902 w 184663"/>
                  <a:gd name="connsiteY3" fmla="*/ 271287 h 294906"/>
                  <a:gd name="connsiteX4" fmla="*/ 23680 w 184663"/>
                  <a:gd name="connsiteY4" fmla="*/ 278986 h 294906"/>
                  <a:gd name="connsiteX5" fmla="*/ 31143 w 184663"/>
                  <a:gd name="connsiteY5" fmla="*/ 284118 h 294906"/>
                  <a:gd name="connsiteX6" fmla="*/ 122137 w 184663"/>
                  <a:gd name="connsiteY6" fmla="*/ 294736 h 294906"/>
                  <a:gd name="connsiteX7" fmla="*/ 165525 w 184663"/>
                  <a:gd name="connsiteY7" fmla="*/ 291138 h 294906"/>
                  <a:gd name="connsiteX8" fmla="*/ 171897 w 184663"/>
                  <a:gd name="connsiteY8" fmla="*/ 286684 h 294906"/>
                  <a:gd name="connsiteX9" fmla="*/ 175554 w 184663"/>
                  <a:gd name="connsiteY9" fmla="*/ 279811 h 294906"/>
                  <a:gd name="connsiteX10" fmla="*/ 184373 w 184663"/>
                  <a:gd name="connsiteY10" fmla="*/ 163805 h 294906"/>
                  <a:gd name="connsiteX11" fmla="*/ 137062 w 184663"/>
                  <a:gd name="connsiteY11" fmla="*/ 23434 h 294906"/>
                  <a:gd name="connsiteX12" fmla="*/ 15923 w 184663"/>
                  <a:gd name="connsiteY12" fmla="*/ 4498 h 294906"/>
                  <a:gd name="connsiteX13" fmla="*/ 151456 w 184663"/>
                  <a:gd name="connsiteY13" fmla="*/ 162389 h 294906"/>
                  <a:gd name="connsiteX14" fmla="*/ 145350 w 184663"/>
                  <a:gd name="connsiteY14" fmla="*/ 261229 h 294906"/>
                  <a:gd name="connsiteX15" fmla="*/ 48958 w 184663"/>
                  <a:gd name="connsiteY15" fmla="*/ 255507 h 294906"/>
                  <a:gd name="connsiteX16" fmla="*/ 34918 w 184663"/>
                  <a:gd name="connsiteY16" fmla="*/ 34937 h 294906"/>
                  <a:gd name="connsiteX17" fmla="*/ 115088 w 184663"/>
                  <a:gd name="connsiteY17" fmla="*/ 48063 h 294906"/>
                  <a:gd name="connsiteX18" fmla="*/ 151456 w 184663"/>
                  <a:gd name="connsiteY18" fmla="*/ 162359 h 2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4663" h="294906">
                    <a:moveTo>
                      <a:pt x="15893" y="4498"/>
                    </a:moveTo>
                    <a:cubicBezTo>
                      <a:pt x="12442" y="5235"/>
                      <a:pt x="9286" y="7064"/>
                      <a:pt x="6956" y="9719"/>
                    </a:cubicBezTo>
                    <a:cubicBezTo>
                      <a:pt x="4626" y="12373"/>
                      <a:pt x="3181" y="15706"/>
                      <a:pt x="2856" y="19246"/>
                    </a:cubicBezTo>
                    <a:cubicBezTo>
                      <a:pt x="-7172" y="130828"/>
                      <a:pt x="11882" y="250345"/>
                      <a:pt x="18902" y="271287"/>
                    </a:cubicBezTo>
                    <a:cubicBezTo>
                      <a:pt x="19934" y="274148"/>
                      <a:pt x="21557" y="276773"/>
                      <a:pt x="23680" y="278986"/>
                    </a:cubicBezTo>
                    <a:cubicBezTo>
                      <a:pt x="25774" y="281198"/>
                      <a:pt x="28311" y="282938"/>
                      <a:pt x="31143" y="284118"/>
                    </a:cubicBezTo>
                    <a:cubicBezTo>
                      <a:pt x="46185" y="291344"/>
                      <a:pt x="88453" y="294736"/>
                      <a:pt x="122137" y="294736"/>
                    </a:cubicBezTo>
                    <a:cubicBezTo>
                      <a:pt x="136708" y="295385"/>
                      <a:pt x="151279" y="294176"/>
                      <a:pt x="165525" y="291138"/>
                    </a:cubicBezTo>
                    <a:cubicBezTo>
                      <a:pt x="167974" y="290165"/>
                      <a:pt x="170156" y="288660"/>
                      <a:pt x="171897" y="286684"/>
                    </a:cubicBezTo>
                    <a:cubicBezTo>
                      <a:pt x="173637" y="284708"/>
                      <a:pt x="174876" y="282348"/>
                      <a:pt x="175554" y="279811"/>
                    </a:cubicBezTo>
                    <a:cubicBezTo>
                      <a:pt x="178858" y="267187"/>
                      <a:pt x="180657" y="239697"/>
                      <a:pt x="184373" y="163805"/>
                    </a:cubicBezTo>
                    <a:cubicBezTo>
                      <a:pt x="187175" y="106258"/>
                      <a:pt x="169537" y="53520"/>
                      <a:pt x="137062" y="23434"/>
                    </a:cubicBezTo>
                    <a:cubicBezTo>
                      <a:pt x="98776" y="-11843"/>
                      <a:pt x="24034" y="2669"/>
                      <a:pt x="15923" y="4498"/>
                    </a:cubicBezTo>
                    <a:close/>
                    <a:moveTo>
                      <a:pt x="151456" y="162389"/>
                    </a:moveTo>
                    <a:cubicBezTo>
                      <a:pt x="149244" y="207901"/>
                      <a:pt x="147444" y="243296"/>
                      <a:pt x="145350" y="261229"/>
                    </a:cubicBezTo>
                    <a:cubicBezTo>
                      <a:pt x="113111" y="262792"/>
                      <a:pt x="80784" y="260875"/>
                      <a:pt x="48958" y="255507"/>
                    </a:cubicBezTo>
                    <a:cubicBezTo>
                      <a:pt x="35302" y="182829"/>
                      <a:pt x="30582" y="108765"/>
                      <a:pt x="34918" y="34937"/>
                    </a:cubicBezTo>
                    <a:cubicBezTo>
                      <a:pt x="57571" y="32017"/>
                      <a:pt x="96535" y="31132"/>
                      <a:pt x="115088" y="48063"/>
                    </a:cubicBezTo>
                    <a:cubicBezTo>
                      <a:pt x="140041" y="71719"/>
                      <a:pt x="154258" y="114429"/>
                      <a:pt x="151456" y="1623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3" name="Полилиния: фигура 1192">
                <a:extLst>
                  <a:ext uri="{FF2B5EF4-FFF2-40B4-BE49-F238E27FC236}">
                    <a16:creationId xmlns:a16="http://schemas.microsoft.com/office/drawing/2014/main" id="{8DDB9238-14C6-4D5C-84D4-6B98C2552F00}"/>
                  </a:ext>
                </a:extLst>
              </p:cNvPr>
              <p:cNvSpPr/>
              <p:nvPr/>
            </p:nvSpPr>
            <p:spPr>
              <a:xfrm>
                <a:off x="9768388" y="2275873"/>
                <a:ext cx="369594" cy="581022"/>
              </a:xfrm>
              <a:custGeom>
                <a:avLst/>
                <a:gdLst>
                  <a:gd name="connsiteX0" fmla="*/ 293084 w 369594"/>
                  <a:gd name="connsiteY0" fmla="*/ 253885 h 581022"/>
                  <a:gd name="connsiteX1" fmla="*/ 285061 w 369594"/>
                  <a:gd name="connsiteY1" fmla="*/ 253885 h 581022"/>
                  <a:gd name="connsiteX2" fmla="*/ 234152 w 369594"/>
                  <a:gd name="connsiteY2" fmla="*/ 243856 h 581022"/>
                  <a:gd name="connsiteX3" fmla="*/ 229137 w 369594"/>
                  <a:gd name="connsiteY3" fmla="*/ 230318 h 581022"/>
                  <a:gd name="connsiteX4" fmla="*/ 230730 w 369594"/>
                  <a:gd name="connsiteY4" fmla="*/ 215983 h 581022"/>
                  <a:gd name="connsiteX5" fmla="*/ 241467 w 369594"/>
                  <a:gd name="connsiteY5" fmla="*/ 199849 h 581022"/>
                  <a:gd name="connsiteX6" fmla="*/ 257512 w 369594"/>
                  <a:gd name="connsiteY6" fmla="*/ 174689 h 581022"/>
                  <a:gd name="connsiteX7" fmla="*/ 270431 w 369594"/>
                  <a:gd name="connsiteY7" fmla="*/ 118234 h 581022"/>
                  <a:gd name="connsiteX8" fmla="*/ 266774 w 369594"/>
                  <a:gd name="connsiteY8" fmla="*/ 72309 h 581022"/>
                  <a:gd name="connsiteX9" fmla="*/ 244977 w 369594"/>
                  <a:gd name="connsiteY9" fmla="*/ 31723 h 581022"/>
                  <a:gd name="connsiteX10" fmla="*/ 215038 w 369594"/>
                  <a:gd name="connsiteY10" fmla="*/ 9217 h 581022"/>
                  <a:gd name="connsiteX11" fmla="*/ 178699 w 369594"/>
                  <a:gd name="connsiteY11" fmla="*/ 103 h 581022"/>
                  <a:gd name="connsiteX12" fmla="*/ 141682 w 369594"/>
                  <a:gd name="connsiteY12" fmla="*/ 5825 h 581022"/>
                  <a:gd name="connsiteX13" fmla="*/ 109797 w 369594"/>
                  <a:gd name="connsiteY13" fmla="*/ 25499 h 581022"/>
                  <a:gd name="connsiteX14" fmla="*/ 79741 w 369594"/>
                  <a:gd name="connsiteY14" fmla="*/ 111125 h 581022"/>
                  <a:gd name="connsiteX15" fmla="*/ 90950 w 369594"/>
                  <a:gd name="connsiteY15" fmla="*/ 172388 h 581022"/>
                  <a:gd name="connsiteX16" fmla="*/ 119619 w 369594"/>
                  <a:gd name="connsiteY16" fmla="*/ 212502 h 581022"/>
                  <a:gd name="connsiteX17" fmla="*/ 126934 w 369594"/>
                  <a:gd name="connsiteY17" fmla="*/ 220407 h 581022"/>
                  <a:gd name="connsiteX18" fmla="*/ 125637 w 369594"/>
                  <a:gd name="connsiteY18" fmla="*/ 246776 h 581022"/>
                  <a:gd name="connsiteX19" fmla="*/ 90478 w 369594"/>
                  <a:gd name="connsiteY19" fmla="*/ 256805 h 581022"/>
                  <a:gd name="connsiteX20" fmla="*/ 82750 w 369594"/>
                  <a:gd name="connsiteY20" fmla="*/ 256805 h 581022"/>
                  <a:gd name="connsiteX21" fmla="*/ 10308 w 369594"/>
                  <a:gd name="connsiteY21" fmla="*/ 290283 h 581022"/>
                  <a:gd name="connsiteX22" fmla="*/ 50393 w 369594"/>
                  <a:gd name="connsiteY22" fmla="*/ 560966 h 581022"/>
                  <a:gd name="connsiteX23" fmla="*/ 75140 w 369594"/>
                  <a:gd name="connsiteY23" fmla="*/ 581023 h 581022"/>
                  <a:gd name="connsiteX24" fmla="*/ 252409 w 369594"/>
                  <a:gd name="connsiteY24" fmla="*/ 581023 h 581022"/>
                  <a:gd name="connsiteX25" fmla="*/ 311843 w 369594"/>
                  <a:gd name="connsiteY25" fmla="*/ 580521 h 581022"/>
                  <a:gd name="connsiteX26" fmla="*/ 323671 w 369594"/>
                  <a:gd name="connsiteY26" fmla="*/ 576244 h 581022"/>
                  <a:gd name="connsiteX27" fmla="*/ 331871 w 369594"/>
                  <a:gd name="connsiteY27" fmla="*/ 566688 h 581022"/>
                  <a:gd name="connsiteX28" fmla="*/ 365231 w 369594"/>
                  <a:gd name="connsiteY28" fmla="*/ 297598 h 581022"/>
                  <a:gd name="connsiteX29" fmla="*/ 335765 w 369594"/>
                  <a:gd name="connsiteY29" fmla="*/ 264828 h 581022"/>
                  <a:gd name="connsiteX30" fmla="*/ 293084 w 369594"/>
                  <a:gd name="connsiteY30" fmla="*/ 253885 h 581022"/>
                  <a:gd name="connsiteX31" fmla="*/ 304499 w 369594"/>
                  <a:gd name="connsiteY31" fmla="*/ 548046 h 581022"/>
                  <a:gd name="connsiteX32" fmla="*/ 134751 w 369594"/>
                  <a:gd name="connsiteY32" fmla="*/ 548046 h 581022"/>
                  <a:gd name="connsiteX33" fmla="*/ 81127 w 369594"/>
                  <a:gd name="connsiteY33" fmla="*/ 548046 h 581022"/>
                  <a:gd name="connsiteX34" fmla="*/ 38447 w 369594"/>
                  <a:gd name="connsiteY34" fmla="*/ 308128 h 581022"/>
                  <a:gd name="connsiteX35" fmla="*/ 83251 w 369594"/>
                  <a:gd name="connsiteY35" fmla="*/ 289693 h 581022"/>
                  <a:gd name="connsiteX36" fmla="*/ 92159 w 369594"/>
                  <a:gd name="connsiteY36" fmla="*/ 289693 h 581022"/>
                  <a:gd name="connsiteX37" fmla="*/ 153776 w 369594"/>
                  <a:gd name="connsiteY37" fmla="*/ 265123 h 581022"/>
                  <a:gd name="connsiteX38" fmla="*/ 155073 w 369594"/>
                  <a:gd name="connsiteY38" fmla="*/ 201854 h 581022"/>
                  <a:gd name="connsiteX39" fmla="*/ 144248 w 369594"/>
                  <a:gd name="connsiteY39" fmla="*/ 189938 h 581022"/>
                  <a:gd name="connsiteX40" fmla="*/ 122097 w 369594"/>
                  <a:gd name="connsiteY40" fmla="*/ 159852 h 581022"/>
                  <a:gd name="connsiteX41" fmla="*/ 113278 w 369594"/>
                  <a:gd name="connsiteY41" fmla="*/ 110417 h 581022"/>
                  <a:gd name="connsiteX42" fmla="*/ 133306 w 369594"/>
                  <a:gd name="connsiteY42" fmla="*/ 48653 h 581022"/>
                  <a:gd name="connsiteX43" fmla="*/ 152448 w 369594"/>
                  <a:gd name="connsiteY43" fmla="*/ 36648 h 581022"/>
                  <a:gd name="connsiteX44" fmla="*/ 174777 w 369594"/>
                  <a:gd name="connsiteY44" fmla="*/ 33197 h 581022"/>
                  <a:gd name="connsiteX45" fmla="*/ 199553 w 369594"/>
                  <a:gd name="connsiteY45" fmla="*/ 38094 h 581022"/>
                  <a:gd name="connsiteX46" fmla="*/ 219758 w 369594"/>
                  <a:gd name="connsiteY46" fmla="*/ 53255 h 581022"/>
                  <a:gd name="connsiteX47" fmla="*/ 234594 w 369594"/>
                  <a:gd name="connsiteY47" fmla="*/ 81276 h 581022"/>
                  <a:gd name="connsiteX48" fmla="*/ 237190 w 369594"/>
                  <a:gd name="connsiteY48" fmla="*/ 112895 h 581022"/>
                  <a:gd name="connsiteX49" fmla="*/ 225981 w 369594"/>
                  <a:gd name="connsiteY49" fmla="*/ 163038 h 581022"/>
                  <a:gd name="connsiteX50" fmla="*/ 215363 w 369594"/>
                  <a:gd name="connsiteY50" fmla="*/ 178789 h 581022"/>
                  <a:gd name="connsiteX51" fmla="*/ 199022 w 369594"/>
                  <a:gd name="connsiteY51" fmla="*/ 204863 h 581022"/>
                  <a:gd name="connsiteX52" fmla="*/ 195925 w 369594"/>
                  <a:gd name="connsiteY52" fmla="*/ 234506 h 581022"/>
                  <a:gd name="connsiteX53" fmla="*/ 206455 w 369594"/>
                  <a:gd name="connsiteY53" fmla="*/ 262409 h 581022"/>
                  <a:gd name="connsiteX54" fmla="*/ 285209 w 369594"/>
                  <a:gd name="connsiteY54" fmla="*/ 287481 h 581022"/>
                  <a:gd name="connsiteX55" fmla="*/ 292435 w 369594"/>
                  <a:gd name="connsiteY55" fmla="*/ 287481 h 581022"/>
                  <a:gd name="connsiteX56" fmla="*/ 317477 w 369594"/>
                  <a:gd name="connsiteY56" fmla="*/ 292878 h 581022"/>
                  <a:gd name="connsiteX57" fmla="*/ 335116 w 369594"/>
                  <a:gd name="connsiteY57" fmla="*/ 311431 h 581022"/>
                  <a:gd name="connsiteX58" fmla="*/ 304440 w 369594"/>
                  <a:gd name="connsiteY58" fmla="*/ 548046 h 58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69594" h="581022">
                    <a:moveTo>
                      <a:pt x="293084" y="253885"/>
                    </a:moveTo>
                    <a:lnTo>
                      <a:pt x="285061" y="253885"/>
                    </a:lnTo>
                    <a:cubicBezTo>
                      <a:pt x="268839" y="253885"/>
                      <a:pt x="241467" y="253885"/>
                      <a:pt x="234152" y="243856"/>
                    </a:cubicBezTo>
                    <a:cubicBezTo>
                      <a:pt x="231438" y="239786"/>
                      <a:pt x="229727" y="235155"/>
                      <a:pt x="229137" y="230318"/>
                    </a:cubicBezTo>
                    <a:cubicBezTo>
                      <a:pt x="228547" y="225480"/>
                      <a:pt x="229078" y="220555"/>
                      <a:pt x="230730" y="215983"/>
                    </a:cubicBezTo>
                    <a:cubicBezTo>
                      <a:pt x="233385" y="210054"/>
                      <a:pt x="237013" y="204597"/>
                      <a:pt x="241467" y="199849"/>
                    </a:cubicBezTo>
                    <a:cubicBezTo>
                      <a:pt x="248192" y="192416"/>
                      <a:pt x="253619" y="183921"/>
                      <a:pt x="257512" y="174689"/>
                    </a:cubicBezTo>
                    <a:cubicBezTo>
                      <a:pt x="263765" y="156372"/>
                      <a:pt x="268101" y="137465"/>
                      <a:pt x="270431" y="118234"/>
                    </a:cubicBezTo>
                    <a:cubicBezTo>
                      <a:pt x="272408" y="102837"/>
                      <a:pt x="271169" y="87204"/>
                      <a:pt x="266774" y="72309"/>
                    </a:cubicBezTo>
                    <a:cubicBezTo>
                      <a:pt x="262409" y="57413"/>
                      <a:pt x="254976" y="43609"/>
                      <a:pt x="244977" y="31723"/>
                    </a:cubicBezTo>
                    <a:cubicBezTo>
                      <a:pt x="236600" y="22284"/>
                      <a:pt x="226424" y="14645"/>
                      <a:pt x="215038" y="9217"/>
                    </a:cubicBezTo>
                    <a:cubicBezTo>
                      <a:pt x="203653" y="3790"/>
                      <a:pt x="191294" y="693"/>
                      <a:pt x="178699" y="103"/>
                    </a:cubicBezTo>
                    <a:cubicBezTo>
                      <a:pt x="166105" y="-487"/>
                      <a:pt x="153510" y="1460"/>
                      <a:pt x="141682" y="5825"/>
                    </a:cubicBezTo>
                    <a:cubicBezTo>
                      <a:pt x="129854" y="10191"/>
                      <a:pt x="119000" y="16886"/>
                      <a:pt x="109797" y="25499"/>
                    </a:cubicBezTo>
                    <a:cubicBezTo>
                      <a:pt x="88826" y="48919"/>
                      <a:pt x="78030" y="79712"/>
                      <a:pt x="79741" y="111125"/>
                    </a:cubicBezTo>
                    <a:cubicBezTo>
                      <a:pt x="79653" y="132067"/>
                      <a:pt x="83458" y="152832"/>
                      <a:pt x="90950" y="172388"/>
                    </a:cubicBezTo>
                    <a:cubicBezTo>
                      <a:pt x="97940" y="187431"/>
                      <a:pt x="107644" y="201028"/>
                      <a:pt x="119619" y="212502"/>
                    </a:cubicBezTo>
                    <a:lnTo>
                      <a:pt x="126934" y="220407"/>
                    </a:lnTo>
                    <a:cubicBezTo>
                      <a:pt x="127937" y="229197"/>
                      <a:pt x="127495" y="238105"/>
                      <a:pt x="125637" y="246776"/>
                    </a:cubicBezTo>
                    <a:cubicBezTo>
                      <a:pt x="119413" y="255183"/>
                      <a:pt x="97675" y="256097"/>
                      <a:pt x="90478" y="256805"/>
                    </a:cubicBezTo>
                    <a:lnTo>
                      <a:pt x="82750" y="256805"/>
                    </a:lnTo>
                    <a:cubicBezTo>
                      <a:pt x="63695" y="256805"/>
                      <a:pt x="31928" y="256805"/>
                      <a:pt x="10308" y="290283"/>
                    </a:cubicBezTo>
                    <a:cubicBezTo>
                      <a:pt x="-21046" y="338508"/>
                      <a:pt x="26944" y="518167"/>
                      <a:pt x="50393" y="560966"/>
                    </a:cubicBezTo>
                    <a:cubicBezTo>
                      <a:pt x="53608" y="566983"/>
                      <a:pt x="61218" y="581023"/>
                      <a:pt x="75140" y="581023"/>
                    </a:cubicBezTo>
                    <a:lnTo>
                      <a:pt x="252409" y="581023"/>
                    </a:lnTo>
                    <a:cubicBezTo>
                      <a:pt x="283881" y="581023"/>
                      <a:pt x="305620" y="581023"/>
                      <a:pt x="311843" y="580521"/>
                    </a:cubicBezTo>
                    <a:cubicBezTo>
                      <a:pt x="316091" y="580138"/>
                      <a:pt x="320161" y="578663"/>
                      <a:pt x="323671" y="576244"/>
                    </a:cubicBezTo>
                    <a:cubicBezTo>
                      <a:pt x="327181" y="573826"/>
                      <a:pt x="330013" y="570522"/>
                      <a:pt x="331871" y="566688"/>
                    </a:cubicBezTo>
                    <a:cubicBezTo>
                      <a:pt x="355232" y="527989"/>
                      <a:pt x="379772" y="328893"/>
                      <a:pt x="365231" y="297598"/>
                    </a:cubicBezTo>
                    <a:cubicBezTo>
                      <a:pt x="358860" y="284000"/>
                      <a:pt x="348595" y="272585"/>
                      <a:pt x="335765" y="264828"/>
                    </a:cubicBezTo>
                    <a:cubicBezTo>
                      <a:pt x="322934" y="257041"/>
                      <a:pt x="308068" y="253236"/>
                      <a:pt x="293084" y="253885"/>
                    </a:cubicBezTo>
                    <a:close/>
                    <a:moveTo>
                      <a:pt x="304499" y="548046"/>
                    </a:moveTo>
                    <a:cubicBezTo>
                      <a:pt x="279841" y="548548"/>
                      <a:pt x="193565" y="548046"/>
                      <a:pt x="134751" y="548046"/>
                    </a:cubicBezTo>
                    <a:lnTo>
                      <a:pt x="81127" y="548046"/>
                    </a:lnTo>
                    <a:cubicBezTo>
                      <a:pt x="59979" y="516781"/>
                      <a:pt x="18301" y="339128"/>
                      <a:pt x="38447" y="308128"/>
                    </a:cubicBezTo>
                    <a:cubicBezTo>
                      <a:pt x="50363" y="289781"/>
                      <a:pt x="65613" y="289781"/>
                      <a:pt x="83251" y="289693"/>
                    </a:cubicBezTo>
                    <a:lnTo>
                      <a:pt x="92159" y="289693"/>
                    </a:lnTo>
                    <a:cubicBezTo>
                      <a:pt x="105992" y="289103"/>
                      <a:pt x="138467" y="287776"/>
                      <a:pt x="153776" y="265123"/>
                    </a:cubicBezTo>
                    <a:cubicBezTo>
                      <a:pt x="162683" y="251879"/>
                      <a:pt x="163804" y="211676"/>
                      <a:pt x="155073" y="201854"/>
                    </a:cubicBezTo>
                    <a:cubicBezTo>
                      <a:pt x="151563" y="197754"/>
                      <a:pt x="147847" y="193743"/>
                      <a:pt x="144248" y="189938"/>
                    </a:cubicBezTo>
                    <a:cubicBezTo>
                      <a:pt x="135134" y="181325"/>
                      <a:pt x="127642" y="171120"/>
                      <a:pt x="122097" y="159852"/>
                    </a:cubicBezTo>
                    <a:cubicBezTo>
                      <a:pt x="116168" y="144072"/>
                      <a:pt x="113160" y="127318"/>
                      <a:pt x="113278" y="110417"/>
                    </a:cubicBezTo>
                    <a:cubicBezTo>
                      <a:pt x="111626" y="88001"/>
                      <a:pt x="118823" y="65820"/>
                      <a:pt x="133306" y="48653"/>
                    </a:cubicBezTo>
                    <a:cubicBezTo>
                      <a:pt x="138821" y="43403"/>
                      <a:pt x="145340" y="39303"/>
                      <a:pt x="152448" y="36648"/>
                    </a:cubicBezTo>
                    <a:cubicBezTo>
                      <a:pt x="159586" y="33994"/>
                      <a:pt x="167167" y="32814"/>
                      <a:pt x="174777" y="33197"/>
                    </a:cubicBezTo>
                    <a:cubicBezTo>
                      <a:pt x="183301" y="32961"/>
                      <a:pt x="191766" y="34613"/>
                      <a:pt x="199553" y="38094"/>
                    </a:cubicBezTo>
                    <a:cubicBezTo>
                      <a:pt x="207340" y="41574"/>
                      <a:pt x="214242" y="46736"/>
                      <a:pt x="219758" y="53255"/>
                    </a:cubicBezTo>
                    <a:cubicBezTo>
                      <a:pt x="226542" y="61484"/>
                      <a:pt x="231615" y="71040"/>
                      <a:pt x="234594" y="81276"/>
                    </a:cubicBezTo>
                    <a:cubicBezTo>
                      <a:pt x="237603" y="91540"/>
                      <a:pt x="238458" y="102277"/>
                      <a:pt x="237190" y="112895"/>
                    </a:cubicBezTo>
                    <a:cubicBezTo>
                      <a:pt x="235213" y="129944"/>
                      <a:pt x="231438" y="146756"/>
                      <a:pt x="225981" y="163038"/>
                    </a:cubicBezTo>
                    <a:cubicBezTo>
                      <a:pt x="223297" y="168819"/>
                      <a:pt x="219699" y="174128"/>
                      <a:pt x="215363" y="178789"/>
                    </a:cubicBezTo>
                    <a:cubicBezTo>
                      <a:pt x="208402" y="186428"/>
                      <a:pt x="202886" y="195247"/>
                      <a:pt x="199022" y="204863"/>
                    </a:cubicBezTo>
                    <a:cubicBezTo>
                      <a:pt x="195689" y="214361"/>
                      <a:pt x="194627" y="224537"/>
                      <a:pt x="195925" y="234506"/>
                    </a:cubicBezTo>
                    <a:cubicBezTo>
                      <a:pt x="197223" y="244505"/>
                      <a:pt x="200821" y="254062"/>
                      <a:pt x="206455" y="262409"/>
                    </a:cubicBezTo>
                    <a:cubicBezTo>
                      <a:pt x="223799" y="288189"/>
                      <a:pt x="260757" y="287687"/>
                      <a:pt x="285209" y="287481"/>
                    </a:cubicBezTo>
                    <a:lnTo>
                      <a:pt x="292435" y="287481"/>
                    </a:lnTo>
                    <a:cubicBezTo>
                      <a:pt x="301137" y="286714"/>
                      <a:pt x="309867" y="288601"/>
                      <a:pt x="317477" y="292878"/>
                    </a:cubicBezTo>
                    <a:cubicBezTo>
                      <a:pt x="325087" y="297155"/>
                      <a:pt x="331252" y="303615"/>
                      <a:pt x="335116" y="311431"/>
                    </a:cubicBezTo>
                    <a:cubicBezTo>
                      <a:pt x="345144" y="337299"/>
                      <a:pt x="320987" y="516751"/>
                      <a:pt x="304440" y="5480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4" name="Полилиния: фигура 1193">
                <a:extLst>
                  <a:ext uri="{FF2B5EF4-FFF2-40B4-BE49-F238E27FC236}">
                    <a16:creationId xmlns:a16="http://schemas.microsoft.com/office/drawing/2014/main" id="{E9B57928-5C2E-460A-953B-9C479702485B}"/>
                  </a:ext>
                </a:extLst>
              </p:cNvPr>
              <p:cNvSpPr/>
              <p:nvPr/>
            </p:nvSpPr>
            <p:spPr>
              <a:xfrm>
                <a:off x="10491629" y="2418533"/>
                <a:ext cx="389206" cy="1132074"/>
              </a:xfrm>
              <a:custGeom>
                <a:avLst/>
                <a:gdLst>
                  <a:gd name="connsiteX0" fmla="*/ 389148 w 389206"/>
                  <a:gd name="connsiteY0" fmla="*/ 396833 h 1132074"/>
                  <a:gd name="connsiteX1" fmla="*/ 387850 w 389206"/>
                  <a:gd name="connsiteY1" fmla="*/ 389695 h 1132074"/>
                  <a:gd name="connsiteX2" fmla="*/ 383662 w 389206"/>
                  <a:gd name="connsiteY2" fmla="*/ 383796 h 1132074"/>
                  <a:gd name="connsiteX3" fmla="*/ 377350 w 389206"/>
                  <a:gd name="connsiteY3" fmla="*/ 380227 h 1132074"/>
                  <a:gd name="connsiteX4" fmla="*/ 370123 w 389206"/>
                  <a:gd name="connsiteY4" fmla="*/ 379696 h 1132074"/>
                  <a:gd name="connsiteX5" fmla="*/ 328446 w 389206"/>
                  <a:gd name="connsiteY5" fmla="*/ 371378 h 1132074"/>
                  <a:gd name="connsiteX6" fmla="*/ 290956 w 389206"/>
                  <a:gd name="connsiteY6" fmla="*/ 323742 h 1132074"/>
                  <a:gd name="connsiteX7" fmla="*/ 290160 w 389206"/>
                  <a:gd name="connsiteY7" fmla="*/ 299969 h 1132074"/>
                  <a:gd name="connsiteX8" fmla="*/ 283730 w 389206"/>
                  <a:gd name="connsiteY8" fmla="*/ 260769 h 1132074"/>
                  <a:gd name="connsiteX9" fmla="*/ 273436 w 389206"/>
                  <a:gd name="connsiteY9" fmla="*/ 253867 h 1132074"/>
                  <a:gd name="connsiteX10" fmla="*/ 261077 w 389206"/>
                  <a:gd name="connsiteY10" fmla="*/ 252834 h 1132074"/>
                  <a:gd name="connsiteX11" fmla="*/ 238041 w 389206"/>
                  <a:gd name="connsiteY11" fmla="*/ 246021 h 1132074"/>
                  <a:gd name="connsiteX12" fmla="*/ 236242 w 389206"/>
                  <a:gd name="connsiteY12" fmla="*/ 229680 h 1132074"/>
                  <a:gd name="connsiteX13" fmla="*/ 287446 w 389206"/>
                  <a:gd name="connsiteY13" fmla="*/ 98748 h 1132074"/>
                  <a:gd name="connsiteX14" fmla="*/ 272993 w 389206"/>
                  <a:gd name="connsiteY14" fmla="*/ 52941 h 1132074"/>
                  <a:gd name="connsiteX15" fmla="*/ 241757 w 389206"/>
                  <a:gd name="connsiteY15" fmla="*/ 16455 h 1132074"/>
                  <a:gd name="connsiteX16" fmla="*/ 141560 w 389206"/>
                  <a:gd name="connsiteY16" fmla="*/ 6426 h 1132074"/>
                  <a:gd name="connsiteX17" fmla="*/ 131738 w 389206"/>
                  <a:gd name="connsiteY17" fmla="*/ 14125 h 1132074"/>
                  <a:gd name="connsiteX18" fmla="*/ 130027 w 389206"/>
                  <a:gd name="connsiteY18" fmla="*/ 26484 h 1132074"/>
                  <a:gd name="connsiteX19" fmla="*/ 131945 w 389206"/>
                  <a:gd name="connsiteY19" fmla="*/ 106683 h 1132074"/>
                  <a:gd name="connsiteX20" fmla="*/ 98467 w 389206"/>
                  <a:gd name="connsiteY20" fmla="*/ 159215 h 1132074"/>
                  <a:gd name="connsiteX21" fmla="*/ 94101 w 389206"/>
                  <a:gd name="connsiteY21" fmla="*/ 167179 h 1132074"/>
                  <a:gd name="connsiteX22" fmla="*/ 94573 w 389206"/>
                  <a:gd name="connsiteY22" fmla="*/ 176263 h 1132074"/>
                  <a:gd name="connsiteX23" fmla="*/ 129349 w 389206"/>
                  <a:gd name="connsiteY23" fmla="*/ 230506 h 1132074"/>
                  <a:gd name="connsiteX24" fmla="*/ 128051 w 389206"/>
                  <a:gd name="connsiteY24" fmla="*/ 244841 h 1132074"/>
                  <a:gd name="connsiteX25" fmla="*/ 82156 w 389206"/>
                  <a:gd name="connsiteY25" fmla="*/ 260267 h 1132074"/>
                  <a:gd name="connsiteX26" fmla="*/ 6706 w 389206"/>
                  <a:gd name="connsiteY26" fmla="*/ 295574 h 1132074"/>
                  <a:gd name="connsiteX27" fmla="*/ 187 w 389206"/>
                  <a:gd name="connsiteY27" fmla="*/ 342590 h 1132074"/>
                  <a:gd name="connsiteX28" fmla="*/ 187 w 389206"/>
                  <a:gd name="connsiteY28" fmla="*/ 354034 h 1132074"/>
                  <a:gd name="connsiteX29" fmla="*/ 2488 w 389206"/>
                  <a:gd name="connsiteY29" fmla="*/ 395624 h 1132074"/>
                  <a:gd name="connsiteX30" fmla="*/ 6676 w 389206"/>
                  <a:gd name="connsiteY30" fmla="*/ 405741 h 1132074"/>
                  <a:gd name="connsiteX31" fmla="*/ 16233 w 389206"/>
                  <a:gd name="connsiteY31" fmla="*/ 411079 h 1132074"/>
                  <a:gd name="connsiteX32" fmla="*/ 55728 w 389206"/>
                  <a:gd name="connsiteY32" fmla="*/ 414088 h 1132074"/>
                  <a:gd name="connsiteX33" fmla="*/ 153123 w 389206"/>
                  <a:gd name="connsiteY33" fmla="*/ 432434 h 1132074"/>
                  <a:gd name="connsiteX34" fmla="*/ 234383 w 389206"/>
                  <a:gd name="connsiteY34" fmla="*/ 731286 h 1132074"/>
                  <a:gd name="connsiteX35" fmla="*/ 235150 w 389206"/>
                  <a:gd name="connsiteY35" fmla="*/ 738129 h 1132074"/>
                  <a:gd name="connsiteX36" fmla="*/ 238631 w 389206"/>
                  <a:gd name="connsiteY36" fmla="*/ 744057 h 1132074"/>
                  <a:gd name="connsiteX37" fmla="*/ 244206 w 389206"/>
                  <a:gd name="connsiteY37" fmla="*/ 748098 h 1132074"/>
                  <a:gd name="connsiteX38" fmla="*/ 250931 w 389206"/>
                  <a:gd name="connsiteY38" fmla="*/ 749514 h 1132074"/>
                  <a:gd name="connsiteX39" fmla="*/ 251727 w 389206"/>
                  <a:gd name="connsiteY39" fmla="*/ 749514 h 1132074"/>
                  <a:gd name="connsiteX40" fmla="*/ 328386 w 389206"/>
                  <a:gd name="connsiteY40" fmla="*/ 734766 h 1132074"/>
                  <a:gd name="connsiteX41" fmla="*/ 271342 w 389206"/>
                  <a:gd name="connsiteY41" fmla="*/ 911475 h 1132074"/>
                  <a:gd name="connsiteX42" fmla="*/ 145808 w 389206"/>
                  <a:gd name="connsiteY42" fmla="*/ 1048277 h 1132074"/>
                  <a:gd name="connsiteX43" fmla="*/ 112330 w 389206"/>
                  <a:gd name="connsiteY43" fmla="*/ 990819 h 1132074"/>
                  <a:gd name="connsiteX44" fmla="*/ 82982 w 389206"/>
                  <a:gd name="connsiteY44" fmla="*/ 1101989 h 1132074"/>
                  <a:gd name="connsiteX45" fmla="*/ 193915 w 389206"/>
                  <a:gd name="connsiteY45" fmla="*/ 1132075 h 1132074"/>
                  <a:gd name="connsiteX46" fmla="*/ 162060 w 389206"/>
                  <a:gd name="connsiteY46" fmla="*/ 1077242 h 1132074"/>
                  <a:gd name="connsiteX47" fmla="*/ 361658 w 389206"/>
                  <a:gd name="connsiteY47" fmla="*/ 678518 h 1132074"/>
                  <a:gd name="connsiteX48" fmla="*/ 366967 w 389206"/>
                  <a:gd name="connsiteY48" fmla="*/ 647754 h 1132074"/>
                  <a:gd name="connsiteX49" fmla="*/ 389207 w 389206"/>
                  <a:gd name="connsiteY49" fmla="*/ 396803 h 1132074"/>
                  <a:gd name="connsiteX50" fmla="*/ 334433 w 389206"/>
                  <a:gd name="connsiteY50" fmla="*/ 642975 h 1132074"/>
                  <a:gd name="connsiteX51" fmla="*/ 330628 w 389206"/>
                  <a:gd name="connsiteY51" fmla="*/ 667634 h 1132074"/>
                  <a:gd name="connsiteX52" fmla="*/ 328711 w 389206"/>
                  <a:gd name="connsiteY52" fmla="*/ 676541 h 1132074"/>
                  <a:gd name="connsiteX53" fmla="*/ 328711 w 389206"/>
                  <a:gd name="connsiteY53" fmla="*/ 677043 h 1132074"/>
                  <a:gd name="connsiteX54" fmla="*/ 268599 w 389206"/>
                  <a:gd name="connsiteY54" fmla="*/ 715240 h 1132074"/>
                  <a:gd name="connsiteX55" fmla="*/ 167104 w 389206"/>
                  <a:gd name="connsiteY55" fmla="*/ 402437 h 1132074"/>
                  <a:gd name="connsiteX56" fmla="*/ 56258 w 389206"/>
                  <a:gd name="connsiteY56" fmla="*/ 379991 h 1132074"/>
                  <a:gd name="connsiteX57" fmla="*/ 34314 w 389206"/>
                  <a:gd name="connsiteY57" fmla="*/ 378988 h 1132074"/>
                  <a:gd name="connsiteX58" fmla="*/ 32809 w 389206"/>
                  <a:gd name="connsiteY58" fmla="*/ 352029 h 1132074"/>
                  <a:gd name="connsiteX59" fmla="*/ 32809 w 389206"/>
                  <a:gd name="connsiteY59" fmla="*/ 340997 h 1132074"/>
                  <a:gd name="connsiteX60" fmla="*/ 35021 w 389206"/>
                  <a:gd name="connsiteY60" fmla="*/ 310912 h 1132074"/>
                  <a:gd name="connsiteX61" fmla="*/ 85135 w 389206"/>
                  <a:gd name="connsiteY61" fmla="*/ 292270 h 1132074"/>
                  <a:gd name="connsiteX62" fmla="*/ 156780 w 389206"/>
                  <a:gd name="connsiteY62" fmla="*/ 259589 h 1132074"/>
                  <a:gd name="connsiteX63" fmla="*/ 152179 w 389206"/>
                  <a:gd name="connsiteY63" fmla="*/ 205553 h 1132074"/>
                  <a:gd name="connsiteX64" fmla="*/ 128936 w 389206"/>
                  <a:gd name="connsiteY64" fmla="*/ 173461 h 1132074"/>
                  <a:gd name="connsiteX65" fmla="*/ 162414 w 389206"/>
                  <a:gd name="connsiteY65" fmla="*/ 117331 h 1132074"/>
                  <a:gd name="connsiteX66" fmla="*/ 164921 w 389206"/>
                  <a:gd name="connsiteY66" fmla="*/ 34418 h 1132074"/>
                  <a:gd name="connsiteX67" fmla="*/ 221051 w 389206"/>
                  <a:gd name="connsiteY67" fmla="*/ 42234 h 1132074"/>
                  <a:gd name="connsiteX68" fmla="*/ 243468 w 389206"/>
                  <a:gd name="connsiteY68" fmla="*/ 68279 h 1132074"/>
                  <a:gd name="connsiteX69" fmla="*/ 254116 w 389206"/>
                  <a:gd name="connsiteY69" fmla="*/ 100961 h 1132074"/>
                  <a:gd name="connsiteX70" fmla="*/ 212439 w 389206"/>
                  <a:gd name="connsiteY70" fmla="*/ 205641 h 1132074"/>
                  <a:gd name="connsiteX71" fmla="*/ 205330 w 389206"/>
                  <a:gd name="connsiteY71" fmla="*/ 252067 h 1132074"/>
                  <a:gd name="connsiteX72" fmla="*/ 256948 w 389206"/>
                  <a:gd name="connsiteY72" fmla="*/ 285663 h 1132074"/>
                  <a:gd name="connsiteX73" fmla="*/ 256948 w 389206"/>
                  <a:gd name="connsiteY73" fmla="*/ 298494 h 1132074"/>
                  <a:gd name="connsiteX74" fmla="*/ 258659 w 389206"/>
                  <a:gd name="connsiteY74" fmla="*/ 330969 h 1132074"/>
                  <a:gd name="connsiteX75" fmla="*/ 314789 w 389206"/>
                  <a:gd name="connsiteY75" fmla="*/ 401139 h 1132074"/>
                  <a:gd name="connsiteX76" fmla="*/ 354874 w 389206"/>
                  <a:gd name="connsiteY76" fmla="*/ 412761 h 1132074"/>
                  <a:gd name="connsiteX77" fmla="*/ 334522 w 389206"/>
                  <a:gd name="connsiteY77" fmla="*/ 642946 h 113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9206" h="1132074">
                    <a:moveTo>
                      <a:pt x="389148" y="396833"/>
                    </a:moveTo>
                    <a:cubicBezTo>
                      <a:pt x="389236" y="394385"/>
                      <a:pt x="388794" y="391966"/>
                      <a:pt x="387850" y="389695"/>
                    </a:cubicBezTo>
                    <a:cubicBezTo>
                      <a:pt x="386906" y="387453"/>
                      <a:pt x="385461" y="385418"/>
                      <a:pt x="383662" y="383796"/>
                    </a:cubicBezTo>
                    <a:cubicBezTo>
                      <a:pt x="381833" y="382144"/>
                      <a:pt x="379680" y="380935"/>
                      <a:pt x="377350" y="380227"/>
                    </a:cubicBezTo>
                    <a:cubicBezTo>
                      <a:pt x="375019" y="379519"/>
                      <a:pt x="372542" y="379342"/>
                      <a:pt x="370123" y="379696"/>
                    </a:cubicBezTo>
                    <a:cubicBezTo>
                      <a:pt x="355700" y="381230"/>
                      <a:pt x="341158" y="378309"/>
                      <a:pt x="328446" y="371378"/>
                    </a:cubicBezTo>
                    <a:cubicBezTo>
                      <a:pt x="302991" y="359845"/>
                      <a:pt x="297268" y="350436"/>
                      <a:pt x="290956" y="323742"/>
                    </a:cubicBezTo>
                    <a:cubicBezTo>
                      <a:pt x="289777" y="315867"/>
                      <a:pt x="289511" y="307903"/>
                      <a:pt x="290160" y="299969"/>
                    </a:cubicBezTo>
                    <a:cubicBezTo>
                      <a:pt x="290661" y="285132"/>
                      <a:pt x="291163" y="271092"/>
                      <a:pt x="283730" y="260769"/>
                    </a:cubicBezTo>
                    <a:cubicBezTo>
                      <a:pt x="280928" y="257642"/>
                      <a:pt x="277388" y="255253"/>
                      <a:pt x="273436" y="253867"/>
                    </a:cubicBezTo>
                    <a:cubicBezTo>
                      <a:pt x="269483" y="252480"/>
                      <a:pt x="265236" y="252126"/>
                      <a:pt x="261077" y="252834"/>
                    </a:cubicBezTo>
                    <a:cubicBezTo>
                      <a:pt x="242642" y="252834"/>
                      <a:pt x="238926" y="250534"/>
                      <a:pt x="238041" y="246021"/>
                    </a:cubicBezTo>
                    <a:cubicBezTo>
                      <a:pt x="236979" y="240623"/>
                      <a:pt x="236389" y="235166"/>
                      <a:pt x="236242" y="229680"/>
                    </a:cubicBezTo>
                    <a:cubicBezTo>
                      <a:pt x="276327" y="198297"/>
                      <a:pt x="290750" y="141960"/>
                      <a:pt x="287446" y="98748"/>
                    </a:cubicBezTo>
                    <a:cubicBezTo>
                      <a:pt x="285765" y="82644"/>
                      <a:pt x="280839" y="67070"/>
                      <a:pt x="272993" y="52941"/>
                    </a:cubicBezTo>
                    <a:cubicBezTo>
                      <a:pt x="265148" y="38783"/>
                      <a:pt x="254529" y="26395"/>
                      <a:pt x="241757" y="16455"/>
                    </a:cubicBezTo>
                    <a:cubicBezTo>
                      <a:pt x="205891" y="-11507"/>
                      <a:pt x="147754" y="4126"/>
                      <a:pt x="141560" y="6426"/>
                    </a:cubicBezTo>
                    <a:cubicBezTo>
                      <a:pt x="137431" y="7636"/>
                      <a:pt x="133891" y="10379"/>
                      <a:pt x="131738" y="14125"/>
                    </a:cubicBezTo>
                    <a:cubicBezTo>
                      <a:pt x="129585" y="17871"/>
                      <a:pt x="128966" y="22295"/>
                      <a:pt x="130027" y="26484"/>
                    </a:cubicBezTo>
                    <a:cubicBezTo>
                      <a:pt x="135248" y="47426"/>
                      <a:pt x="138935" y="87953"/>
                      <a:pt x="131945" y="106683"/>
                    </a:cubicBezTo>
                    <a:cubicBezTo>
                      <a:pt x="124630" y="126356"/>
                      <a:pt x="113215" y="144260"/>
                      <a:pt x="98467" y="159215"/>
                    </a:cubicBezTo>
                    <a:cubicBezTo>
                      <a:pt x="96314" y="161427"/>
                      <a:pt x="94780" y="164170"/>
                      <a:pt x="94101" y="167179"/>
                    </a:cubicBezTo>
                    <a:cubicBezTo>
                      <a:pt x="93423" y="170187"/>
                      <a:pt x="93571" y="173343"/>
                      <a:pt x="94573" y="176263"/>
                    </a:cubicBezTo>
                    <a:cubicBezTo>
                      <a:pt x="101063" y="197146"/>
                      <a:pt x="113067" y="215876"/>
                      <a:pt x="129349" y="230506"/>
                    </a:cubicBezTo>
                    <a:cubicBezTo>
                      <a:pt x="129555" y="235314"/>
                      <a:pt x="129113" y="240151"/>
                      <a:pt x="128051" y="244841"/>
                    </a:cubicBezTo>
                    <a:cubicBezTo>
                      <a:pt x="121326" y="255459"/>
                      <a:pt x="106106" y="257878"/>
                      <a:pt x="82156" y="260267"/>
                    </a:cubicBezTo>
                    <a:cubicBezTo>
                      <a:pt x="55905" y="262981"/>
                      <a:pt x="23223" y="266373"/>
                      <a:pt x="6706" y="295574"/>
                    </a:cubicBezTo>
                    <a:cubicBezTo>
                      <a:pt x="-609" y="308493"/>
                      <a:pt x="-226" y="327341"/>
                      <a:pt x="187" y="342590"/>
                    </a:cubicBezTo>
                    <a:lnTo>
                      <a:pt x="187" y="354034"/>
                    </a:lnTo>
                    <a:lnTo>
                      <a:pt x="2488" y="395624"/>
                    </a:lnTo>
                    <a:cubicBezTo>
                      <a:pt x="2694" y="399369"/>
                      <a:pt x="4169" y="402938"/>
                      <a:pt x="6676" y="405741"/>
                    </a:cubicBezTo>
                    <a:cubicBezTo>
                      <a:pt x="9183" y="408543"/>
                      <a:pt x="12546" y="410430"/>
                      <a:pt x="16233" y="411079"/>
                    </a:cubicBezTo>
                    <a:cubicBezTo>
                      <a:pt x="29299" y="412967"/>
                      <a:pt x="42513" y="413970"/>
                      <a:pt x="55728" y="414088"/>
                    </a:cubicBezTo>
                    <a:cubicBezTo>
                      <a:pt x="89146" y="412908"/>
                      <a:pt x="122417" y="419191"/>
                      <a:pt x="153123" y="432434"/>
                    </a:cubicBezTo>
                    <a:cubicBezTo>
                      <a:pt x="240312" y="474436"/>
                      <a:pt x="245415" y="618199"/>
                      <a:pt x="234383" y="731286"/>
                    </a:cubicBezTo>
                    <a:cubicBezTo>
                      <a:pt x="234148" y="733586"/>
                      <a:pt x="234413" y="735917"/>
                      <a:pt x="235150" y="738129"/>
                    </a:cubicBezTo>
                    <a:cubicBezTo>
                      <a:pt x="235888" y="740341"/>
                      <a:pt x="237068" y="742347"/>
                      <a:pt x="238631" y="744057"/>
                    </a:cubicBezTo>
                    <a:cubicBezTo>
                      <a:pt x="240194" y="745768"/>
                      <a:pt x="242082" y="747154"/>
                      <a:pt x="244206" y="748098"/>
                    </a:cubicBezTo>
                    <a:cubicBezTo>
                      <a:pt x="246329" y="749042"/>
                      <a:pt x="248600" y="749514"/>
                      <a:pt x="250931" y="749514"/>
                    </a:cubicBezTo>
                    <a:lnTo>
                      <a:pt x="251727" y="749514"/>
                    </a:lnTo>
                    <a:cubicBezTo>
                      <a:pt x="287712" y="747803"/>
                      <a:pt x="311839" y="744205"/>
                      <a:pt x="328386" y="734766"/>
                    </a:cubicBezTo>
                    <a:cubicBezTo>
                      <a:pt x="322310" y="797091"/>
                      <a:pt x="302843" y="857380"/>
                      <a:pt x="271342" y="911475"/>
                    </a:cubicBezTo>
                    <a:cubicBezTo>
                      <a:pt x="239840" y="965571"/>
                      <a:pt x="197012" y="1012233"/>
                      <a:pt x="145808" y="1048277"/>
                    </a:cubicBezTo>
                    <a:lnTo>
                      <a:pt x="112330" y="990819"/>
                    </a:lnTo>
                    <a:lnTo>
                      <a:pt x="82982" y="1101989"/>
                    </a:lnTo>
                    <a:lnTo>
                      <a:pt x="193915" y="1132075"/>
                    </a:lnTo>
                    <a:lnTo>
                      <a:pt x="162060" y="1077242"/>
                    </a:lnTo>
                    <a:cubicBezTo>
                      <a:pt x="291723" y="987811"/>
                      <a:pt x="370801" y="831099"/>
                      <a:pt x="361658" y="678518"/>
                    </a:cubicBezTo>
                    <a:cubicBezTo>
                      <a:pt x="363663" y="669492"/>
                      <a:pt x="365374" y="659257"/>
                      <a:pt x="366967" y="647754"/>
                    </a:cubicBezTo>
                    <a:cubicBezTo>
                      <a:pt x="378205" y="568941"/>
                      <a:pt x="385520" y="484347"/>
                      <a:pt x="389207" y="396803"/>
                    </a:cubicBezTo>
                    <a:close/>
                    <a:moveTo>
                      <a:pt x="334433" y="642975"/>
                    </a:moveTo>
                    <a:cubicBezTo>
                      <a:pt x="333135" y="652502"/>
                      <a:pt x="331926" y="660525"/>
                      <a:pt x="330628" y="667634"/>
                    </a:cubicBezTo>
                    <a:cubicBezTo>
                      <a:pt x="329153" y="670377"/>
                      <a:pt x="328505" y="673474"/>
                      <a:pt x="328711" y="676541"/>
                    </a:cubicBezTo>
                    <a:lnTo>
                      <a:pt x="328711" y="677043"/>
                    </a:lnTo>
                    <a:cubicBezTo>
                      <a:pt x="321809" y="707129"/>
                      <a:pt x="310276" y="712644"/>
                      <a:pt x="268599" y="715240"/>
                    </a:cubicBezTo>
                    <a:cubicBezTo>
                      <a:pt x="281931" y="546613"/>
                      <a:pt x="247863" y="441430"/>
                      <a:pt x="167104" y="402437"/>
                    </a:cubicBezTo>
                    <a:cubicBezTo>
                      <a:pt x="132269" y="386804"/>
                      <a:pt x="94426" y="379135"/>
                      <a:pt x="56258" y="379991"/>
                    </a:cubicBezTo>
                    <a:cubicBezTo>
                      <a:pt x="48649" y="379991"/>
                      <a:pt x="41216" y="379991"/>
                      <a:pt x="34314" y="378988"/>
                    </a:cubicBezTo>
                    <a:lnTo>
                      <a:pt x="32809" y="352029"/>
                    </a:lnTo>
                    <a:lnTo>
                      <a:pt x="32809" y="340997"/>
                    </a:lnTo>
                    <a:cubicBezTo>
                      <a:pt x="31865" y="330910"/>
                      <a:pt x="32603" y="320763"/>
                      <a:pt x="35021" y="310912"/>
                    </a:cubicBezTo>
                    <a:cubicBezTo>
                      <a:pt x="42543" y="297579"/>
                      <a:pt x="58972" y="294984"/>
                      <a:pt x="85135" y="292270"/>
                    </a:cubicBezTo>
                    <a:cubicBezTo>
                      <a:pt x="111298" y="289557"/>
                      <a:pt x="141354" y="286460"/>
                      <a:pt x="156780" y="259589"/>
                    </a:cubicBezTo>
                    <a:cubicBezTo>
                      <a:pt x="160673" y="252864"/>
                      <a:pt x="168814" y="218177"/>
                      <a:pt x="152179" y="205553"/>
                    </a:cubicBezTo>
                    <a:cubicBezTo>
                      <a:pt x="141855" y="196969"/>
                      <a:pt x="133862" y="185938"/>
                      <a:pt x="128936" y="173461"/>
                    </a:cubicBezTo>
                    <a:cubicBezTo>
                      <a:pt x="143389" y="156914"/>
                      <a:pt x="154715" y="137889"/>
                      <a:pt x="162414" y="117331"/>
                    </a:cubicBezTo>
                    <a:cubicBezTo>
                      <a:pt x="171440" y="93469"/>
                      <a:pt x="168519" y="57189"/>
                      <a:pt x="164921" y="34418"/>
                    </a:cubicBezTo>
                    <a:cubicBezTo>
                      <a:pt x="182147" y="31822"/>
                      <a:pt x="206923" y="31203"/>
                      <a:pt x="221051" y="42234"/>
                    </a:cubicBezTo>
                    <a:cubicBezTo>
                      <a:pt x="230166" y="49343"/>
                      <a:pt x="237805" y="58192"/>
                      <a:pt x="243468" y="68279"/>
                    </a:cubicBezTo>
                    <a:cubicBezTo>
                      <a:pt x="249131" y="78367"/>
                      <a:pt x="252759" y="89487"/>
                      <a:pt x="254116" y="100961"/>
                    </a:cubicBezTo>
                    <a:cubicBezTo>
                      <a:pt x="256712" y="135235"/>
                      <a:pt x="244796" y="182664"/>
                      <a:pt x="212439" y="205641"/>
                    </a:cubicBezTo>
                    <a:cubicBezTo>
                      <a:pt x="208221" y="208650"/>
                      <a:pt x="198222" y="215670"/>
                      <a:pt x="205330" y="252067"/>
                    </a:cubicBezTo>
                    <a:cubicBezTo>
                      <a:pt x="211347" y="282832"/>
                      <a:pt x="241403" y="285545"/>
                      <a:pt x="256948" y="285663"/>
                    </a:cubicBezTo>
                    <a:lnTo>
                      <a:pt x="256948" y="298494"/>
                    </a:lnTo>
                    <a:cubicBezTo>
                      <a:pt x="256122" y="309348"/>
                      <a:pt x="256682" y="320262"/>
                      <a:pt x="258659" y="330969"/>
                    </a:cubicBezTo>
                    <a:cubicBezTo>
                      <a:pt x="266563" y="364358"/>
                      <a:pt x="277388" y="384297"/>
                      <a:pt x="314789" y="401139"/>
                    </a:cubicBezTo>
                    <a:cubicBezTo>
                      <a:pt x="327384" y="407304"/>
                      <a:pt x="340952" y="411227"/>
                      <a:pt x="354874" y="412761"/>
                    </a:cubicBezTo>
                    <a:cubicBezTo>
                      <a:pt x="351452" y="493668"/>
                      <a:pt x="344462" y="570858"/>
                      <a:pt x="334522" y="6429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5" name="Полилиния: фигура 1194">
                <a:extLst>
                  <a:ext uri="{FF2B5EF4-FFF2-40B4-BE49-F238E27FC236}">
                    <a16:creationId xmlns:a16="http://schemas.microsoft.com/office/drawing/2014/main" id="{91B8B889-595D-4C09-95B9-8B62B268FC5A}"/>
                  </a:ext>
                </a:extLst>
              </p:cNvPr>
              <p:cNvSpPr/>
              <p:nvPr/>
            </p:nvSpPr>
            <p:spPr>
              <a:xfrm>
                <a:off x="9410517" y="2575586"/>
                <a:ext cx="369442" cy="1013749"/>
              </a:xfrm>
              <a:custGeom>
                <a:avLst/>
                <a:gdLst>
                  <a:gd name="connsiteX0" fmla="*/ 292935 w 369442"/>
                  <a:gd name="connsiteY0" fmla="*/ 253525 h 1013749"/>
                  <a:gd name="connsiteX1" fmla="*/ 285207 w 369442"/>
                  <a:gd name="connsiteY1" fmla="*/ 253525 h 1013749"/>
                  <a:gd name="connsiteX2" fmla="*/ 234298 w 369442"/>
                  <a:gd name="connsiteY2" fmla="*/ 243497 h 1013749"/>
                  <a:gd name="connsiteX3" fmla="*/ 229136 w 369442"/>
                  <a:gd name="connsiteY3" fmla="*/ 229988 h 1013749"/>
                  <a:gd name="connsiteX4" fmla="*/ 230581 w 369442"/>
                  <a:gd name="connsiteY4" fmla="*/ 215623 h 1013749"/>
                  <a:gd name="connsiteX5" fmla="*/ 241288 w 369442"/>
                  <a:gd name="connsiteY5" fmla="*/ 199489 h 1013749"/>
                  <a:gd name="connsiteX6" fmla="*/ 257334 w 369442"/>
                  <a:gd name="connsiteY6" fmla="*/ 174329 h 1013749"/>
                  <a:gd name="connsiteX7" fmla="*/ 270253 w 369442"/>
                  <a:gd name="connsiteY7" fmla="*/ 117874 h 1013749"/>
                  <a:gd name="connsiteX8" fmla="*/ 266655 w 369442"/>
                  <a:gd name="connsiteY8" fmla="*/ 72185 h 1013749"/>
                  <a:gd name="connsiteX9" fmla="*/ 245093 w 369442"/>
                  <a:gd name="connsiteY9" fmla="*/ 31746 h 1013749"/>
                  <a:gd name="connsiteX10" fmla="*/ 213562 w 369442"/>
                  <a:gd name="connsiteY10" fmla="*/ 8032 h 1013749"/>
                  <a:gd name="connsiteX11" fmla="*/ 174952 w 369442"/>
                  <a:gd name="connsiteY11" fmla="*/ 38 h 1013749"/>
                  <a:gd name="connsiteX12" fmla="*/ 139646 w 369442"/>
                  <a:gd name="connsiteY12" fmla="*/ 6203 h 1013749"/>
                  <a:gd name="connsiteX13" fmla="*/ 109619 w 369442"/>
                  <a:gd name="connsiteY13" fmla="*/ 25788 h 1013749"/>
                  <a:gd name="connsiteX14" fmla="*/ 79563 w 369442"/>
                  <a:gd name="connsiteY14" fmla="*/ 111415 h 1013749"/>
                  <a:gd name="connsiteX15" fmla="*/ 90801 w 369442"/>
                  <a:gd name="connsiteY15" fmla="*/ 172677 h 1013749"/>
                  <a:gd name="connsiteX16" fmla="*/ 119471 w 369442"/>
                  <a:gd name="connsiteY16" fmla="*/ 212792 h 1013749"/>
                  <a:gd name="connsiteX17" fmla="*/ 126786 w 369442"/>
                  <a:gd name="connsiteY17" fmla="*/ 220726 h 1013749"/>
                  <a:gd name="connsiteX18" fmla="*/ 125488 w 369442"/>
                  <a:gd name="connsiteY18" fmla="*/ 247095 h 1013749"/>
                  <a:gd name="connsiteX19" fmla="*/ 90329 w 369442"/>
                  <a:gd name="connsiteY19" fmla="*/ 257124 h 1013749"/>
                  <a:gd name="connsiteX20" fmla="*/ 82601 w 369442"/>
                  <a:gd name="connsiteY20" fmla="*/ 257124 h 1013749"/>
                  <a:gd name="connsiteX21" fmla="*/ 10159 w 369442"/>
                  <a:gd name="connsiteY21" fmla="*/ 290601 h 1013749"/>
                  <a:gd name="connsiteX22" fmla="*/ 48032 w 369442"/>
                  <a:gd name="connsiteY22" fmla="*/ 557391 h 1013749"/>
                  <a:gd name="connsiteX23" fmla="*/ 247836 w 369442"/>
                  <a:gd name="connsiteY23" fmla="*/ 958917 h 1013749"/>
                  <a:gd name="connsiteX24" fmla="*/ 215981 w 369442"/>
                  <a:gd name="connsiteY24" fmla="*/ 1013750 h 1013749"/>
                  <a:gd name="connsiteX25" fmla="*/ 326914 w 369442"/>
                  <a:gd name="connsiteY25" fmla="*/ 983664 h 1013749"/>
                  <a:gd name="connsiteX26" fmla="*/ 298068 w 369442"/>
                  <a:gd name="connsiteY26" fmla="*/ 872495 h 1013749"/>
                  <a:gd name="connsiteX27" fmla="*/ 264590 w 369442"/>
                  <a:gd name="connsiteY27" fmla="*/ 929952 h 1013749"/>
                  <a:gd name="connsiteX28" fmla="*/ 80713 w 369442"/>
                  <a:gd name="connsiteY28" fmla="*/ 580752 h 1013749"/>
                  <a:gd name="connsiteX29" fmla="*/ 252674 w 369442"/>
                  <a:gd name="connsiteY29" fmla="*/ 580752 h 1013749"/>
                  <a:gd name="connsiteX30" fmla="*/ 312108 w 369442"/>
                  <a:gd name="connsiteY30" fmla="*/ 580250 h 1013749"/>
                  <a:gd name="connsiteX31" fmla="*/ 323935 w 369442"/>
                  <a:gd name="connsiteY31" fmla="*/ 575973 h 1013749"/>
                  <a:gd name="connsiteX32" fmla="*/ 332135 w 369442"/>
                  <a:gd name="connsiteY32" fmla="*/ 566417 h 1013749"/>
                  <a:gd name="connsiteX33" fmla="*/ 365112 w 369442"/>
                  <a:gd name="connsiteY33" fmla="*/ 297238 h 1013749"/>
                  <a:gd name="connsiteX34" fmla="*/ 335645 w 369442"/>
                  <a:gd name="connsiteY34" fmla="*/ 264468 h 1013749"/>
                  <a:gd name="connsiteX35" fmla="*/ 292965 w 369442"/>
                  <a:gd name="connsiteY35" fmla="*/ 253525 h 1013749"/>
                  <a:gd name="connsiteX36" fmla="*/ 304350 w 369442"/>
                  <a:gd name="connsiteY36" fmla="*/ 547864 h 1013749"/>
                  <a:gd name="connsiteX37" fmla="*/ 134602 w 369442"/>
                  <a:gd name="connsiteY37" fmla="*/ 547864 h 1013749"/>
                  <a:gd name="connsiteX38" fmla="*/ 80979 w 369442"/>
                  <a:gd name="connsiteY38" fmla="*/ 547864 h 1013749"/>
                  <a:gd name="connsiteX39" fmla="*/ 38298 w 369442"/>
                  <a:gd name="connsiteY39" fmla="*/ 308152 h 1013749"/>
                  <a:gd name="connsiteX40" fmla="*/ 83102 w 369442"/>
                  <a:gd name="connsiteY40" fmla="*/ 289717 h 1013749"/>
                  <a:gd name="connsiteX41" fmla="*/ 91833 w 369442"/>
                  <a:gd name="connsiteY41" fmla="*/ 289717 h 1013749"/>
                  <a:gd name="connsiteX42" fmla="*/ 153450 w 369442"/>
                  <a:gd name="connsiteY42" fmla="*/ 265147 h 1013749"/>
                  <a:gd name="connsiteX43" fmla="*/ 154748 w 369442"/>
                  <a:gd name="connsiteY43" fmla="*/ 201878 h 1013749"/>
                  <a:gd name="connsiteX44" fmla="*/ 143923 w 369442"/>
                  <a:gd name="connsiteY44" fmla="*/ 189932 h 1013749"/>
                  <a:gd name="connsiteX45" fmla="*/ 121771 w 369442"/>
                  <a:gd name="connsiteY45" fmla="*/ 159847 h 1013749"/>
                  <a:gd name="connsiteX46" fmla="*/ 112952 w 369442"/>
                  <a:gd name="connsiteY46" fmla="*/ 110412 h 1013749"/>
                  <a:gd name="connsiteX47" fmla="*/ 132980 w 369442"/>
                  <a:gd name="connsiteY47" fmla="*/ 48648 h 1013749"/>
                  <a:gd name="connsiteX48" fmla="*/ 152181 w 369442"/>
                  <a:gd name="connsiteY48" fmla="*/ 36377 h 1013749"/>
                  <a:gd name="connsiteX49" fmla="*/ 174657 w 369442"/>
                  <a:gd name="connsiteY49" fmla="*/ 32808 h 1013749"/>
                  <a:gd name="connsiteX50" fmla="*/ 199434 w 369442"/>
                  <a:gd name="connsiteY50" fmla="*/ 37705 h 1013749"/>
                  <a:gd name="connsiteX51" fmla="*/ 219638 w 369442"/>
                  <a:gd name="connsiteY51" fmla="*/ 52865 h 1013749"/>
                  <a:gd name="connsiteX52" fmla="*/ 234475 w 369442"/>
                  <a:gd name="connsiteY52" fmla="*/ 80857 h 1013749"/>
                  <a:gd name="connsiteX53" fmla="*/ 237070 w 369442"/>
                  <a:gd name="connsiteY53" fmla="*/ 112417 h 1013749"/>
                  <a:gd name="connsiteX54" fmla="*/ 225862 w 369442"/>
                  <a:gd name="connsiteY54" fmla="*/ 162531 h 1013749"/>
                  <a:gd name="connsiteX55" fmla="*/ 215243 w 369442"/>
                  <a:gd name="connsiteY55" fmla="*/ 178282 h 1013749"/>
                  <a:gd name="connsiteX56" fmla="*/ 198903 w 369442"/>
                  <a:gd name="connsiteY56" fmla="*/ 204356 h 1013749"/>
                  <a:gd name="connsiteX57" fmla="*/ 195806 w 369442"/>
                  <a:gd name="connsiteY57" fmla="*/ 233999 h 1013749"/>
                  <a:gd name="connsiteX58" fmla="*/ 206336 w 369442"/>
                  <a:gd name="connsiteY58" fmla="*/ 261902 h 1013749"/>
                  <a:gd name="connsiteX59" fmla="*/ 285591 w 369442"/>
                  <a:gd name="connsiteY59" fmla="*/ 287180 h 1013749"/>
                  <a:gd name="connsiteX60" fmla="*/ 292817 w 369442"/>
                  <a:gd name="connsiteY60" fmla="*/ 287180 h 1013749"/>
                  <a:gd name="connsiteX61" fmla="*/ 317594 w 369442"/>
                  <a:gd name="connsiteY61" fmla="*/ 292932 h 1013749"/>
                  <a:gd name="connsiteX62" fmla="*/ 334908 w 369442"/>
                  <a:gd name="connsiteY62" fmla="*/ 311544 h 1013749"/>
                  <a:gd name="connsiteX63" fmla="*/ 304350 w 369442"/>
                  <a:gd name="connsiteY63" fmla="*/ 547834 h 101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9442" h="1013749">
                    <a:moveTo>
                      <a:pt x="292935" y="253525"/>
                    </a:moveTo>
                    <a:lnTo>
                      <a:pt x="285207" y="253525"/>
                    </a:lnTo>
                    <a:cubicBezTo>
                      <a:pt x="268867" y="253525"/>
                      <a:pt x="241613" y="253525"/>
                      <a:pt x="234298" y="243497"/>
                    </a:cubicBezTo>
                    <a:cubicBezTo>
                      <a:pt x="231555" y="239456"/>
                      <a:pt x="229785" y="234825"/>
                      <a:pt x="229136" y="229988"/>
                    </a:cubicBezTo>
                    <a:cubicBezTo>
                      <a:pt x="228487" y="225150"/>
                      <a:pt x="228988" y="220225"/>
                      <a:pt x="230581" y="215623"/>
                    </a:cubicBezTo>
                    <a:cubicBezTo>
                      <a:pt x="233236" y="209695"/>
                      <a:pt x="236864" y="204238"/>
                      <a:pt x="241288" y="199489"/>
                    </a:cubicBezTo>
                    <a:cubicBezTo>
                      <a:pt x="248013" y="192086"/>
                      <a:pt x="253440" y="183561"/>
                      <a:pt x="257334" y="174329"/>
                    </a:cubicBezTo>
                    <a:cubicBezTo>
                      <a:pt x="263617" y="156012"/>
                      <a:pt x="267952" y="137105"/>
                      <a:pt x="270253" y="117874"/>
                    </a:cubicBezTo>
                    <a:cubicBezTo>
                      <a:pt x="272200" y="102566"/>
                      <a:pt x="270990" y="86992"/>
                      <a:pt x="266655" y="72185"/>
                    </a:cubicBezTo>
                    <a:cubicBezTo>
                      <a:pt x="262319" y="57378"/>
                      <a:pt x="254974" y="43604"/>
                      <a:pt x="245093" y="31746"/>
                    </a:cubicBezTo>
                    <a:cubicBezTo>
                      <a:pt x="236451" y="21629"/>
                      <a:pt x="225685" y="13518"/>
                      <a:pt x="213562" y="8032"/>
                    </a:cubicBezTo>
                    <a:cubicBezTo>
                      <a:pt x="201439" y="2546"/>
                      <a:pt x="188255" y="-168"/>
                      <a:pt x="174952" y="38"/>
                    </a:cubicBezTo>
                    <a:cubicBezTo>
                      <a:pt x="162888" y="-316"/>
                      <a:pt x="150884" y="1779"/>
                      <a:pt x="139646" y="6203"/>
                    </a:cubicBezTo>
                    <a:cubicBezTo>
                      <a:pt x="128408" y="10627"/>
                      <a:pt x="118202" y="17293"/>
                      <a:pt x="109619" y="25788"/>
                    </a:cubicBezTo>
                    <a:cubicBezTo>
                      <a:pt x="88648" y="49208"/>
                      <a:pt x="77852" y="80002"/>
                      <a:pt x="79563" y="111415"/>
                    </a:cubicBezTo>
                    <a:cubicBezTo>
                      <a:pt x="79504" y="132357"/>
                      <a:pt x="83309" y="153122"/>
                      <a:pt x="90801" y="172677"/>
                    </a:cubicBezTo>
                    <a:cubicBezTo>
                      <a:pt x="97791" y="187720"/>
                      <a:pt x="107495" y="201318"/>
                      <a:pt x="119471" y="212792"/>
                    </a:cubicBezTo>
                    <a:lnTo>
                      <a:pt x="126786" y="220726"/>
                    </a:lnTo>
                    <a:cubicBezTo>
                      <a:pt x="127788" y="229516"/>
                      <a:pt x="127346" y="238423"/>
                      <a:pt x="125488" y="247095"/>
                    </a:cubicBezTo>
                    <a:cubicBezTo>
                      <a:pt x="119382" y="255531"/>
                      <a:pt x="97526" y="256416"/>
                      <a:pt x="90329" y="257124"/>
                    </a:cubicBezTo>
                    <a:lnTo>
                      <a:pt x="82601" y="257124"/>
                    </a:lnTo>
                    <a:cubicBezTo>
                      <a:pt x="63547" y="257124"/>
                      <a:pt x="31809" y="257124"/>
                      <a:pt x="10159" y="290601"/>
                    </a:cubicBezTo>
                    <a:cubicBezTo>
                      <a:pt x="-19897" y="337323"/>
                      <a:pt x="23993" y="507750"/>
                      <a:pt x="48032" y="557391"/>
                    </a:cubicBezTo>
                    <a:cubicBezTo>
                      <a:pt x="37797" y="710091"/>
                      <a:pt x="117288" y="868690"/>
                      <a:pt x="247836" y="958917"/>
                    </a:cubicBezTo>
                    <a:lnTo>
                      <a:pt x="215981" y="1013750"/>
                    </a:lnTo>
                    <a:lnTo>
                      <a:pt x="326914" y="983664"/>
                    </a:lnTo>
                    <a:lnTo>
                      <a:pt x="298068" y="872495"/>
                    </a:lnTo>
                    <a:lnTo>
                      <a:pt x="264590" y="929952"/>
                    </a:lnTo>
                    <a:cubicBezTo>
                      <a:pt x="150766" y="850461"/>
                      <a:pt x="79504" y="715105"/>
                      <a:pt x="80713" y="580752"/>
                    </a:cubicBezTo>
                    <a:lnTo>
                      <a:pt x="252674" y="580752"/>
                    </a:lnTo>
                    <a:cubicBezTo>
                      <a:pt x="284146" y="580752"/>
                      <a:pt x="305884" y="580752"/>
                      <a:pt x="312108" y="580250"/>
                    </a:cubicBezTo>
                    <a:cubicBezTo>
                      <a:pt x="316355" y="579867"/>
                      <a:pt x="320425" y="578392"/>
                      <a:pt x="323935" y="575973"/>
                    </a:cubicBezTo>
                    <a:cubicBezTo>
                      <a:pt x="327445" y="573555"/>
                      <a:pt x="330277" y="570251"/>
                      <a:pt x="332135" y="566417"/>
                    </a:cubicBezTo>
                    <a:cubicBezTo>
                      <a:pt x="354876" y="527807"/>
                      <a:pt x="379623" y="328622"/>
                      <a:pt x="365112" y="297238"/>
                    </a:cubicBezTo>
                    <a:cubicBezTo>
                      <a:pt x="358740" y="283641"/>
                      <a:pt x="348476" y="272226"/>
                      <a:pt x="335645" y="264468"/>
                    </a:cubicBezTo>
                    <a:cubicBezTo>
                      <a:pt x="322815" y="256681"/>
                      <a:pt x="307949" y="252876"/>
                      <a:pt x="292965" y="253525"/>
                    </a:cubicBezTo>
                    <a:close/>
                    <a:moveTo>
                      <a:pt x="304350" y="547864"/>
                    </a:moveTo>
                    <a:cubicBezTo>
                      <a:pt x="279692" y="548365"/>
                      <a:pt x="193417" y="547864"/>
                      <a:pt x="134602" y="547864"/>
                    </a:cubicBezTo>
                    <a:lnTo>
                      <a:pt x="80979" y="547864"/>
                    </a:lnTo>
                    <a:cubicBezTo>
                      <a:pt x="59830" y="516893"/>
                      <a:pt x="18153" y="339122"/>
                      <a:pt x="38298" y="308152"/>
                    </a:cubicBezTo>
                    <a:cubicBezTo>
                      <a:pt x="50215" y="289894"/>
                      <a:pt x="65464" y="289805"/>
                      <a:pt x="83102" y="289717"/>
                    </a:cubicBezTo>
                    <a:lnTo>
                      <a:pt x="91833" y="289717"/>
                    </a:lnTo>
                    <a:cubicBezTo>
                      <a:pt x="105667" y="289127"/>
                      <a:pt x="138141" y="287799"/>
                      <a:pt x="153450" y="265147"/>
                    </a:cubicBezTo>
                    <a:cubicBezTo>
                      <a:pt x="162358" y="251903"/>
                      <a:pt x="163478" y="211700"/>
                      <a:pt x="154748" y="201878"/>
                    </a:cubicBezTo>
                    <a:cubicBezTo>
                      <a:pt x="151238" y="197778"/>
                      <a:pt x="147521" y="193767"/>
                      <a:pt x="143923" y="189932"/>
                    </a:cubicBezTo>
                    <a:cubicBezTo>
                      <a:pt x="134808" y="181320"/>
                      <a:pt x="127317" y="171114"/>
                      <a:pt x="121771" y="159847"/>
                    </a:cubicBezTo>
                    <a:cubicBezTo>
                      <a:pt x="115843" y="144066"/>
                      <a:pt x="112834" y="127283"/>
                      <a:pt x="112952" y="110412"/>
                    </a:cubicBezTo>
                    <a:cubicBezTo>
                      <a:pt x="111300" y="87995"/>
                      <a:pt x="118497" y="65814"/>
                      <a:pt x="132980" y="48648"/>
                    </a:cubicBezTo>
                    <a:cubicBezTo>
                      <a:pt x="138466" y="43279"/>
                      <a:pt x="145014" y="39120"/>
                      <a:pt x="152181" y="36377"/>
                    </a:cubicBezTo>
                    <a:cubicBezTo>
                      <a:pt x="159349" y="33664"/>
                      <a:pt x="167018" y="32425"/>
                      <a:pt x="174657" y="32808"/>
                    </a:cubicBezTo>
                    <a:cubicBezTo>
                      <a:pt x="183182" y="32572"/>
                      <a:pt x="191647" y="34224"/>
                      <a:pt x="199434" y="37705"/>
                    </a:cubicBezTo>
                    <a:cubicBezTo>
                      <a:pt x="207221" y="41185"/>
                      <a:pt x="214123" y="46347"/>
                      <a:pt x="219638" y="52865"/>
                    </a:cubicBezTo>
                    <a:cubicBezTo>
                      <a:pt x="226422" y="61095"/>
                      <a:pt x="231466" y="70622"/>
                      <a:pt x="234475" y="80857"/>
                    </a:cubicBezTo>
                    <a:cubicBezTo>
                      <a:pt x="237483" y="91092"/>
                      <a:pt x="238368" y="101828"/>
                      <a:pt x="237070" y="112417"/>
                    </a:cubicBezTo>
                    <a:cubicBezTo>
                      <a:pt x="235094" y="129466"/>
                      <a:pt x="231348" y="146279"/>
                      <a:pt x="225862" y="162531"/>
                    </a:cubicBezTo>
                    <a:cubicBezTo>
                      <a:pt x="223178" y="168312"/>
                      <a:pt x="219579" y="173621"/>
                      <a:pt x="215243" y="178282"/>
                    </a:cubicBezTo>
                    <a:cubicBezTo>
                      <a:pt x="208282" y="185921"/>
                      <a:pt x="202767" y="194740"/>
                      <a:pt x="198903" y="204356"/>
                    </a:cubicBezTo>
                    <a:cubicBezTo>
                      <a:pt x="195570" y="213853"/>
                      <a:pt x="194508" y="224029"/>
                      <a:pt x="195806" y="233999"/>
                    </a:cubicBezTo>
                    <a:cubicBezTo>
                      <a:pt x="197104" y="243998"/>
                      <a:pt x="200702" y="253555"/>
                      <a:pt x="206336" y="261902"/>
                    </a:cubicBezTo>
                    <a:cubicBezTo>
                      <a:pt x="224181" y="287180"/>
                      <a:pt x="261139" y="287180"/>
                      <a:pt x="285591" y="287180"/>
                    </a:cubicBezTo>
                    <a:lnTo>
                      <a:pt x="292817" y="287180"/>
                    </a:lnTo>
                    <a:cubicBezTo>
                      <a:pt x="301460" y="286590"/>
                      <a:pt x="310072" y="288596"/>
                      <a:pt x="317594" y="292932"/>
                    </a:cubicBezTo>
                    <a:cubicBezTo>
                      <a:pt x="325086" y="297268"/>
                      <a:pt x="331132" y="303757"/>
                      <a:pt x="334908" y="311544"/>
                    </a:cubicBezTo>
                    <a:cubicBezTo>
                      <a:pt x="344730" y="337293"/>
                      <a:pt x="320868" y="516274"/>
                      <a:pt x="304350" y="5478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6" name="Полилиния: фигура 1195">
                <a:extLst>
                  <a:ext uri="{FF2B5EF4-FFF2-40B4-BE49-F238E27FC236}">
                    <a16:creationId xmlns:a16="http://schemas.microsoft.com/office/drawing/2014/main" id="{6DB8F65C-4F45-41E2-AA0A-7E8B00558408}"/>
                  </a:ext>
                </a:extLst>
              </p:cNvPr>
              <p:cNvSpPr/>
              <p:nvPr/>
            </p:nvSpPr>
            <p:spPr>
              <a:xfrm>
                <a:off x="9141588" y="2080803"/>
                <a:ext cx="2020578" cy="2005124"/>
              </a:xfrm>
              <a:custGeom>
                <a:avLst/>
                <a:gdLst>
                  <a:gd name="connsiteX0" fmla="*/ 1010289 w 2020578"/>
                  <a:gd name="connsiteY0" fmla="*/ 0 h 2005124"/>
                  <a:gd name="connsiteX1" fmla="*/ 0 w 2020578"/>
                  <a:gd name="connsiteY1" fmla="*/ 1002562 h 2005124"/>
                  <a:gd name="connsiteX2" fmla="*/ 1010289 w 2020578"/>
                  <a:gd name="connsiteY2" fmla="*/ 2005124 h 2005124"/>
                  <a:gd name="connsiteX3" fmla="*/ 2020579 w 2020578"/>
                  <a:gd name="connsiteY3" fmla="*/ 1002562 h 2005124"/>
                  <a:gd name="connsiteX4" fmla="*/ 1010289 w 2020578"/>
                  <a:gd name="connsiteY4" fmla="*/ 0 h 2005124"/>
                  <a:gd name="connsiteX5" fmla="*/ 1212513 w 2020578"/>
                  <a:gd name="connsiteY5" fmla="*/ 1827854 h 2005124"/>
                  <a:gd name="connsiteX6" fmla="*/ 1204283 w 2020578"/>
                  <a:gd name="connsiteY6" fmla="*/ 1953182 h 2005124"/>
                  <a:gd name="connsiteX7" fmla="*/ 843550 w 2020578"/>
                  <a:gd name="connsiteY7" fmla="*/ 1958403 h 2005124"/>
                  <a:gd name="connsiteX8" fmla="*/ 829923 w 2020578"/>
                  <a:gd name="connsiteY8" fmla="*/ 1827382 h 2005124"/>
                  <a:gd name="connsiteX9" fmla="*/ 819894 w 2020578"/>
                  <a:gd name="connsiteY9" fmla="*/ 1441401 h 2005124"/>
                  <a:gd name="connsiteX10" fmla="*/ 883428 w 2020578"/>
                  <a:gd name="connsiteY10" fmla="*/ 1414736 h 2005124"/>
                  <a:gd name="connsiteX11" fmla="*/ 895050 w 2020578"/>
                  <a:gd name="connsiteY11" fmla="*/ 1414736 h 2005124"/>
                  <a:gd name="connsiteX12" fmla="*/ 972210 w 2020578"/>
                  <a:gd name="connsiteY12" fmla="*/ 1384651 h 2005124"/>
                  <a:gd name="connsiteX13" fmla="*/ 974305 w 2020578"/>
                  <a:gd name="connsiteY13" fmla="*/ 1307549 h 2005124"/>
                  <a:gd name="connsiteX14" fmla="*/ 960176 w 2020578"/>
                  <a:gd name="connsiteY14" fmla="*/ 1292004 h 2005124"/>
                  <a:gd name="connsiteX15" fmla="*/ 930120 w 2020578"/>
                  <a:gd name="connsiteY15" fmla="*/ 1251212 h 2005124"/>
                  <a:gd name="connsiteX16" fmla="*/ 918086 w 2020578"/>
                  <a:gd name="connsiteY16" fmla="*/ 1184138 h 2005124"/>
                  <a:gd name="connsiteX17" fmla="*/ 946254 w 2020578"/>
                  <a:gd name="connsiteY17" fmla="*/ 1098807 h 2005124"/>
                  <a:gd name="connsiteX18" fmla="*/ 973331 w 2020578"/>
                  <a:gd name="connsiteY18" fmla="*/ 1081404 h 2005124"/>
                  <a:gd name="connsiteX19" fmla="*/ 1005098 w 2020578"/>
                  <a:gd name="connsiteY19" fmla="*/ 1076243 h 2005124"/>
                  <a:gd name="connsiteX20" fmla="*/ 1039962 w 2020578"/>
                  <a:gd name="connsiteY20" fmla="*/ 1083351 h 2005124"/>
                  <a:gd name="connsiteX21" fmla="*/ 1068426 w 2020578"/>
                  <a:gd name="connsiteY21" fmla="*/ 1104706 h 2005124"/>
                  <a:gd name="connsiteX22" fmla="*/ 1089250 w 2020578"/>
                  <a:gd name="connsiteY22" fmla="*/ 1143611 h 2005124"/>
                  <a:gd name="connsiteX23" fmla="*/ 1092789 w 2020578"/>
                  <a:gd name="connsiteY23" fmla="*/ 1187619 h 2005124"/>
                  <a:gd name="connsiteX24" fmla="*/ 1077658 w 2020578"/>
                  <a:gd name="connsiteY24" fmla="*/ 1254279 h 2005124"/>
                  <a:gd name="connsiteX25" fmla="*/ 1062822 w 2020578"/>
                  <a:gd name="connsiteY25" fmla="*/ 1276549 h 2005124"/>
                  <a:gd name="connsiteX26" fmla="*/ 1042174 w 2020578"/>
                  <a:gd name="connsiteY26" fmla="*/ 1309348 h 2005124"/>
                  <a:gd name="connsiteX27" fmla="*/ 1038370 w 2020578"/>
                  <a:gd name="connsiteY27" fmla="*/ 1346070 h 2005124"/>
                  <a:gd name="connsiteX28" fmla="*/ 1051407 w 2020578"/>
                  <a:gd name="connsiteY28" fmla="*/ 1380610 h 2005124"/>
                  <a:gd name="connsiteX29" fmla="*/ 1151014 w 2020578"/>
                  <a:gd name="connsiteY29" fmla="*/ 1411285 h 2005124"/>
                  <a:gd name="connsiteX30" fmla="*/ 1161043 w 2020578"/>
                  <a:gd name="connsiteY30" fmla="*/ 1411285 h 2005124"/>
                  <a:gd name="connsiteX31" fmla="*/ 1196408 w 2020578"/>
                  <a:gd name="connsiteY31" fmla="*/ 1419633 h 2005124"/>
                  <a:gd name="connsiteX32" fmla="*/ 1221155 w 2020578"/>
                  <a:gd name="connsiteY32" fmla="*/ 1446267 h 2005124"/>
                  <a:gd name="connsiteX33" fmla="*/ 1212542 w 2020578"/>
                  <a:gd name="connsiteY33" fmla="*/ 1827854 h 2005124"/>
                  <a:gd name="connsiteX34" fmla="*/ 1238174 w 2020578"/>
                  <a:gd name="connsiteY34" fmla="*/ 1945749 h 2005124"/>
                  <a:gd name="connsiteX35" fmla="*/ 1245990 w 2020578"/>
                  <a:gd name="connsiteY35" fmla="*/ 1824934 h 2005124"/>
                  <a:gd name="connsiteX36" fmla="*/ 1251388 w 2020578"/>
                  <a:gd name="connsiteY36" fmla="*/ 1432522 h 2005124"/>
                  <a:gd name="connsiteX37" fmla="*/ 1161190 w 2020578"/>
                  <a:gd name="connsiteY37" fmla="*/ 1377896 h 2005124"/>
                  <a:gd name="connsiteX38" fmla="*/ 1151161 w 2020578"/>
                  <a:gd name="connsiteY38" fmla="*/ 1377896 h 2005124"/>
                  <a:gd name="connsiteX39" fmla="*/ 1079428 w 2020578"/>
                  <a:gd name="connsiteY39" fmla="*/ 1361762 h 2005124"/>
                  <a:gd name="connsiteX40" fmla="*/ 1071788 w 2020578"/>
                  <a:gd name="connsiteY40" fmla="*/ 1341587 h 2005124"/>
                  <a:gd name="connsiteX41" fmla="*/ 1074030 w 2020578"/>
                  <a:gd name="connsiteY41" fmla="*/ 1320143 h 2005124"/>
                  <a:gd name="connsiteX42" fmla="*/ 1089073 w 2020578"/>
                  <a:gd name="connsiteY42" fmla="*/ 1297284 h 2005124"/>
                  <a:gd name="connsiteX43" fmla="*/ 1109100 w 2020578"/>
                  <a:gd name="connsiteY43" fmla="*/ 1265606 h 2005124"/>
                  <a:gd name="connsiteX44" fmla="*/ 1125943 w 2020578"/>
                  <a:gd name="connsiteY44" fmla="*/ 1192132 h 2005124"/>
                  <a:gd name="connsiteX45" fmla="*/ 1121312 w 2020578"/>
                  <a:gd name="connsiteY45" fmla="*/ 1134054 h 2005124"/>
                  <a:gd name="connsiteX46" fmla="*/ 1093881 w 2020578"/>
                  <a:gd name="connsiteY46" fmla="*/ 1082673 h 2005124"/>
                  <a:gd name="connsiteX47" fmla="*/ 1055949 w 2020578"/>
                  <a:gd name="connsiteY47" fmla="*/ 1054239 h 2005124"/>
                  <a:gd name="connsiteX48" fmla="*/ 1009936 w 2020578"/>
                  <a:gd name="connsiteY48" fmla="*/ 1042794 h 2005124"/>
                  <a:gd name="connsiteX49" fmla="*/ 963096 w 2020578"/>
                  <a:gd name="connsiteY49" fmla="*/ 1050168 h 2005124"/>
                  <a:gd name="connsiteX50" fmla="*/ 922805 w 2020578"/>
                  <a:gd name="connsiteY50" fmla="*/ 1075181 h 2005124"/>
                  <a:gd name="connsiteX51" fmla="*/ 885227 w 2020578"/>
                  <a:gd name="connsiteY51" fmla="*/ 1184463 h 2005124"/>
                  <a:gd name="connsiteX52" fmla="*/ 899857 w 2020578"/>
                  <a:gd name="connsiteY52" fmla="*/ 1263275 h 2005124"/>
                  <a:gd name="connsiteX53" fmla="*/ 936639 w 2020578"/>
                  <a:gd name="connsiteY53" fmla="*/ 1314215 h 2005124"/>
                  <a:gd name="connsiteX54" fmla="*/ 947464 w 2020578"/>
                  <a:gd name="connsiteY54" fmla="*/ 1325954 h 2005124"/>
                  <a:gd name="connsiteX55" fmla="*/ 945369 w 2020578"/>
                  <a:gd name="connsiteY55" fmla="*/ 1366068 h 2005124"/>
                  <a:gd name="connsiteX56" fmla="*/ 894371 w 2020578"/>
                  <a:gd name="connsiteY56" fmla="*/ 1381495 h 2005124"/>
                  <a:gd name="connsiteX57" fmla="*/ 884343 w 2020578"/>
                  <a:gd name="connsiteY57" fmla="*/ 1381495 h 2005124"/>
                  <a:gd name="connsiteX58" fmla="*/ 793053 w 2020578"/>
                  <a:gd name="connsiteY58" fmla="*/ 1423290 h 2005124"/>
                  <a:gd name="connsiteX59" fmla="*/ 797359 w 2020578"/>
                  <a:gd name="connsiteY59" fmla="*/ 1827530 h 2005124"/>
                  <a:gd name="connsiteX60" fmla="*/ 810190 w 2020578"/>
                  <a:gd name="connsiteY60" fmla="*/ 1952061 h 2005124"/>
                  <a:gd name="connsiteX61" fmla="*/ 33183 w 2020578"/>
                  <a:gd name="connsiteY61" fmla="*/ 1002562 h 2005124"/>
                  <a:gd name="connsiteX62" fmla="*/ 1010172 w 2020578"/>
                  <a:gd name="connsiteY62" fmla="*/ 32888 h 2005124"/>
                  <a:gd name="connsiteX63" fmla="*/ 1987190 w 2020578"/>
                  <a:gd name="connsiteY63" fmla="*/ 1002562 h 2005124"/>
                  <a:gd name="connsiteX64" fmla="*/ 1238439 w 2020578"/>
                  <a:gd name="connsiteY64" fmla="*/ 1945779 h 2005124"/>
                  <a:gd name="connsiteX65" fmla="*/ 1238144 w 2020578"/>
                  <a:gd name="connsiteY65" fmla="*/ 1945779 h 200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20578" h="2005124">
                    <a:moveTo>
                      <a:pt x="1010289" y="0"/>
                    </a:moveTo>
                    <a:cubicBezTo>
                      <a:pt x="453232" y="0"/>
                      <a:pt x="0" y="449840"/>
                      <a:pt x="0" y="1002562"/>
                    </a:cubicBezTo>
                    <a:cubicBezTo>
                      <a:pt x="0" y="1555284"/>
                      <a:pt x="453232" y="2005124"/>
                      <a:pt x="1010289" y="2005124"/>
                    </a:cubicBezTo>
                    <a:cubicBezTo>
                      <a:pt x="1567347" y="2005124"/>
                      <a:pt x="2020579" y="1555284"/>
                      <a:pt x="2020579" y="1002562"/>
                    </a:cubicBezTo>
                    <a:cubicBezTo>
                      <a:pt x="2020579" y="449840"/>
                      <a:pt x="1567317" y="0"/>
                      <a:pt x="1010289" y="0"/>
                    </a:cubicBezTo>
                    <a:close/>
                    <a:moveTo>
                      <a:pt x="1212513" y="1827854"/>
                    </a:moveTo>
                    <a:cubicBezTo>
                      <a:pt x="1209829" y="1873838"/>
                      <a:pt x="1207085" y="1915604"/>
                      <a:pt x="1204283" y="1953182"/>
                    </a:cubicBezTo>
                    <a:cubicBezTo>
                      <a:pt x="1085386" y="1977044"/>
                      <a:pt x="963096" y="1978814"/>
                      <a:pt x="843550" y="1958403"/>
                    </a:cubicBezTo>
                    <a:cubicBezTo>
                      <a:pt x="838831" y="1917699"/>
                      <a:pt x="834229" y="1873573"/>
                      <a:pt x="829923" y="1827382"/>
                    </a:cubicBezTo>
                    <a:cubicBezTo>
                      <a:pt x="807477" y="1586756"/>
                      <a:pt x="809069" y="1458538"/>
                      <a:pt x="819894" y="1441401"/>
                    </a:cubicBezTo>
                    <a:cubicBezTo>
                      <a:pt x="837238" y="1414825"/>
                      <a:pt x="859979" y="1414736"/>
                      <a:pt x="883428" y="1414736"/>
                    </a:cubicBezTo>
                    <a:lnTo>
                      <a:pt x="895050" y="1414736"/>
                    </a:lnTo>
                    <a:cubicBezTo>
                      <a:pt x="912599" y="1414028"/>
                      <a:pt x="953569" y="1412318"/>
                      <a:pt x="972210" y="1384651"/>
                    </a:cubicBezTo>
                    <a:cubicBezTo>
                      <a:pt x="983330" y="1368103"/>
                      <a:pt x="983242" y="1317990"/>
                      <a:pt x="974305" y="1307549"/>
                    </a:cubicBezTo>
                    <a:cubicBezTo>
                      <a:pt x="969703" y="1302239"/>
                      <a:pt x="964896" y="1297019"/>
                      <a:pt x="960176" y="1292004"/>
                    </a:cubicBezTo>
                    <a:cubicBezTo>
                      <a:pt x="947817" y="1280294"/>
                      <a:pt x="937612" y="1266490"/>
                      <a:pt x="930120" y="1251212"/>
                    </a:cubicBezTo>
                    <a:cubicBezTo>
                      <a:pt x="922038" y="1229768"/>
                      <a:pt x="917968" y="1207056"/>
                      <a:pt x="918086" y="1184138"/>
                    </a:cubicBezTo>
                    <a:cubicBezTo>
                      <a:pt x="917378" y="1148861"/>
                      <a:pt x="928114" y="1117773"/>
                      <a:pt x="946254" y="1098807"/>
                    </a:cubicBezTo>
                    <a:cubicBezTo>
                      <a:pt x="953982" y="1091197"/>
                      <a:pt x="963185" y="1085298"/>
                      <a:pt x="973331" y="1081404"/>
                    </a:cubicBezTo>
                    <a:cubicBezTo>
                      <a:pt x="983448" y="1077511"/>
                      <a:pt x="994273" y="1075771"/>
                      <a:pt x="1005098" y="1076243"/>
                    </a:cubicBezTo>
                    <a:cubicBezTo>
                      <a:pt x="1017103" y="1076007"/>
                      <a:pt x="1029019" y="1078425"/>
                      <a:pt x="1039962" y="1083351"/>
                    </a:cubicBezTo>
                    <a:cubicBezTo>
                      <a:pt x="1050905" y="1088277"/>
                      <a:pt x="1060639" y="1095562"/>
                      <a:pt x="1068426" y="1104706"/>
                    </a:cubicBezTo>
                    <a:cubicBezTo>
                      <a:pt x="1077953" y="1116091"/>
                      <a:pt x="1085061" y="1129365"/>
                      <a:pt x="1089250" y="1143611"/>
                    </a:cubicBezTo>
                    <a:cubicBezTo>
                      <a:pt x="1093438" y="1157887"/>
                      <a:pt x="1094647" y="1172871"/>
                      <a:pt x="1092789" y="1187619"/>
                    </a:cubicBezTo>
                    <a:cubicBezTo>
                      <a:pt x="1090076" y="1210301"/>
                      <a:pt x="1085002" y="1232659"/>
                      <a:pt x="1077658" y="1254279"/>
                    </a:cubicBezTo>
                    <a:cubicBezTo>
                      <a:pt x="1073912" y="1262450"/>
                      <a:pt x="1068927" y="1269941"/>
                      <a:pt x="1062822" y="1276549"/>
                    </a:cubicBezTo>
                    <a:cubicBezTo>
                      <a:pt x="1054061" y="1286164"/>
                      <a:pt x="1047071" y="1297284"/>
                      <a:pt x="1042174" y="1309348"/>
                    </a:cubicBezTo>
                    <a:cubicBezTo>
                      <a:pt x="1038075" y="1321117"/>
                      <a:pt x="1036747" y="1333711"/>
                      <a:pt x="1038370" y="1346070"/>
                    </a:cubicBezTo>
                    <a:cubicBezTo>
                      <a:pt x="1039962" y="1358458"/>
                      <a:pt x="1044446" y="1370286"/>
                      <a:pt x="1051407" y="1380610"/>
                    </a:cubicBezTo>
                    <a:cubicBezTo>
                      <a:pt x="1072762" y="1412200"/>
                      <a:pt x="1119837" y="1411698"/>
                      <a:pt x="1151014" y="1411285"/>
                    </a:cubicBezTo>
                    <a:lnTo>
                      <a:pt x="1161043" y="1411285"/>
                    </a:lnTo>
                    <a:cubicBezTo>
                      <a:pt x="1173401" y="1410518"/>
                      <a:pt x="1185701" y="1413409"/>
                      <a:pt x="1196408" y="1419633"/>
                    </a:cubicBezTo>
                    <a:cubicBezTo>
                      <a:pt x="1207115" y="1425856"/>
                      <a:pt x="1215728" y="1435118"/>
                      <a:pt x="1221155" y="1446267"/>
                    </a:cubicBezTo>
                    <a:cubicBezTo>
                      <a:pt x="1226877" y="1464614"/>
                      <a:pt x="1225166" y="1615308"/>
                      <a:pt x="1212542" y="1827854"/>
                    </a:cubicBezTo>
                    <a:close/>
                    <a:moveTo>
                      <a:pt x="1238174" y="1945749"/>
                    </a:moveTo>
                    <a:cubicBezTo>
                      <a:pt x="1241477" y="1899146"/>
                      <a:pt x="1244191" y="1855522"/>
                      <a:pt x="1245990" y="1824934"/>
                    </a:cubicBezTo>
                    <a:cubicBezTo>
                      <a:pt x="1248085" y="1788153"/>
                      <a:pt x="1266018" y="1464614"/>
                      <a:pt x="1251388" y="1432522"/>
                    </a:cubicBezTo>
                    <a:cubicBezTo>
                      <a:pt x="1235165" y="1397422"/>
                      <a:pt x="1202986" y="1378073"/>
                      <a:pt x="1161190" y="1377896"/>
                    </a:cubicBezTo>
                    <a:lnTo>
                      <a:pt x="1151161" y="1377896"/>
                    </a:lnTo>
                    <a:cubicBezTo>
                      <a:pt x="1127122" y="1377896"/>
                      <a:pt x="1091049" y="1378604"/>
                      <a:pt x="1079428" y="1361762"/>
                    </a:cubicBezTo>
                    <a:cubicBezTo>
                      <a:pt x="1075357" y="1355715"/>
                      <a:pt x="1072732" y="1348813"/>
                      <a:pt x="1071788" y="1341587"/>
                    </a:cubicBezTo>
                    <a:cubicBezTo>
                      <a:pt x="1070844" y="1334360"/>
                      <a:pt x="1071611" y="1327016"/>
                      <a:pt x="1074030" y="1320143"/>
                    </a:cubicBezTo>
                    <a:cubicBezTo>
                      <a:pt x="1077717" y="1311737"/>
                      <a:pt x="1082820" y="1304009"/>
                      <a:pt x="1089073" y="1297284"/>
                    </a:cubicBezTo>
                    <a:cubicBezTo>
                      <a:pt x="1097479" y="1287934"/>
                      <a:pt x="1104263" y="1277197"/>
                      <a:pt x="1109100" y="1265606"/>
                    </a:cubicBezTo>
                    <a:cubicBezTo>
                      <a:pt x="1117271" y="1241773"/>
                      <a:pt x="1122904" y="1217144"/>
                      <a:pt x="1125943" y="1192132"/>
                    </a:cubicBezTo>
                    <a:cubicBezTo>
                      <a:pt x="1128420" y="1172664"/>
                      <a:pt x="1126857" y="1152873"/>
                      <a:pt x="1121312" y="1134054"/>
                    </a:cubicBezTo>
                    <a:cubicBezTo>
                      <a:pt x="1115796" y="1115207"/>
                      <a:pt x="1106446" y="1097716"/>
                      <a:pt x="1093881" y="1082673"/>
                    </a:cubicBezTo>
                    <a:cubicBezTo>
                      <a:pt x="1083262" y="1070756"/>
                      <a:pt x="1070373" y="1061082"/>
                      <a:pt x="1055949" y="1054239"/>
                    </a:cubicBezTo>
                    <a:cubicBezTo>
                      <a:pt x="1041526" y="1047396"/>
                      <a:pt x="1025893" y="1043502"/>
                      <a:pt x="1009936" y="1042794"/>
                    </a:cubicBezTo>
                    <a:cubicBezTo>
                      <a:pt x="993978" y="1042086"/>
                      <a:pt x="978080" y="1044594"/>
                      <a:pt x="963096" y="1050168"/>
                    </a:cubicBezTo>
                    <a:cubicBezTo>
                      <a:pt x="948142" y="1055714"/>
                      <a:pt x="934426" y="1064238"/>
                      <a:pt x="922805" y="1075181"/>
                    </a:cubicBezTo>
                    <a:cubicBezTo>
                      <a:pt x="898058" y="1100459"/>
                      <a:pt x="884313" y="1140248"/>
                      <a:pt x="885227" y="1184463"/>
                    </a:cubicBezTo>
                    <a:cubicBezTo>
                      <a:pt x="885227" y="1211392"/>
                      <a:pt x="890183" y="1238116"/>
                      <a:pt x="899857" y="1263275"/>
                    </a:cubicBezTo>
                    <a:cubicBezTo>
                      <a:pt x="908824" y="1282389"/>
                      <a:pt x="921301" y="1299673"/>
                      <a:pt x="936639" y="1314215"/>
                    </a:cubicBezTo>
                    <a:cubicBezTo>
                      <a:pt x="940444" y="1318226"/>
                      <a:pt x="944042" y="1322149"/>
                      <a:pt x="947464" y="1325954"/>
                    </a:cubicBezTo>
                    <a:cubicBezTo>
                      <a:pt x="949322" y="1339345"/>
                      <a:pt x="948614" y="1352943"/>
                      <a:pt x="945369" y="1366068"/>
                    </a:cubicBezTo>
                    <a:cubicBezTo>
                      <a:pt x="936167" y="1379813"/>
                      <a:pt x="905786" y="1381023"/>
                      <a:pt x="894371" y="1381495"/>
                    </a:cubicBezTo>
                    <a:lnTo>
                      <a:pt x="884343" y="1381495"/>
                    </a:lnTo>
                    <a:cubicBezTo>
                      <a:pt x="858799" y="1381495"/>
                      <a:pt x="820219" y="1381495"/>
                      <a:pt x="793053" y="1423290"/>
                    </a:cubicBezTo>
                    <a:cubicBezTo>
                      <a:pt x="767805" y="1461989"/>
                      <a:pt x="784942" y="1693177"/>
                      <a:pt x="797359" y="1827530"/>
                    </a:cubicBezTo>
                    <a:cubicBezTo>
                      <a:pt x="800869" y="1864931"/>
                      <a:pt x="805264" y="1907729"/>
                      <a:pt x="810190" y="1952061"/>
                    </a:cubicBezTo>
                    <a:cubicBezTo>
                      <a:pt x="366957" y="1860034"/>
                      <a:pt x="33183" y="1469451"/>
                      <a:pt x="33183" y="1002562"/>
                    </a:cubicBezTo>
                    <a:cubicBezTo>
                      <a:pt x="33183" y="467892"/>
                      <a:pt x="471461" y="32888"/>
                      <a:pt x="1010172" y="32888"/>
                    </a:cubicBezTo>
                    <a:cubicBezTo>
                      <a:pt x="1548883" y="32888"/>
                      <a:pt x="1987190" y="467892"/>
                      <a:pt x="1987190" y="1002562"/>
                    </a:cubicBezTo>
                    <a:cubicBezTo>
                      <a:pt x="1987278" y="1459629"/>
                      <a:pt x="1667426" y="1843517"/>
                      <a:pt x="1238439" y="1945779"/>
                    </a:cubicBezTo>
                    <a:lnTo>
                      <a:pt x="1238144" y="1945779"/>
                    </a:ln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7" name="Полилиния: фигура 1196">
                <a:extLst>
                  <a:ext uri="{FF2B5EF4-FFF2-40B4-BE49-F238E27FC236}">
                    <a16:creationId xmlns:a16="http://schemas.microsoft.com/office/drawing/2014/main" id="{7B1560B7-B26C-4BC6-B396-DA9F3418E365}"/>
                  </a:ext>
                </a:extLst>
              </p:cNvPr>
              <p:cNvSpPr/>
              <p:nvPr/>
            </p:nvSpPr>
            <p:spPr>
              <a:xfrm>
                <a:off x="9675491" y="2958774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8" name="Полилиния: фигура 1197">
                <a:extLst>
                  <a:ext uri="{FF2B5EF4-FFF2-40B4-BE49-F238E27FC236}">
                    <a16:creationId xmlns:a16="http://schemas.microsoft.com/office/drawing/2014/main" id="{1BB8D6D2-EB06-4F05-A116-68D916289AD1}"/>
                  </a:ext>
                </a:extLst>
              </p:cNvPr>
              <p:cNvSpPr/>
              <p:nvPr/>
            </p:nvSpPr>
            <p:spPr>
              <a:xfrm>
                <a:off x="10029322" y="2652667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9" name="Полилиния: фигура 1198">
                <a:extLst>
                  <a:ext uri="{FF2B5EF4-FFF2-40B4-BE49-F238E27FC236}">
                    <a16:creationId xmlns:a16="http://schemas.microsoft.com/office/drawing/2014/main" id="{89E524B1-0A93-41C6-8F57-1A91594E6D7F}"/>
                  </a:ext>
                </a:extLst>
              </p:cNvPr>
              <p:cNvSpPr/>
              <p:nvPr/>
            </p:nvSpPr>
            <p:spPr>
              <a:xfrm>
                <a:off x="10364807" y="2361249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89" name="Группа 488">
            <a:extLst>
              <a:ext uri="{FF2B5EF4-FFF2-40B4-BE49-F238E27FC236}">
                <a16:creationId xmlns:a16="http://schemas.microsoft.com/office/drawing/2014/main" id="{3AAD422A-1D67-4738-87B3-BF177DDB7B19}"/>
              </a:ext>
            </a:extLst>
          </p:cNvPr>
          <p:cNvGrpSpPr/>
          <p:nvPr/>
        </p:nvGrpSpPr>
        <p:grpSpPr>
          <a:xfrm>
            <a:off x="388248" y="2041839"/>
            <a:ext cx="5051622" cy="847113"/>
            <a:chOff x="6510195" y="1556711"/>
            <a:chExt cx="5051622" cy="847113"/>
          </a:xfrm>
        </p:grpSpPr>
        <p:sp>
          <p:nvSpPr>
            <p:cNvPr id="490" name="Rounded Rectangle">
              <a:extLst>
                <a:ext uri="{FF2B5EF4-FFF2-40B4-BE49-F238E27FC236}">
                  <a16:creationId xmlns:a16="http://schemas.microsoft.com/office/drawing/2014/main" id="{4834E57F-9430-48C3-8803-677294F366D7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04" name="Motion design">
              <a:extLst>
                <a:ext uri="{FF2B5EF4-FFF2-40B4-BE49-F238E27FC236}">
                  <a16:creationId xmlns:a16="http://schemas.microsoft.com/office/drawing/2014/main" id="{E54A1154-CF1D-43BA-8F38-9A4C6D2052B3}"/>
                </a:ext>
              </a:extLst>
            </p:cNvPr>
            <p:cNvSpPr txBox="1"/>
            <p:nvPr/>
          </p:nvSpPr>
          <p:spPr>
            <a:xfrm>
              <a:off x="7434557" y="1842208"/>
              <a:ext cx="369142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рядок в клиентских данных</a:t>
              </a:r>
            </a:p>
          </p:txBody>
        </p:sp>
        <p:sp>
          <p:nvSpPr>
            <p:cNvPr id="805" name="Circle">
              <a:extLst>
                <a:ext uri="{FF2B5EF4-FFF2-40B4-BE49-F238E27FC236}">
                  <a16:creationId xmlns:a16="http://schemas.microsoft.com/office/drawing/2014/main" id="{9B7FF88B-1473-4FA1-8C00-C9135B65D06F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06" name="Рисунок 805">
              <a:extLst>
                <a:ext uri="{FF2B5EF4-FFF2-40B4-BE49-F238E27FC236}">
                  <a16:creationId xmlns:a16="http://schemas.microsoft.com/office/drawing/2014/main" id="{2F483F97-4B7C-4752-B3CE-5A82B56766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6786835" y="1802015"/>
              <a:ext cx="330367" cy="330367"/>
            </a:xfrm>
            <a:prstGeom prst="rect">
              <a:avLst/>
            </a:prstGeom>
          </p:spPr>
        </p:pic>
      </p:grpSp>
      <p:grpSp>
        <p:nvGrpSpPr>
          <p:cNvPr id="807" name="Группа 806">
            <a:extLst>
              <a:ext uri="{FF2B5EF4-FFF2-40B4-BE49-F238E27FC236}">
                <a16:creationId xmlns:a16="http://schemas.microsoft.com/office/drawing/2014/main" id="{08E501D1-9317-410B-B2E3-360A20F06195}"/>
              </a:ext>
            </a:extLst>
          </p:cNvPr>
          <p:cNvGrpSpPr/>
          <p:nvPr/>
        </p:nvGrpSpPr>
        <p:grpSpPr>
          <a:xfrm>
            <a:off x="388248" y="3067015"/>
            <a:ext cx="5051622" cy="847113"/>
            <a:chOff x="6510195" y="2581887"/>
            <a:chExt cx="5051622" cy="847113"/>
          </a:xfrm>
        </p:grpSpPr>
        <p:sp>
          <p:nvSpPr>
            <p:cNvPr id="808" name="Rounded Rectangle">
              <a:extLst>
                <a:ext uri="{FF2B5EF4-FFF2-40B4-BE49-F238E27FC236}">
                  <a16:creationId xmlns:a16="http://schemas.microsoft.com/office/drawing/2014/main" id="{9904B312-5689-4CE1-9C95-7EB618E7B06E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09" name="Motion design">
              <a:extLst>
                <a:ext uri="{FF2B5EF4-FFF2-40B4-BE49-F238E27FC236}">
                  <a16:creationId xmlns:a16="http://schemas.microsoft.com/office/drawing/2014/main" id="{2850356D-5617-4117-B5D4-EA90A307AD5E}"/>
                </a:ext>
              </a:extLst>
            </p:cNvPr>
            <p:cNvSpPr txBox="1"/>
            <p:nvPr/>
          </p:nvSpPr>
          <p:spPr>
            <a:xfrm>
              <a:off x="7434559" y="2867383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 err="1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едупликация</a:t>
              </a:r>
              <a:endParaRPr lang="ru-RU" sz="1400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sp>
          <p:nvSpPr>
            <p:cNvPr id="810" name="Circle">
              <a:extLst>
                <a:ext uri="{FF2B5EF4-FFF2-40B4-BE49-F238E27FC236}">
                  <a16:creationId xmlns:a16="http://schemas.microsoft.com/office/drawing/2014/main" id="{70E90141-9FC2-45B0-8A0F-850F726160C8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11" name="Рисунок 810">
              <a:extLst>
                <a:ext uri="{FF2B5EF4-FFF2-40B4-BE49-F238E27FC236}">
                  <a16:creationId xmlns:a16="http://schemas.microsoft.com/office/drawing/2014/main" id="{D99CB33B-A894-4730-851F-2A8E52BB22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76527" y="2838729"/>
              <a:ext cx="344999" cy="344999"/>
            </a:xfrm>
            <a:prstGeom prst="rect">
              <a:avLst/>
            </a:prstGeom>
          </p:spPr>
        </p:pic>
      </p:grpSp>
      <p:grpSp>
        <p:nvGrpSpPr>
          <p:cNvPr id="812" name="Группа 811">
            <a:extLst>
              <a:ext uri="{FF2B5EF4-FFF2-40B4-BE49-F238E27FC236}">
                <a16:creationId xmlns:a16="http://schemas.microsoft.com/office/drawing/2014/main" id="{40D06359-AB14-46D9-B04A-8F4A14A0A981}"/>
              </a:ext>
            </a:extLst>
          </p:cNvPr>
          <p:cNvGrpSpPr/>
          <p:nvPr/>
        </p:nvGrpSpPr>
        <p:grpSpPr>
          <a:xfrm>
            <a:off x="388248" y="4125101"/>
            <a:ext cx="5051622" cy="847113"/>
            <a:chOff x="6510195" y="3639973"/>
            <a:chExt cx="5051622" cy="847113"/>
          </a:xfrm>
        </p:grpSpPr>
        <p:sp>
          <p:nvSpPr>
            <p:cNvPr id="813" name="Rounded Rectangle">
              <a:extLst>
                <a:ext uri="{FF2B5EF4-FFF2-40B4-BE49-F238E27FC236}">
                  <a16:creationId xmlns:a16="http://schemas.microsoft.com/office/drawing/2014/main" id="{2C160F13-91E6-47E7-A4F2-BB65C971B901}"/>
                </a:ext>
              </a:extLst>
            </p:cNvPr>
            <p:cNvSpPr/>
            <p:nvPr/>
          </p:nvSpPr>
          <p:spPr>
            <a:xfrm>
              <a:off x="6510195" y="36399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14" name="Motion design">
              <a:extLst>
                <a:ext uri="{FF2B5EF4-FFF2-40B4-BE49-F238E27FC236}">
                  <a16:creationId xmlns:a16="http://schemas.microsoft.com/office/drawing/2014/main" id="{DD43FF35-6DC0-492B-8F0F-A5CD213E401E}"/>
                </a:ext>
              </a:extLst>
            </p:cNvPr>
            <p:cNvSpPr txBox="1"/>
            <p:nvPr/>
          </p:nvSpPr>
          <p:spPr>
            <a:xfrm>
              <a:off x="7434559" y="3925470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Золотые карточки</a:t>
              </a:r>
            </a:p>
          </p:txBody>
        </p:sp>
        <p:sp>
          <p:nvSpPr>
            <p:cNvPr id="815" name="Circle">
              <a:extLst>
                <a:ext uri="{FF2B5EF4-FFF2-40B4-BE49-F238E27FC236}">
                  <a16:creationId xmlns:a16="http://schemas.microsoft.com/office/drawing/2014/main" id="{A4D2ED7A-9704-4864-8CEB-FCFD4DCB9B61}"/>
                </a:ext>
              </a:extLst>
            </p:cNvPr>
            <p:cNvSpPr/>
            <p:nvPr/>
          </p:nvSpPr>
          <p:spPr>
            <a:xfrm>
              <a:off x="6636379" y="3745862"/>
              <a:ext cx="635335" cy="635335"/>
            </a:xfrm>
            <a:prstGeom prst="ellipse">
              <a:avLst/>
            </a:prstGeom>
            <a:solidFill>
              <a:schemeClr val="accent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16" name="Рисунок 815">
              <a:extLst>
                <a:ext uri="{FF2B5EF4-FFF2-40B4-BE49-F238E27FC236}">
                  <a16:creationId xmlns:a16="http://schemas.microsoft.com/office/drawing/2014/main" id="{FE1FA91E-2D19-4327-8253-AC53B6A2E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6768621" y="3935820"/>
              <a:ext cx="378376" cy="249998"/>
            </a:xfrm>
            <a:prstGeom prst="rect">
              <a:avLst/>
            </a:prstGeom>
          </p:spPr>
        </p:pic>
      </p:grpSp>
      <p:pic>
        <p:nvPicPr>
          <p:cNvPr id="817" name="ОТП_Logo">
            <a:extLst>
              <a:ext uri="{FF2B5EF4-FFF2-40B4-BE49-F238E27FC236}">
                <a16:creationId xmlns:a16="http://schemas.microsoft.com/office/drawing/2014/main" id="{26FE26D2-A0CB-4125-BB72-90908BAE14B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8547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8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8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-533401" y="1748939"/>
            <a:ext cx="6917265" cy="2794252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270463" y="2545900"/>
            <a:ext cx="58932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36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Есть только один вопрос: </a:t>
            </a:r>
          </a:p>
          <a:p>
            <a:pPr lvl="0">
              <a:defRPr/>
            </a:pP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«А где бизнес-эффект?»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Рисунок 1">
            <a:extLst>
              <a:ext uri="{FF2B5EF4-FFF2-40B4-BE49-F238E27FC236}">
                <a16:creationId xmlns:a16="http://schemas.microsoft.com/office/drawing/2014/main" id="{0EB4A8C4-8BAD-433F-A994-3E08666DDA67}"/>
              </a:ext>
            </a:extLst>
          </p:cNvPr>
          <p:cNvGrpSpPr/>
          <p:nvPr/>
        </p:nvGrpSpPr>
        <p:grpSpPr>
          <a:xfrm>
            <a:off x="6972656" y="1054797"/>
            <a:ext cx="4645089" cy="4197882"/>
            <a:chOff x="6972656" y="1054797"/>
            <a:chExt cx="4645089" cy="4197882"/>
          </a:xfrm>
        </p:grpSpPr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id="{57EC6473-F6C3-4C22-AEDB-BF3BECFDF0DE}"/>
                </a:ext>
              </a:extLst>
            </p:cNvPr>
            <p:cNvSpPr/>
            <p:nvPr/>
          </p:nvSpPr>
          <p:spPr>
            <a:xfrm>
              <a:off x="6972656" y="1054797"/>
              <a:ext cx="4645089" cy="4197882"/>
            </a:xfrm>
            <a:custGeom>
              <a:avLst/>
              <a:gdLst>
                <a:gd name="connsiteX0" fmla="*/ 4261309 w 4645089"/>
                <a:gd name="connsiteY0" fmla="*/ 2822167 h 4197882"/>
                <a:gd name="connsiteX1" fmla="*/ 4612897 w 4645089"/>
                <a:gd name="connsiteY1" fmla="*/ 1234927 h 4197882"/>
                <a:gd name="connsiteX2" fmla="*/ 3048962 w 4645089"/>
                <a:gd name="connsiteY2" fmla="*/ 49618 h 4197882"/>
                <a:gd name="connsiteX3" fmla="*/ 1908647 w 4645089"/>
                <a:gd name="connsiteY3" fmla="*/ 774383 h 4197882"/>
                <a:gd name="connsiteX4" fmla="*/ 153130 w 4645089"/>
                <a:gd name="connsiteY4" fmla="*/ 1483410 h 4197882"/>
                <a:gd name="connsiteX5" fmla="*/ 977066 w 4645089"/>
                <a:gd name="connsiteY5" fmla="*/ 3880764 h 4197882"/>
                <a:gd name="connsiteX6" fmla="*/ 4261410 w 4645089"/>
                <a:gd name="connsiteY6" fmla="*/ 2822167 h 419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5089" h="4197882">
                  <a:moveTo>
                    <a:pt x="4261309" y="2822167"/>
                  </a:moveTo>
                  <a:cubicBezTo>
                    <a:pt x="4261309" y="2822167"/>
                    <a:pt x="4776836" y="2242880"/>
                    <a:pt x="4612897" y="1234927"/>
                  </a:cubicBezTo>
                  <a:cubicBezTo>
                    <a:pt x="4449058" y="226874"/>
                    <a:pt x="3607467" y="-144487"/>
                    <a:pt x="3048962" y="49618"/>
                  </a:cubicBezTo>
                  <a:cubicBezTo>
                    <a:pt x="2490457" y="243722"/>
                    <a:pt x="2364854" y="581186"/>
                    <a:pt x="1908647" y="774383"/>
                  </a:cubicBezTo>
                  <a:cubicBezTo>
                    <a:pt x="1452441" y="967579"/>
                    <a:pt x="586435" y="834813"/>
                    <a:pt x="153130" y="1483410"/>
                  </a:cubicBezTo>
                  <a:cubicBezTo>
                    <a:pt x="-280176" y="2132006"/>
                    <a:pt x="272982" y="3206845"/>
                    <a:pt x="977066" y="3880764"/>
                  </a:cubicBezTo>
                  <a:cubicBezTo>
                    <a:pt x="1681149" y="4554683"/>
                    <a:pt x="3478534" y="4132676"/>
                    <a:pt x="4261410" y="2822167"/>
                  </a:cubicBezTo>
                  <a:close/>
                </a:path>
              </a:pathLst>
            </a:custGeom>
            <a:solidFill>
              <a:srgbClr val="006D3F"/>
            </a:solidFill>
            <a:ln w="1008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AAA66FCE-D29D-42E9-8E9D-DD40C6088210}"/>
                </a:ext>
              </a:extLst>
            </p:cNvPr>
            <p:cNvSpPr/>
            <p:nvPr/>
          </p:nvSpPr>
          <p:spPr>
            <a:xfrm>
              <a:off x="6972656" y="1054797"/>
              <a:ext cx="4645089" cy="4197882"/>
            </a:xfrm>
            <a:custGeom>
              <a:avLst/>
              <a:gdLst>
                <a:gd name="connsiteX0" fmla="*/ 4261309 w 4645089"/>
                <a:gd name="connsiteY0" fmla="*/ 2822167 h 4197882"/>
                <a:gd name="connsiteX1" fmla="*/ 4612897 w 4645089"/>
                <a:gd name="connsiteY1" fmla="*/ 1234927 h 4197882"/>
                <a:gd name="connsiteX2" fmla="*/ 3048962 w 4645089"/>
                <a:gd name="connsiteY2" fmla="*/ 49618 h 4197882"/>
                <a:gd name="connsiteX3" fmla="*/ 1908647 w 4645089"/>
                <a:gd name="connsiteY3" fmla="*/ 774383 h 4197882"/>
                <a:gd name="connsiteX4" fmla="*/ 153130 w 4645089"/>
                <a:gd name="connsiteY4" fmla="*/ 1483410 h 4197882"/>
                <a:gd name="connsiteX5" fmla="*/ 977066 w 4645089"/>
                <a:gd name="connsiteY5" fmla="*/ 3880764 h 4197882"/>
                <a:gd name="connsiteX6" fmla="*/ 4261410 w 4645089"/>
                <a:gd name="connsiteY6" fmla="*/ 2822167 h 419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5089" h="4197882">
                  <a:moveTo>
                    <a:pt x="4261309" y="2822167"/>
                  </a:moveTo>
                  <a:cubicBezTo>
                    <a:pt x="4261309" y="2822167"/>
                    <a:pt x="4776836" y="2242880"/>
                    <a:pt x="4612897" y="1234927"/>
                  </a:cubicBezTo>
                  <a:cubicBezTo>
                    <a:pt x="4449058" y="226874"/>
                    <a:pt x="3607467" y="-144487"/>
                    <a:pt x="3048962" y="49618"/>
                  </a:cubicBezTo>
                  <a:cubicBezTo>
                    <a:pt x="2490457" y="243722"/>
                    <a:pt x="2364854" y="581186"/>
                    <a:pt x="1908647" y="774383"/>
                  </a:cubicBezTo>
                  <a:cubicBezTo>
                    <a:pt x="1452441" y="967579"/>
                    <a:pt x="586435" y="834813"/>
                    <a:pt x="153130" y="1483410"/>
                  </a:cubicBezTo>
                  <a:cubicBezTo>
                    <a:pt x="-280176" y="2132006"/>
                    <a:pt x="272982" y="3206845"/>
                    <a:pt x="977066" y="3880764"/>
                  </a:cubicBezTo>
                  <a:cubicBezTo>
                    <a:pt x="1681149" y="4554683"/>
                    <a:pt x="3478534" y="4132676"/>
                    <a:pt x="4261410" y="2822167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0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" name="Рисунок 1">
            <a:extLst>
              <a:ext uri="{FF2B5EF4-FFF2-40B4-BE49-F238E27FC236}">
                <a16:creationId xmlns:a16="http://schemas.microsoft.com/office/drawing/2014/main" id="{0EB4A8C4-8BAD-433F-A994-3E08666DDA67}"/>
              </a:ext>
            </a:extLst>
          </p:cNvPr>
          <p:cNvGrpSpPr/>
          <p:nvPr/>
        </p:nvGrpSpPr>
        <p:grpSpPr>
          <a:xfrm>
            <a:off x="9132932" y="1676924"/>
            <a:ext cx="2077579" cy="3827532"/>
            <a:chOff x="9132932" y="1676924"/>
            <a:chExt cx="2077579" cy="3827532"/>
          </a:xfrm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185D70A8-F149-4618-94AA-632B8C14B916}"/>
                </a:ext>
              </a:extLst>
            </p:cNvPr>
            <p:cNvSpPr/>
            <p:nvPr/>
          </p:nvSpPr>
          <p:spPr>
            <a:xfrm>
              <a:off x="9352037" y="4832253"/>
              <a:ext cx="1515206" cy="672203"/>
            </a:xfrm>
            <a:custGeom>
              <a:avLst/>
              <a:gdLst>
                <a:gd name="connsiteX0" fmla="*/ 1515207 w 1515206"/>
                <a:gd name="connsiteY0" fmla="*/ 672204 h 672203"/>
                <a:gd name="connsiteX1" fmla="*/ 1456794 w 1515206"/>
                <a:gd name="connsiteY1" fmla="*/ 0 h 672203"/>
                <a:gd name="connsiteX2" fmla="*/ 76169 w 1515206"/>
                <a:gd name="connsiteY2" fmla="*/ 0 h 672203"/>
                <a:gd name="connsiteX3" fmla="*/ 0 w 1515206"/>
                <a:gd name="connsiteY3" fmla="*/ 672204 h 672203"/>
                <a:gd name="connsiteX4" fmla="*/ 1515207 w 1515206"/>
                <a:gd name="connsiteY4" fmla="*/ 672204 h 672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5206" h="672203">
                  <a:moveTo>
                    <a:pt x="1515207" y="672204"/>
                  </a:moveTo>
                  <a:lnTo>
                    <a:pt x="1456794" y="0"/>
                  </a:lnTo>
                  <a:lnTo>
                    <a:pt x="76169" y="0"/>
                  </a:lnTo>
                  <a:lnTo>
                    <a:pt x="0" y="672204"/>
                  </a:lnTo>
                  <a:lnTo>
                    <a:pt x="1515207" y="672204"/>
                  </a:lnTo>
                  <a:close/>
                </a:path>
              </a:pathLst>
            </a:custGeom>
            <a:solidFill>
              <a:srgbClr val="263238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768E78A7-2CFA-4C94-800D-17BFB7A259D1}"/>
                </a:ext>
              </a:extLst>
            </p:cNvPr>
            <p:cNvSpPr/>
            <p:nvPr/>
          </p:nvSpPr>
          <p:spPr>
            <a:xfrm>
              <a:off x="9167137" y="2794742"/>
              <a:ext cx="1921810" cy="2150105"/>
            </a:xfrm>
            <a:custGeom>
              <a:avLst/>
              <a:gdLst>
                <a:gd name="connsiteX0" fmla="*/ 854380 w 1921810"/>
                <a:gd name="connsiteY0" fmla="*/ 119 h 2150105"/>
                <a:gd name="connsiteX1" fmla="*/ 274286 w 1921810"/>
                <a:gd name="connsiteY1" fmla="*/ 244666 h 2150105"/>
                <a:gd name="connsiteX2" fmla="*/ 4113 w 1921810"/>
                <a:gd name="connsiteY2" fmla="*/ 773612 h 2150105"/>
                <a:gd name="connsiteX3" fmla="*/ 217386 w 1921810"/>
                <a:gd name="connsiteY3" fmla="*/ 1740402 h 2150105"/>
                <a:gd name="connsiteX4" fmla="*/ 191761 w 1921810"/>
                <a:gd name="connsiteY4" fmla="*/ 2044675 h 2150105"/>
                <a:gd name="connsiteX5" fmla="*/ 251485 w 1921810"/>
                <a:gd name="connsiteY5" fmla="*/ 2112874 h 2150105"/>
                <a:gd name="connsiteX6" fmla="*/ 1232501 w 1921810"/>
                <a:gd name="connsiteY6" fmla="*/ 2149798 h 2150105"/>
                <a:gd name="connsiteX7" fmla="*/ 1647647 w 1921810"/>
                <a:gd name="connsiteY7" fmla="*/ 2115698 h 2150105"/>
                <a:gd name="connsiteX8" fmla="*/ 1690322 w 1921810"/>
                <a:gd name="connsiteY8" fmla="*/ 2030349 h 2150105"/>
                <a:gd name="connsiteX9" fmla="*/ 1721596 w 1921810"/>
                <a:gd name="connsiteY9" fmla="*/ 1578178 h 2150105"/>
                <a:gd name="connsiteX10" fmla="*/ 1724421 w 1921810"/>
                <a:gd name="connsiteY10" fmla="*/ 1390530 h 2150105"/>
                <a:gd name="connsiteX11" fmla="*/ 1920644 w 1921810"/>
                <a:gd name="connsiteY11" fmla="*/ 577288 h 2150105"/>
                <a:gd name="connsiteX12" fmla="*/ 1775671 w 1921810"/>
                <a:gd name="connsiteY12" fmla="*/ 250316 h 2150105"/>
                <a:gd name="connsiteX13" fmla="*/ 1297976 w 1921810"/>
                <a:gd name="connsiteY13" fmla="*/ 39868 h 2150105"/>
                <a:gd name="connsiteX14" fmla="*/ 854380 w 1921810"/>
                <a:gd name="connsiteY14" fmla="*/ 18 h 2150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21810" h="2150105">
                  <a:moveTo>
                    <a:pt x="854380" y="119"/>
                  </a:moveTo>
                  <a:cubicBezTo>
                    <a:pt x="854380" y="119"/>
                    <a:pt x="450634" y="110992"/>
                    <a:pt x="274286" y="244666"/>
                  </a:cubicBezTo>
                  <a:cubicBezTo>
                    <a:pt x="97937" y="378340"/>
                    <a:pt x="-24337" y="514839"/>
                    <a:pt x="4113" y="773612"/>
                  </a:cubicBezTo>
                  <a:cubicBezTo>
                    <a:pt x="32563" y="1032384"/>
                    <a:pt x="217386" y="1740402"/>
                    <a:pt x="217386" y="1740402"/>
                  </a:cubicBezTo>
                  <a:cubicBezTo>
                    <a:pt x="217386" y="1740402"/>
                    <a:pt x="191761" y="2027625"/>
                    <a:pt x="191761" y="2044675"/>
                  </a:cubicBezTo>
                  <a:cubicBezTo>
                    <a:pt x="191761" y="2061724"/>
                    <a:pt x="188936" y="2110049"/>
                    <a:pt x="251485" y="2112874"/>
                  </a:cubicBezTo>
                  <a:cubicBezTo>
                    <a:pt x="314035" y="2115698"/>
                    <a:pt x="1064727" y="2146973"/>
                    <a:pt x="1232501" y="2149798"/>
                  </a:cubicBezTo>
                  <a:cubicBezTo>
                    <a:pt x="1400274" y="2152623"/>
                    <a:pt x="1622022" y="2135573"/>
                    <a:pt x="1647647" y="2115698"/>
                  </a:cubicBezTo>
                  <a:cubicBezTo>
                    <a:pt x="1673272" y="2095824"/>
                    <a:pt x="1687497" y="2064549"/>
                    <a:pt x="1690322" y="2030349"/>
                  </a:cubicBezTo>
                  <a:cubicBezTo>
                    <a:pt x="1693146" y="1996249"/>
                    <a:pt x="1721596" y="1578178"/>
                    <a:pt x="1721596" y="1578178"/>
                  </a:cubicBezTo>
                  <a:lnTo>
                    <a:pt x="1724421" y="1390530"/>
                  </a:lnTo>
                  <a:cubicBezTo>
                    <a:pt x="1724421" y="1390530"/>
                    <a:pt x="1909244" y="776336"/>
                    <a:pt x="1920644" y="577288"/>
                  </a:cubicBezTo>
                  <a:cubicBezTo>
                    <a:pt x="1932044" y="378240"/>
                    <a:pt x="1858095" y="312865"/>
                    <a:pt x="1775671" y="250316"/>
                  </a:cubicBezTo>
                  <a:cubicBezTo>
                    <a:pt x="1693247" y="187767"/>
                    <a:pt x="1436593" y="81836"/>
                    <a:pt x="1297976" y="39868"/>
                  </a:cubicBezTo>
                  <a:cubicBezTo>
                    <a:pt x="1159258" y="-2101"/>
                    <a:pt x="854380" y="18"/>
                    <a:pt x="854380" y="18"/>
                  </a:cubicBezTo>
                  <a:close/>
                </a:path>
              </a:pathLst>
            </a:custGeom>
            <a:solidFill>
              <a:srgbClr val="006D3F"/>
            </a:solidFill>
            <a:ln w="1008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8605F0D-E9E9-4802-BC77-CE02BAD62905}"/>
                </a:ext>
              </a:extLst>
            </p:cNvPr>
            <p:cNvSpPr/>
            <p:nvPr/>
          </p:nvSpPr>
          <p:spPr>
            <a:xfrm>
              <a:off x="10022526" y="3749141"/>
              <a:ext cx="98565" cy="1076453"/>
            </a:xfrm>
            <a:custGeom>
              <a:avLst/>
              <a:gdLst>
                <a:gd name="connsiteX0" fmla="*/ 98566 w 98565"/>
                <a:gd name="connsiteY0" fmla="*/ 0 h 1076453"/>
                <a:gd name="connsiteX1" fmla="*/ 44793 w 98565"/>
                <a:gd name="connsiteY1" fmla="*/ 874783 h 1076453"/>
                <a:gd name="connsiteX2" fmla="*/ 0 w 98565"/>
                <a:gd name="connsiteY2" fmla="*/ 1076454 h 107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565" h="1076453">
                  <a:moveTo>
                    <a:pt x="98566" y="0"/>
                  </a:moveTo>
                  <a:cubicBezTo>
                    <a:pt x="77985" y="276932"/>
                    <a:pt x="41565" y="787416"/>
                    <a:pt x="44793" y="874783"/>
                  </a:cubicBezTo>
                  <a:cubicBezTo>
                    <a:pt x="49232" y="995846"/>
                    <a:pt x="0" y="1031660"/>
                    <a:pt x="0" y="1076454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C76674E5-79D2-4140-A0D5-45A2F4F12D02}"/>
                </a:ext>
              </a:extLst>
            </p:cNvPr>
            <p:cNvSpPr/>
            <p:nvPr/>
          </p:nvSpPr>
          <p:spPr>
            <a:xfrm>
              <a:off x="10125430" y="3570573"/>
              <a:ext cx="9180" cy="121668"/>
            </a:xfrm>
            <a:custGeom>
              <a:avLst/>
              <a:gdLst>
                <a:gd name="connsiteX0" fmla="*/ 9181 w 9180"/>
                <a:gd name="connsiteY0" fmla="*/ 0 h 121668"/>
                <a:gd name="connsiteX1" fmla="*/ 0 w 9180"/>
                <a:gd name="connsiteY1" fmla="*/ 121669 h 121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80" h="121668">
                  <a:moveTo>
                    <a:pt x="9181" y="0"/>
                  </a:moveTo>
                  <a:cubicBezTo>
                    <a:pt x="9181" y="0"/>
                    <a:pt x="5549" y="47215"/>
                    <a:pt x="0" y="121669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E710A090-9069-4FA7-8D28-708455E8D211}"/>
                </a:ext>
              </a:extLst>
            </p:cNvPr>
            <p:cNvSpPr/>
            <p:nvPr/>
          </p:nvSpPr>
          <p:spPr>
            <a:xfrm>
              <a:off x="10314792" y="3926297"/>
              <a:ext cx="170396" cy="304675"/>
            </a:xfrm>
            <a:custGeom>
              <a:avLst/>
              <a:gdLst>
                <a:gd name="connsiteX0" fmla="*/ 0 w 170396"/>
                <a:gd name="connsiteY0" fmla="*/ 0 h 304675"/>
                <a:gd name="connsiteX1" fmla="*/ 25827 w 170396"/>
                <a:gd name="connsiteY1" fmla="*/ 304676 h 304675"/>
                <a:gd name="connsiteX2" fmla="*/ 170397 w 170396"/>
                <a:gd name="connsiteY2" fmla="*/ 294386 h 304675"/>
                <a:gd name="connsiteX3" fmla="*/ 0 w 170396"/>
                <a:gd name="connsiteY3" fmla="*/ 0 h 30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396" h="304675">
                  <a:moveTo>
                    <a:pt x="0" y="0"/>
                  </a:moveTo>
                  <a:lnTo>
                    <a:pt x="25827" y="304676"/>
                  </a:lnTo>
                  <a:lnTo>
                    <a:pt x="170397" y="2943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BCF098C9-F84D-4ACE-92E2-E3B61CC6C06A}"/>
                </a:ext>
              </a:extLst>
            </p:cNvPr>
            <p:cNvSpPr/>
            <p:nvPr/>
          </p:nvSpPr>
          <p:spPr>
            <a:xfrm>
              <a:off x="10177789" y="4319695"/>
              <a:ext cx="702570" cy="238249"/>
            </a:xfrm>
            <a:custGeom>
              <a:avLst/>
              <a:gdLst>
                <a:gd name="connsiteX0" fmla="*/ 0 w 702570"/>
                <a:gd name="connsiteY0" fmla="*/ 137867 h 238249"/>
                <a:gd name="connsiteX1" fmla="*/ 379634 w 702570"/>
                <a:gd name="connsiteY1" fmla="*/ 88232 h 238249"/>
                <a:gd name="connsiteX2" fmla="*/ 613286 w 702570"/>
                <a:gd name="connsiteY2" fmla="*/ 187503 h 238249"/>
                <a:gd name="connsiteX3" fmla="*/ 662922 w 702570"/>
                <a:gd name="connsiteY3" fmla="*/ 205057 h 238249"/>
                <a:gd name="connsiteX4" fmla="*/ 702570 w 702570"/>
                <a:gd name="connsiteY4" fmla="*/ 238249 h 238249"/>
                <a:gd name="connsiteX5" fmla="*/ 689253 w 702570"/>
                <a:gd name="connsiteY5" fmla="*/ 137968 h 238249"/>
                <a:gd name="connsiteX6" fmla="*/ 519866 w 702570"/>
                <a:gd name="connsiteY6" fmla="*/ 26994 h 238249"/>
                <a:gd name="connsiteX7" fmla="*/ 318396 w 702570"/>
                <a:gd name="connsiteY7" fmla="*/ 15291 h 238249"/>
                <a:gd name="connsiteX8" fmla="*/ 101 w 702570"/>
                <a:gd name="connsiteY8" fmla="*/ 137968 h 23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2570" h="238249">
                  <a:moveTo>
                    <a:pt x="0" y="137867"/>
                  </a:moveTo>
                  <a:cubicBezTo>
                    <a:pt x="0" y="137867"/>
                    <a:pt x="353303" y="82380"/>
                    <a:pt x="379634" y="88232"/>
                  </a:cubicBezTo>
                  <a:cubicBezTo>
                    <a:pt x="405965" y="94083"/>
                    <a:pt x="586955" y="181652"/>
                    <a:pt x="613286" y="187503"/>
                  </a:cubicBezTo>
                  <a:cubicBezTo>
                    <a:pt x="639617" y="193355"/>
                    <a:pt x="662922" y="205057"/>
                    <a:pt x="662922" y="205057"/>
                  </a:cubicBezTo>
                  <a:lnTo>
                    <a:pt x="702570" y="238249"/>
                  </a:lnTo>
                  <a:lnTo>
                    <a:pt x="689253" y="137968"/>
                  </a:lnTo>
                  <a:cubicBezTo>
                    <a:pt x="689253" y="137968"/>
                    <a:pt x="636691" y="73704"/>
                    <a:pt x="519866" y="26994"/>
                  </a:cubicBezTo>
                  <a:cubicBezTo>
                    <a:pt x="403039" y="-19717"/>
                    <a:pt x="344626" y="6514"/>
                    <a:pt x="318396" y="15291"/>
                  </a:cubicBezTo>
                  <a:cubicBezTo>
                    <a:pt x="292065" y="24068"/>
                    <a:pt x="101" y="137968"/>
                    <a:pt x="101" y="137968"/>
                  </a:cubicBezTo>
                  <a:close/>
                </a:path>
              </a:pathLst>
            </a:custGeom>
            <a:solidFill>
              <a:srgbClr val="263238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1E152379-A5FD-4C71-B078-CF38730C369E}"/>
                </a:ext>
              </a:extLst>
            </p:cNvPr>
            <p:cNvSpPr/>
            <p:nvPr/>
          </p:nvSpPr>
          <p:spPr>
            <a:xfrm>
              <a:off x="9222500" y="4156743"/>
              <a:ext cx="1786641" cy="460268"/>
            </a:xfrm>
            <a:custGeom>
              <a:avLst/>
              <a:gdLst>
                <a:gd name="connsiteX0" fmla="*/ 412321 w 1786641"/>
                <a:gd name="connsiteY0" fmla="*/ 34279 h 460268"/>
                <a:gd name="connsiteX1" fmla="*/ 1330788 w 1786641"/>
                <a:gd name="connsiteY1" fmla="*/ 31454 h 460268"/>
                <a:gd name="connsiteX2" fmla="*/ 1637884 w 1786641"/>
                <a:gd name="connsiteY2" fmla="*/ 180 h 460268"/>
                <a:gd name="connsiteX3" fmla="*/ 1777208 w 1786641"/>
                <a:gd name="connsiteY3" fmla="*/ 37104 h 460268"/>
                <a:gd name="connsiteX4" fmla="*/ 1782858 w 1786641"/>
                <a:gd name="connsiteY4" fmla="*/ 96828 h 460268"/>
                <a:gd name="connsiteX5" fmla="*/ 1777208 w 1786641"/>
                <a:gd name="connsiteY5" fmla="*/ 122454 h 460268"/>
                <a:gd name="connsiteX6" fmla="*/ 1785783 w 1786641"/>
                <a:gd name="connsiteY6" fmla="*/ 187828 h 460268"/>
                <a:gd name="connsiteX7" fmla="*/ 1760158 w 1786641"/>
                <a:gd name="connsiteY7" fmla="*/ 221927 h 460268"/>
                <a:gd name="connsiteX8" fmla="*/ 1754509 w 1786641"/>
                <a:gd name="connsiteY8" fmla="*/ 281652 h 460268"/>
                <a:gd name="connsiteX9" fmla="*/ 1731809 w 1786641"/>
                <a:gd name="connsiteY9" fmla="*/ 301526 h 460268"/>
                <a:gd name="connsiteX10" fmla="*/ 1717585 w 1786641"/>
                <a:gd name="connsiteY10" fmla="*/ 369725 h 460268"/>
                <a:gd name="connsiteX11" fmla="*/ 1657860 w 1786641"/>
                <a:gd name="connsiteY11" fmla="*/ 401000 h 460268"/>
                <a:gd name="connsiteX12" fmla="*/ 1649284 w 1786641"/>
                <a:gd name="connsiteY12" fmla="*/ 355500 h 460268"/>
                <a:gd name="connsiteX13" fmla="*/ 1626585 w 1786641"/>
                <a:gd name="connsiteY13" fmla="*/ 327050 h 460268"/>
                <a:gd name="connsiteX14" fmla="*/ 1518536 w 1786641"/>
                <a:gd name="connsiteY14" fmla="*/ 318475 h 460268"/>
                <a:gd name="connsiteX15" fmla="*/ 1325138 w 1786641"/>
                <a:gd name="connsiteY15" fmla="*/ 216076 h 460268"/>
                <a:gd name="connsiteX16" fmla="*/ 318497 w 1786641"/>
                <a:gd name="connsiteY16" fmla="*/ 449224 h 460268"/>
                <a:gd name="connsiteX17" fmla="*/ 62549 w 1786641"/>
                <a:gd name="connsiteY17" fmla="*/ 409373 h 460268"/>
                <a:gd name="connsiteX18" fmla="*/ 39850 w 1786641"/>
                <a:gd name="connsiteY18" fmla="*/ 284275 h 460268"/>
                <a:gd name="connsiteX19" fmla="*/ 0 w 1786641"/>
                <a:gd name="connsiteY19" fmla="*/ 110852 h 460268"/>
                <a:gd name="connsiteX20" fmla="*/ 412321 w 1786641"/>
                <a:gd name="connsiteY20" fmla="*/ 34077 h 46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86641" h="460268">
                  <a:moveTo>
                    <a:pt x="412321" y="34279"/>
                  </a:moveTo>
                  <a:lnTo>
                    <a:pt x="1330788" y="31454"/>
                  </a:lnTo>
                  <a:cubicBezTo>
                    <a:pt x="1330788" y="31454"/>
                    <a:pt x="1626484" y="3005"/>
                    <a:pt x="1637884" y="180"/>
                  </a:cubicBezTo>
                  <a:cubicBezTo>
                    <a:pt x="1649284" y="-2645"/>
                    <a:pt x="1765808" y="28630"/>
                    <a:pt x="1777208" y="37104"/>
                  </a:cubicBezTo>
                  <a:cubicBezTo>
                    <a:pt x="1788608" y="45679"/>
                    <a:pt x="1788608" y="71204"/>
                    <a:pt x="1782858" y="96828"/>
                  </a:cubicBezTo>
                  <a:lnTo>
                    <a:pt x="1777208" y="122454"/>
                  </a:lnTo>
                  <a:cubicBezTo>
                    <a:pt x="1777208" y="122454"/>
                    <a:pt x="1785783" y="167953"/>
                    <a:pt x="1785783" y="187828"/>
                  </a:cubicBezTo>
                  <a:cubicBezTo>
                    <a:pt x="1785783" y="207702"/>
                    <a:pt x="1763084" y="213453"/>
                    <a:pt x="1760158" y="221927"/>
                  </a:cubicBezTo>
                  <a:cubicBezTo>
                    <a:pt x="1757334" y="230502"/>
                    <a:pt x="1777208" y="261777"/>
                    <a:pt x="1754509" y="281652"/>
                  </a:cubicBezTo>
                  <a:lnTo>
                    <a:pt x="1731809" y="301526"/>
                  </a:lnTo>
                  <a:cubicBezTo>
                    <a:pt x="1731809" y="301526"/>
                    <a:pt x="1728985" y="355601"/>
                    <a:pt x="1717585" y="369725"/>
                  </a:cubicBezTo>
                  <a:cubicBezTo>
                    <a:pt x="1706184" y="383849"/>
                    <a:pt x="1672085" y="409575"/>
                    <a:pt x="1657860" y="401000"/>
                  </a:cubicBezTo>
                  <a:cubicBezTo>
                    <a:pt x="1643635" y="392425"/>
                    <a:pt x="1649284" y="369725"/>
                    <a:pt x="1649284" y="355500"/>
                  </a:cubicBezTo>
                  <a:cubicBezTo>
                    <a:pt x="1649284" y="341275"/>
                    <a:pt x="1643635" y="327050"/>
                    <a:pt x="1626585" y="327050"/>
                  </a:cubicBezTo>
                  <a:cubicBezTo>
                    <a:pt x="1609535" y="327050"/>
                    <a:pt x="1606711" y="341275"/>
                    <a:pt x="1518536" y="318475"/>
                  </a:cubicBezTo>
                  <a:cubicBezTo>
                    <a:pt x="1430362" y="295776"/>
                    <a:pt x="1333713" y="218901"/>
                    <a:pt x="1325138" y="216076"/>
                  </a:cubicBezTo>
                  <a:cubicBezTo>
                    <a:pt x="1316563" y="213251"/>
                    <a:pt x="545995" y="420774"/>
                    <a:pt x="318497" y="449224"/>
                  </a:cubicBezTo>
                  <a:cubicBezTo>
                    <a:pt x="90999" y="477673"/>
                    <a:pt x="71125" y="446399"/>
                    <a:pt x="62549" y="409373"/>
                  </a:cubicBezTo>
                  <a:cubicBezTo>
                    <a:pt x="53974" y="372449"/>
                    <a:pt x="39850" y="284275"/>
                    <a:pt x="39850" y="284275"/>
                  </a:cubicBezTo>
                  <a:lnTo>
                    <a:pt x="0" y="110852"/>
                  </a:lnTo>
                  <a:lnTo>
                    <a:pt x="412321" y="34077"/>
                  </a:lnTo>
                  <a:close/>
                </a:path>
              </a:pathLst>
            </a:custGeom>
            <a:solidFill>
              <a:srgbClr val="FFFFFF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DB04672E-51BF-45C7-96E8-498D449A1AC7}"/>
                </a:ext>
              </a:extLst>
            </p:cNvPr>
            <p:cNvSpPr/>
            <p:nvPr/>
          </p:nvSpPr>
          <p:spPr>
            <a:xfrm>
              <a:off x="9910398" y="2741441"/>
              <a:ext cx="605964" cy="492156"/>
            </a:xfrm>
            <a:custGeom>
              <a:avLst/>
              <a:gdLst>
                <a:gd name="connsiteX0" fmla="*/ 321365 w 605964"/>
                <a:gd name="connsiteY0" fmla="*/ 386645 h 492156"/>
                <a:gd name="connsiteX1" fmla="*/ 398744 w 605964"/>
                <a:gd name="connsiteY1" fmla="*/ 359204 h 492156"/>
                <a:gd name="connsiteX2" fmla="*/ 493577 w 605964"/>
                <a:gd name="connsiteY2" fmla="*/ 491567 h 492156"/>
                <a:gd name="connsiteX3" fmla="*/ 605964 w 605964"/>
                <a:gd name="connsiteY3" fmla="*/ 157029 h 492156"/>
                <a:gd name="connsiteX4" fmla="*/ 526063 w 605964"/>
                <a:gd name="connsiteY4" fmla="*/ 4691 h 492156"/>
                <a:gd name="connsiteX5" fmla="*/ 84182 w 605964"/>
                <a:gd name="connsiteY5" fmla="*/ 12157 h 492156"/>
                <a:gd name="connsiteX6" fmla="*/ 4280 w 605964"/>
                <a:gd name="connsiteY6" fmla="*/ 281825 h 492156"/>
                <a:gd name="connsiteX7" fmla="*/ 51697 w 605964"/>
                <a:gd name="connsiteY7" fmla="*/ 386645 h 492156"/>
                <a:gd name="connsiteX8" fmla="*/ 196468 w 605964"/>
                <a:gd name="connsiteY8" fmla="*/ 334185 h 492156"/>
                <a:gd name="connsiteX9" fmla="*/ 321264 w 605964"/>
                <a:gd name="connsiteY9" fmla="*/ 386645 h 492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5964" h="492156">
                  <a:moveTo>
                    <a:pt x="321365" y="386645"/>
                  </a:moveTo>
                  <a:cubicBezTo>
                    <a:pt x="321365" y="386645"/>
                    <a:pt x="368781" y="336707"/>
                    <a:pt x="398744" y="359204"/>
                  </a:cubicBezTo>
                  <a:cubicBezTo>
                    <a:pt x="428708" y="381702"/>
                    <a:pt x="456149" y="501555"/>
                    <a:pt x="493577" y="491567"/>
                  </a:cubicBezTo>
                  <a:cubicBezTo>
                    <a:pt x="531006" y="481579"/>
                    <a:pt x="605964" y="249440"/>
                    <a:pt x="605964" y="157029"/>
                  </a:cubicBezTo>
                  <a:cubicBezTo>
                    <a:pt x="605964" y="64617"/>
                    <a:pt x="541094" y="9735"/>
                    <a:pt x="526063" y="4691"/>
                  </a:cubicBezTo>
                  <a:cubicBezTo>
                    <a:pt x="511131" y="-252"/>
                    <a:pt x="129076" y="-5297"/>
                    <a:pt x="84182" y="12157"/>
                  </a:cubicBezTo>
                  <a:cubicBezTo>
                    <a:pt x="39288" y="29610"/>
                    <a:pt x="21733" y="186891"/>
                    <a:pt x="4280" y="281825"/>
                  </a:cubicBezTo>
                  <a:cubicBezTo>
                    <a:pt x="-13173" y="376658"/>
                    <a:pt x="26778" y="399155"/>
                    <a:pt x="51697" y="386645"/>
                  </a:cubicBezTo>
                  <a:cubicBezTo>
                    <a:pt x="76615" y="374136"/>
                    <a:pt x="174071" y="334185"/>
                    <a:pt x="196468" y="334185"/>
                  </a:cubicBezTo>
                  <a:cubicBezTo>
                    <a:pt x="218865" y="334185"/>
                    <a:pt x="321264" y="386645"/>
                    <a:pt x="321264" y="386645"/>
                  </a:cubicBezTo>
                  <a:close/>
                </a:path>
              </a:pathLst>
            </a:custGeom>
            <a:solidFill>
              <a:srgbClr val="006D3F"/>
            </a:solidFill>
            <a:ln w="1008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ACAEC745-6266-46A9-B3A4-3BE483DB6AB2}"/>
                </a:ext>
              </a:extLst>
            </p:cNvPr>
            <p:cNvSpPr/>
            <p:nvPr/>
          </p:nvSpPr>
          <p:spPr>
            <a:xfrm>
              <a:off x="9978540" y="2601764"/>
              <a:ext cx="508969" cy="594481"/>
            </a:xfrm>
            <a:custGeom>
              <a:avLst/>
              <a:gdLst>
                <a:gd name="connsiteX0" fmla="*/ 508970 w 508969"/>
                <a:gd name="connsiteY0" fmla="*/ 101 h 594481"/>
                <a:gd name="connsiteX1" fmla="*/ 459233 w 508969"/>
                <a:gd name="connsiteY1" fmla="*/ 220739 h 594481"/>
                <a:gd name="connsiteX2" fmla="*/ 318094 w 508969"/>
                <a:gd name="connsiteY2" fmla="*/ 425436 h 594481"/>
                <a:gd name="connsiteX3" fmla="*/ 196828 w 508969"/>
                <a:gd name="connsiteY3" fmla="*/ 594421 h 594481"/>
                <a:gd name="connsiteX4" fmla="*/ 121265 w 508969"/>
                <a:gd name="connsiteY4" fmla="*/ 411514 h 594481"/>
                <a:gd name="connsiteX5" fmla="*/ 35814 w 508969"/>
                <a:gd name="connsiteY5" fmla="*/ 256452 h 594481"/>
                <a:gd name="connsiteX6" fmla="*/ 0 w 508969"/>
                <a:gd name="connsiteY6" fmla="*/ 131253 h 594481"/>
                <a:gd name="connsiteX7" fmla="*/ 242530 w 508969"/>
                <a:gd name="connsiteY7" fmla="*/ 210751 h 594481"/>
                <a:gd name="connsiteX8" fmla="*/ 431388 w 508969"/>
                <a:gd name="connsiteY8" fmla="*/ 63659 h 594481"/>
                <a:gd name="connsiteX9" fmla="*/ 508869 w 508969"/>
                <a:gd name="connsiteY9" fmla="*/ 0 h 59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8969" h="594481">
                  <a:moveTo>
                    <a:pt x="508970" y="101"/>
                  </a:moveTo>
                  <a:cubicBezTo>
                    <a:pt x="508970" y="101"/>
                    <a:pt x="473155" y="177055"/>
                    <a:pt x="459233" y="220739"/>
                  </a:cubicBezTo>
                  <a:cubicBezTo>
                    <a:pt x="445311" y="264422"/>
                    <a:pt x="343920" y="397693"/>
                    <a:pt x="318094" y="425436"/>
                  </a:cubicBezTo>
                  <a:cubicBezTo>
                    <a:pt x="292267" y="453180"/>
                    <a:pt x="216703" y="590385"/>
                    <a:pt x="196828" y="594421"/>
                  </a:cubicBezTo>
                  <a:cubicBezTo>
                    <a:pt x="176954" y="598355"/>
                    <a:pt x="121265" y="411514"/>
                    <a:pt x="121265" y="411514"/>
                  </a:cubicBezTo>
                  <a:cubicBezTo>
                    <a:pt x="121265" y="411514"/>
                    <a:pt x="49737" y="288231"/>
                    <a:pt x="35814" y="256452"/>
                  </a:cubicBezTo>
                  <a:cubicBezTo>
                    <a:pt x="21892" y="224673"/>
                    <a:pt x="0" y="131253"/>
                    <a:pt x="0" y="131253"/>
                  </a:cubicBezTo>
                  <a:cubicBezTo>
                    <a:pt x="0" y="131253"/>
                    <a:pt x="117330" y="232643"/>
                    <a:pt x="242530" y="210751"/>
                  </a:cubicBezTo>
                  <a:cubicBezTo>
                    <a:pt x="367729" y="188859"/>
                    <a:pt x="431388" y="63659"/>
                    <a:pt x="431388" y="63659"/>
                  </a:cubicBezTo>
                  <a:lnTo>
                    <a:pt x="508869" y="0"/>
                  </a:lnTo>
                  <a:close/>
                </a:path>
              </a:pathLst>
            </a:custGeom>
            <a:solidFill>
              <a:srgbClr val="FFFFFF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8" name="Рисунок 1">
              <a:extLst>
                <a:ext uri="{FF2B5EF4-FFF2-40B4-BE49-F238E27FC236}">
                  <a16:creationId xmlns:a16="http://schemas.microsoft.com/office/drawing/2014/main" id="{0EB4A8C4-8BAD-433F-A994-3E08666DDA67}"/>
                </a:ext>
              </a:extLst>
            </p:cNvPr>
            <p:cNvGrpSpPr/>
            <p:nvPr/>
          </p:nvGrpSpPr>
          <p:grpSpPr>
            <a:xfrm>
              <a:off x="9883884" y="1676924"/>
              <a:ext cx="942506" cy="1169740"/>
              <a:chOff x="9883884" y="1676924"/>
              <a:chExt cx="942506" cy="1169740"/>
            </a:xfrm>
          </p:grpSpPr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F517B405-E0E8-4972-BD7E-40920C77CF3D}"/>
                  </a:ext>
                </a:extLst>
              </p:cNvPr>
              <p:cNvSpPr/>
              <p:nvPr/>
            </p:nvSpPr>
            <p:spPr>
              <a:xfrm>
                <a:off x="9941571" y="2237279"/>
                <a:ext cx="60475" cy="191768"/>
              </a:xfrm>
              <a:custGeom>
                <a:avLst/>
                <a:gdLst>
                  <a:gd name="connsiteX0" fmla="*/ 60475 w 60475"/>
                  <a:gd name="connsiteY0" fmla="*/ 11990 h 191768"/>
                  <a:gd name="connsiteX1" fmla="*/ 5593 w 60475"/>
                  <a:gd name="connsiteY1" fmla="*/ 31965 h 191768"/>
                  <a:gd name="connsiteX2" fmla="*/ 25569 w 60475"/>
                  <a:gd name="connsiteY2" fmla="*/ 191769 h 191768"/>
                  <a:gd name="connsiteX3" fmla="*/ 60475 w 60475"/>
                  <a:gd name="connsiteY3" fmla="*/ 11990 h 191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475" h="191768">
                    <a:moveTo>
                      <a:pt x="60475" y="11990"/>
                    </a:moveTo>
                    <a:cubicBezTo>
                      <a:pt x="60475" y="11990"/>
                      <a:pt x="25569" y="-25439"/>
                      <a:pt x="5593" y="31965"/>
                    </a:cubicBezTo>
                    <a:cubicBezTo>
                      <a:pt x="-14382" y="89369"/>
                      <a:pt x="25569" y="191769"/>
                      <a:pt x="25569" y="191769"/>
                    </a:cubicBezTo>
                    <a:lnTo>
                      <a:pt x="60475" y="11990"/>
                    </a:lnTo>
                    <a:close/>
                  </a:path>
                </a:pathLst>
              </a:custGeom>
              <a:solidFill>
                <a:srgbClr val="FFFFFF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285EF2EC-9F81-426A-8CA4-6B2C9877EB42}"/>
                  </a:ext>
                </a:extLst>
              </p:cNvPr>
              <p:cNvSpPr/>
              <p:nvPr/>
            </p:nvSpPr>
            <p:spPr>
              <a:xfrm>
                <a:off x="9945591" y="1906055"/>
                <a:ext cx="774460" cy="940609"/>
              </a:xfrm>
              <a:custGeom>
                <a:avLst/>
                <a:gdLst>
                  <a:gd name="connsiteX0" fmla="*/ 62811 w 774460"/>
                  <a:gd name="connsiteY0" fmla="*/ 226691 h 940609"/>
                  <a:gd name="connsiteX1" fmla="*/ 5205 w 774460"/>
                  <a:gd name="connsiteY1" fmla="*/ 659996 h 940609"/>
                  <a:gd name="connsiteX2" fmla="*/ 13175 w 774460"/>
                  <a:gd name="connsiteY2" fmla="*/ 815058 h 940609"/>
                  <a:gd name="connsiteX3" fmla="*/ 166219 w 774460"/>
                  <a:gd name="connsiteY3" fmla="*/ 938341 h 940609"/>
                  <a:gd name="connsiteX4" fmla="*/ 400779 w 774460"/>
                  <a:gd name="connsiteY4" fmla="*/ 884669 h 940609"/>
                  <a:gd name="connsiteX5" fmla="*/ 537984 w 774460"/>
                  <a:gd name="connsiteY5" fmla="*/ 727590 h 940609"/>
                  <a:gd name="connsiteX6" fmla="*/ 669136 w 774460"/>
                  <a:gd name="connsiteY6" fmla="*/ 693793 h 940609"/>
                  <a:gd name="connsiteX7" fmla="*/ 758622 w 774460"/>
                  <a:gd name="connsiteY7" fmla="*/ 570510 h 940609"/>
                  <a:gd name="connsiteX8" fmla="*/ 724825 w 774460"/>
                  <a:gd name="connsiteY8" fmla="*/ 479108 h 940609"/>
                  <a:gd name="connsiteX9" fmla="*/ 694963 w 774460"/>
                  <a:gd name="connsiteY9" fmla="*/ 423419 h 940609"/>
                  <a:gd name="connsiteX10" fmla="*/ 774461 w 774460"/>
                  <a:gd name="connsiteY10" fmla="*/ 274309 h 940609"/>
                  <a:gd name="connsiteX11" fmla="*/ 581668 w 774460"/>
                  <a:gd name="connsiteY11" fmla="*/ 107343 h 940609"/>
                  <a:gd name="connsiteX12" fmla="*/ 241783 w 774460"/>
                  <a:gd name="connsiteY12" fmla="*/ 0 h 940609"/>
                  <a:gd name="connsiteX13" fmla="*/ 80769 w 774460"/>
                  <a:gd name="connsiteY13" fmla="*/ 75564 h 940609"/>
                  <a:gd name="connsiteX14" fmla="*/ 62912 w 774460"/>
                  <a:gd name="connsiteY14" fmla="*/ 226590 h 94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74460" h="940609">
                    <a:moveTo>
                      <a:pt x="62811" y="226691"/>
                    </a:moveTo>
                    <a:cubicBezTo>
                      <a:pt x="62811" y="226691"/>
                      <a:pt x="5205" y="636187"/>
                      <a:pt x="5205" y="659996"/>
                    </a:cubicBezTo>
                    <a:cubicBezTo>
                      <a:pt x="5205" y="683805"/>
                      <a:pt x="-10735" y="763404"/>
                      <a:pt x="13175" y="815058"/>
                    </a:cubicBezTo>
                    <a:cubicBezTo>
                      <a:pt x="36984" y="866712"/>
                      <a:pt x="108613" y="930371"/>
                      <a:pt x="166219" y="938341"/>
                    </a:cubicBezTo>
                    <a:cubicBezTo>
                      <a:pt x="223825" y="946311"/>
                      <a:pt x="337221" y="934406"/>
                      <a:pt x="400779" y="884669"/>
                    </a:cubicBezTo>
                    <a:cubicBezTo>
                      <a:pt x="464438" y="834933"/>
                      <a:pt x="537984" y="727590"/>
                      <a:pt x="537984" y="727590"/>
                    </a:cubicBezTo>
                    <a:cubicBezTo>
                      <a:pt x="537984" y="727590"/>
                      <a:pt x="617482" y="715685"/>
                      <a:pt x="669136" y="693793"/>
                    </a:cubicBezTo>
                    <a:cubicBezTo>
                      <a:pt x="720789" y="671901"/>
                      <a:pt x="760539" y="622265"/>
                      <a:pt x="758622" y="570510"/>
                    </a:cubicBezTo>
                    <a:cubicBezTo>
                      <a:pt x="756604" y="518857"/>
                      <a:pt x="724825" y="479108"/>
                      <a:pt x="724825" y="479108"/>
                    </a:cubicBezTo>
                    <a:lnTo>
                      <a:pt x="694963" y="423419"/>
                    </a:lnTo>
                    <a:lnTo>
                      <a:pt x="774461" y="274309"/>
                    </a:lnTo>
                    <a:cubicBezTo>
                      <a:pt x="774461" y="274309"/>
                      <a:pt x="728760" y="188859"/>
                      <a:pt x="581668" y="107343"/>
                    </a:cubicBezTo>
                    <a:cubicBezTo>
                      <a:pt x="434576" y="25827"/>
                      <a:pt x="303323" y="0"/>
                      <a:pt x="241783" y="0"/>
                    </a:cubicBezTo>
                    <a:cubicBezTo>
                      <a:pt x="180242" y="0"/>
                      <a:pt x="102661" y="25827"/>
                      <a:pt x="80769" y="75564"/>
                    </a:cubicBezTo>
                    <a:cubicBezTo>
                      <a:pt x="58876" y="125300"/>
                      <a:pt x="62912" y="226590"/>
                      <a:pt x="62912" y="2265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1B62132D-4CE5-4A99-BBCE-13832A7970E4}"/>
                  </a:ext>
                </a:extLst>
              </p:cNvPr>
              <p:cNvSpPr/>
              <p:nvPr/>
            </p:nvSpPr>
            <p:spPr>
              <a:xfrm>
                <a:off x="9883884" y="1676924"/>
                <a:ext cx="942506" cy="813033"/>
              </a:xfrm>
              <a:custGeom>
                <a:avLst/>
                <a:gdLst>
                  <a:gd name="connsiteX0" fmla="*/ 313377 w 942506"/>
                  <a:gd name="connsiteY0" fmla="*/ 255058 h 813033"/>
                  <a:gd name="connsiteX1" fmla="*/ 512122 w 942506"/>
                  <a:gd name="connsiteY1" fmla="*/ 433929 h 813033"/>
                  <a:gd name="connsiteX2" fmla="*/ 623399 w 942506"/>
                  <a:gd name="connsiteY2" fmla="*/ 386210 h 813033"/>
                  <a:gd name="connsiteX3" fmla="*/ 681005 w 942506"/>
                  <a:gd name="connsiteY3" fmla="*/ 463691 h 813033"/>
                  <a:gd name="connsiteX4" fmla="*/ 631268 w 942506"/>
                  <a:gd name="connsiteY4" fmla="*/ 521296 h 813033"/>
                  <a:gd name="connsiteX5" fmla="*/ 696844 w 942506"/>
                  <a:gd name="connsiteY5" fmla="*/ 624705 h 813033"/>
                  <a:gd name="connsiteX6" fmla="*/ 653161 w 942506"/>
                  <a:gd name="connsiteY6" fmla="*/ 811545 h 813033"/>
                  <a:gd name="connsiteX7" fmla="*/ 692910 w 942506"/>
                  <a:gd name="connsiteY7" fmla="*/ 805593 h 813033"/>
                  <a:gd name="connsiteX8" fmla="*/ 728724 w 942506"/>
                  <a:gd name="connsiteY8" fmla="*/ 720143 h 813033"/>
                  <a:gd name="connsiteX9" fmla="*/ 754551 w 942506"/>
                  <a:gd name="connsiteY9" fmla="*/ 708238 h 813033"/>
                  <a:gd name="connsiteX10" fmla="*/ 786330 w 942506"/>
                  <a:gd name="connsiteY10" fmla="*/ 708238 h 813033"/>
                  <a:gd name="connsiteX11" fmla="*/ 816192 w 942506"/>
                  <a:gd name="connsiteY11" fmla="*/ 632675 h 813033"/>
                  <a:gd name="connsiteX12" fmla="*/ 933523 w 942506"/>
                  <a:gd name="connsiteY12" fmla="*/ 531284 h 813033"/>
                  <a:gd name="connsiteX13" fmla="*/ 814276 w 942506"/>
                  <a:gd name="connsiteY13" fmla="*/ 233065 h 813033"/>
                  <a:gd name="connsiteX14" fmla="*/ 480343 w 942506"/>
                  <a:gd name="connsiteY14" fmla="*/ 91926 h 813033"/>
                  <a:gd name="connsiteX15" fmla="*/ 522110 w 942506"/>
                  <a:gd name="connsiteY15" fmla="*/ 60146 h 813033"/>
                  <a:gd name="connsiteX16" fmla="*/ 309442 w 942506"/>
                  <a:gd name="connsiteY16" fmla="*/ 24332 h 813033"/>
                  <a:gd name="connsiteX17" fmla="*/ 225908 w 942506"/>
                  <a:gd name="connsiteY17" fmla="*/ 161537 h 813033"/>
                  <a:gd name="connsiteX18" fmla="*/ 237813 w 942506"/>
                  <a:gd name="connsiteY18" fmla="*/ 181411 h 813033"/>
                  <a:gd name="connsiteX19" fmla="*/ 78817 w 942506"/>
                  <a:gd name="connsiteY19" fmla="*/ 189381 h 813033"/>
                  <a:gd name="connsiteX20" fmla="*/ 11223 w 942506"/>
                  <a:gd name="connsiteY20" fmla="*/ 316599 h 813033"/>
                  <a:gd name="connsiteX21" fmla="*/ 78817 w 942506"/>
                  <a:gd name="connsiteY21" fmla="*/ 306611 h 813033"/>
                  <a:gd name="connsiteX22" fmla="*/ 50972 w 942506"/>
                  <a:gd name="connsiteY22" fmla="*/ 386109 h 813033"/>
                  <a:gd name="connsiteX23" fmla="*/ 124518 w 942506"/>
                  <a:gd name="connsiteY23" fmla="*/ 455721 h 813033"/>
                  <a:gd name="connsiteX24" fmla="*/ 198064 w 942506"/>
                  <a:gd name="connsiteY24" fmla="*/ 296724 h 813033"/>
                  <a:gd name="connsiteX25" fmla="*/ 313377 w 942506"/>
                  <a:gd name="connsiteY25" fmla="*/ 254957 h 813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42506" h="813033">
                    <a:moveTo>
                      <a:pt x="313377" y="255058"/>
                    </a:moveTo>
                    <a:cubicBezTo>
                      <a:pt x="313377" y="255058"/>
                      <a:pt x="426671" y="441899"/>
                      <a:pt x="512122" y="433929"/>
                    </a:cubicBezTo>
                    <a:cubicBezTo>
                      <a:pt x="597572" y="425959"/>
                      <a:pt x="623399" y="386210"/>
                      <a:pt x="623399" y="386210"/>
                    </a:cubicBezTo>
                    <a:lnTo>
                      <a:pt x="681005" y="463691"/>
                    </a:lnTo>
                    <a:cubicBezTo>
                      <a:pt x="681005" y="463691"/>
                      <a:pt x="619364" y="489517"/>
                      <a:pt x="631268" y="521296"/>
                    </a:cubicBezTo>
                    <a:cubicBezTo>
                      <a:pt x="643173" y="553076"/>
                      <a:pt x="696844" y="624705"/>
                      <a:pt x="696844" y="624705"/>
                    </a:cubicBezTo>
                    <a:lnTo>
                      <a:pt x="653161" y="811545"/>
                    </a:lnTo>
                    <a:cubicBezTo>
                      <a:pt x="653161" y="811545"/>
                      <a:pt x="686957" y="817498"/>
                      <a:pt x="692910" y="805593"/>
                    </a:cubicBezTo>
                    <a:cubicBezTo>
                      <a:pt x="698862" y="793689"/>
                      <a:pt x="728724" y="720143"/>
                      <a:pt x="728724" y="720143"/>
                    </a:cubicBezTo>
                    <a:cubicBezTo>
                      <a:pt x="728724" y="720143"/>
                      <a:pt x="740629" y="712173"/>
                      <a:pt x="754551" y="708238"/>
                    </a:cubicBezTo>
                    <a:cubicBezTo>
                      <a:pt x="768473" y="704304"/>
                      <a:pt x="786330" y="708238"/>
                      <a:pt x="786330" y="708238"/>
                    </a:cubicBezTo>
                    <a:cubicBezTo>
                      <a:pt x="786330" y="708238"/>
                      <a:pt x="808222" y="634692"/>
                      <a:pt x="816192" y="632675"/>
                    </a:cubicBezTo>
                    <a:cubicBezTo>
                      <a:pt x="824162" y="630657"/>
                      <a:pt x="903661" y="608865"/>
                      <a:pt x="933523" y="531284"/>
                    </a:cubicBezTo>
                    <a:cubicBezTo>
                      <a:pt x="963385" y="453804"/>
                      <a:pt x="917583" y="330521"/>
                      <a:pt x="814276" y="233065"/>
                    </a:cubicBezTo>
                    <a:cubicBezTo>
                      <a:pt x="710968" y="135609"/>
                      <a:pt x="492247" y="109782"/>
                      <a:pt x="480343" y="91926"/>
                    </a:cubicBezTo>
                    <a:cubicBezTo>
                      <a:pt x="468438" y="74069"/>
                      <a:pt x="536032" y="99896"/>
                      <a:pt x="522110" y="60146"/>
                    </a:cubicBezTo>
                    <a:cubicBezTo>
                      <a:pt x="508187" y="20397"/>
                      <a:pt x="420719" y="-31256"/>
                      <a:pt x="309442" y="24332"/>
                    </a:cubicBezTo>
                    <a:cubicBezTo>
                      <a:pt x="198165" y="80021"/>
                      <a:pt x="214004" y="141662"/>
                      <a:pt x="225908" y="161537"/>
                    </a:cubicBezTo>
                    <a:lnTo>
                      <a:pt x="237813" y="181411"/>
                    </a:lnTo>
                    <a:cubicBezTo>
                      <a:pt x="237813" y="181411"/>
                      <a:pt x="144392" y="149632"/>
                      <a:pt x="78817" y="189381"/>
                    </a:cubicBezTo>
                    <a:cubicBezTo>
                      <a:pt x="13241" y="229131"/>
                      <a:pt x="-18538" y="308629"/>
                      <a:pt x="11223" y="316599"/>
                    </a:cubicBezTo>
                    <a:cubicBezTo>
                      <a:pt x="41085" y="324569"/>
                      <a:pt x="78817" y="306611"/>
                      <a:pt x="78817" y="306611"/>
                    </a:cubicBezTo>
                    <a:cubicBezTo>
                      <a:pt x="78817" y="306611"/>
                      <a:pt x="39067" y="372187"/>
                      <a:pt x="50972" y="386109"/>
                    </a:cubicBezTo>
                    <a:cubicBezTo>
                      <a:pt x="62876" y="400031"/>
                      <a:pt x="124518" y="455721"/>
                      <a:pt x="124518" y="455721"/>
                    </a:cubicBezTo>
                    <a:cubicBezTo>
                      <a:pt x="124518" y="455721"/>
                      <a:pt x="148327" y="316599"/>
                      <a:pt x="198064" y="296724"/>
                    </a:cubicBezTo>
                    <a:cubicBezTo>
                      <a:pt x="247801" y="276850"/>
                      <a:pt x="313377" y="254957"/>
                      <a:pt x="313377" y="254957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581128C6-7372-49B1-8FDA-6E206328FD3F}"/>
                  </a:ext>
                </a:extLst>
              </p:cNvPr>
              <p:cNvSpPr/>
              <p:nvPr/>
            </p:nvSpPr>
            <p:spPr>
              <a:xfrm>
                <a:off x="10078013" y="2200339"/>
                <a:ext cx="107342" cy="290249"/>
              </a:xfrm>
              <a:custGeom>
                <a:avLst/>
                <a:gdLst>
                  <a:gd name="connsiteX0" fmla="*/ 83433 w 107342"/>
                  <a:gd name="connsiteY0" fmla="*/ 0 h 290249"/>
                  <a:gd name="connsiteX1" fmla="*/ 101390 w 107342"/>
                  <a:gd name="connsiteY1" fmla="*/ 57606 h 290249"/>
                  <a:gd name="connsiteX2" fmla="*/ 0 w 107342"/>
                  <a:gd name="connsiteY2" fmla="*/ 248482 h 290249"/>
                  <a:gd name="connsiteX3" fmla="*/ 107343 w 107342"/>
                  <a:gd name="connsiteY3" fmla="*/ 290249 h 290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342" h="290249">
                    <a:moveTo>
                      <a:pt x="83433" y="0"/>
                    </a:moveTo>
                    <a:lnTo>
                      <a:pt x="101390" y="57606"/>
                    </a:lnTo>
                    <a:lnTo>
                      <a:pt x="0" y="248482"/>
                    </a:lnTo>
                    <a:lnTo>
                      <a:pt x="107343" y="290249"/>
                    </a:lnTo>
                  </a:path>
                </a:pathLst>
              </a:custGeom>
              <a:noFill/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E2FCC721-B6F6-4CF4-976E-F32CD3DA2474}"/>
                  </a:ext>
                </a:extLst>
              </p:cNvPr>
              <p:cNvSpPr/>
              <p:nvPr/>
            </p:nvSpPr>
            <p:spPr>
              <a:xfrm>
                <a:off x="10033056" y="2148951"/>
                <a:ext cx="109287" cy="46319"/>
              </a:xfrm>
              <a:custGeom>
                <a:avLst/>
                <a:gdLst>
                  <a:gd name="connsiteX0" fmla="*/ 108515 w 109287"/>
                  <a:gd name="connsiteY0" fmla="*/ 29496 h 46319"/>
                  <a:gd name="connsiteX1" fmla="*/ 21047 w 109287"/>
                  <a:gd name="connsiteY1" fmla="*/ 1652 h 46319"/>
                  <a:gd name="connsiteX2" fmla="*/ 32951 w 109287"/>
                  <a:gd name="connsiteY2" fmla="*/ 27478 h 46319"/>
                  <a:gd name="connsiteX3" fmla="*/ 108515 w 109287"/>
                  <a:gd name="connsiteY3" fmla="*/ 29496 h 4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287" h="46319">
                    <a:moveTo>
                      <a:pt x="108515" y="29496"/>
                    </a:moveTo>
                    <a:cubicBezTo>
                      <a:pt x="108515" y="29496"/>
                      <a:pt x="60796" y="-8235"/>
                      <a:pt x="21047" y="1652"/>
                    </a:cubicBezTo>
                    <a:cubicBezTo>
                      <a:pt x="-18702" y="11639"/>
                      <a:pt x="5107" y="17592"/>
                      <a:pt x="32951" y="27478"/>
                    </a:cubicBezTo>
                    <a:cubicBezTo>
                      <a:pt x="60796" y="37365"/>
                      <a:pt x="116485" y="63293"/>
                      <a:pt x="108515" y="2949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8347514D-2F10-4BBD-A21C-B80040CD64D5}"/>
                  </a:ext>
                </a:extLst>
              </p:cNvPr>
              <p:cNvSpPr/>
              <p:nvPr/>
            </p:nvSpPr>
            <p:spPr>
              <a:xfrm>
                <a:off x="10258917" y="2157146"/>
                <a:ext cx="176923" cy="67337"/>
              </a:xfrm>
              <a:custGeom>
                <a:avLst/>
                <a:gdLst>
                  <a:gd name="connsiteX0" fmla="*/ 29746 w 176923"/>
                  <a:gd name="connsiteY0" fmla="*/ 13432 h 67337"/>
                  <a:gd name="connsiteX1" fmla="*/ 5937 w 176923"/>
                  <a:gd name="connsiteY1" fmla="*/ 35324 h 67337"/>
                  <a:gd name="connsiteX2" fmla="*/ 119232 w 176923"/>
                  <a:gd name="connsiteY2" fmla="*/ 35324 h 67337"/>
                  <a:gd name="connsiteX3" fmla="*/ 176838 w 176923"/>
                  <a:gd name="connsiteY3" fmla="*/ 63169 h 67337"/>
                  <a:gd name="connsiteX4" fmla="*/ 123166 w 176923"/>
                  <a:gd name="connsiteY4" fmla="*/ 3545 h 67337"/>
                  <a:gd name="connsiteX5" fmla="*/ 29746 w 176923"/>
                  <a:gd name="connsiteY5" fmla="*/ 13533 h 67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6923" h="67337">
                    <a:moveTo>
                      <a:pt x="29746" y="13432"/>
                    </a:moveTo>
                    <a:cubicBezTo>
                      <a:pt x="29746" y="13432"/>
                      <a:pt x="-15955" y="25337"/>
                      <a:pt x="5937" y="35324"/>
                    </a:cubicBezTo>
                    <a:cubicBezTo>
                      <a:pt x="27829" y="45312"/>
                      <a:pt x="93405" y="25337"/>
                      <a:pt x="119232" y="35324"/>
                    </a:cubicBezTo>
                    <a:cubicBezTo>
                      <a:pt x="145059" y="45312"/>
                      <a:pt x="178855" y="79008"/>
                      <a:pt x="176838" y="63169"/>
                    </a:cubicBezTo>
                    <a:cubicBezTo>
                      <a:pt x="174820" y="47229"/>
                      <a:pt x="158981" y="15450"/>
                      <a:pt x="123166" y="3545"/>
                    </a:cubicBezTo>
                    <a:cubicBezTo>
                      <a:pt x="87352" y="-8359"/>
                      <a:pt x="29746" y="13533"/>
                      <a:pt x="29746" y="1353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8C785B23-F86B-4852-96C6-63233EE89ACB}"/>
                  </a:ext>
                </a:extLst>
              </p:cNvPr>
              <p:cNvSpPr/>
              <p:nvPr/>
            </p:nvSpPr>
            <p:spPr>
              <a:xfrm>
                <a:off x="10083149" y="2236601"/>
                <a:ext cx="33412" cy="52777"/>
              </a:xfrm>
              <a:custGeom>
                <a:avLst/>
                <a:gdLst>
                  <a:gd name="connsiteX0" fmla="*/ 32192 w 33412"/>
                  <a:gd name="connsiteY0" fmla="*/ 30121 h 52777"/>
                  <a:gd name="connsiteX1" fmla="*/ 10401 w 33412"/>
                  <a:gd name="connsiteY1" fmla="*/ 52518 h 52777"/>
                  <a:gd name="connsiteX2" fmla="*/ 1220 w 33412"/>
                  <a:gd name="connsiteY2" fmla="*/ 22656 h 52777"/>
                  <a:gd name="connsiteX3" fmla="*/ 23012 w 33412"/>
                  <a:gd name="connsiteY3" fmla="*/ 259 h 52777"/>
                  <a:gd name="connsiteX4" fmla="*/ 32192 w 33412"/>
                  <a:gd name="connsiteY4" fmla="*/ 30121 h 52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412" h="52777">
                    <a:moveTo>
                      <a:pt x="32192" y="30121"/>
                    </a:moveTo>
                    <a:cubicBezTo>
                      <a:pt x="28661" y="44548"/>
                      <a:pt x="18976" y="54536"/>
                      <a:pt x="10401" y="52518"/>
                    </a:cubicBezTo>
                    <a:cubicBezTo>
                      <a:pt x="1825" y="50500"/>
                      <a:pt x="-2210" y="37082"/>
                      <a:pt x="1220" y="22656"/>
                    </a:cubicBezTo>
                    <a:cubicBezTo>
                      <a:pt x="4751" y="8229"/>
                      <a:pt x="14436" y="-1759"/>
                      <a:pt x="23012" y="259"/>
                    </a:cubicBezTo>
                    <a:cubicBezTo>
                      <a:pt x="31587" y="2277"/>
                      <a:pt x="35622" y="15695"/>
                      <a:pt x="32192" y="30121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Полилиния: фигура 25">
                <a:extLst>
                  <a:ext uri="{FF2B5EF4-FFF2-40B4-BE49-F238E27FC236}">
                    <a16:creationId xmlns:a16="http://schemas.microsoft.com/office/drawing/2014/main" id="{DFB54707-2461-4248-B795-5B14F35C1FCC}"/>
                  </a:ext>
                </a:extLst>
              </p:cNvPr>
              <p:cNvSpPr/>
              <p:nvPr/>
            </p:nvSpPr>
            <p:spPr>
              <a:xfrm>
                <a:off x="10299751" y="2293198"/>
                <a:ext cx="33412" cy="52777"/>
              </a:xfrm>
              <a:custGeom>
                <a:avLst/>
                <a:gdLst>
                  <a:gd name="connsiteX0" fmla="*/ 32192 w 33412"/>
                  <a:gd name="connsiteY0" fmla="*/ 30121 h 52777"/>
                  <a:gd name="connsiteX1" fmla="*/ 10401 w 33412"/>
                  <a:gd name="connsiteY1" fmla="*/ 52518 h 52777"/>
                  <a:gd name="connsiteX2" fmla="*/ 1220 w 33412"/>
                  <a:gd name="connsiteY2" fmla="*/ 22656 h 52777"/>
                  <a:gd name="connsiteX3" fmla="*/ 23012 w 33412"/>
                  <a:gd name="connsiteY3" fmla="*/ 259 h 52777"/>
                  <a:gd name="connsiteX4" fmla="*/ 32192 w 33412"/>
                  <a:gd name="connsiteY4" fmla="*/ 30121 h 52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412" h="52777">
                    <a:moveTo>
                      <a:pt x="32192" y="30121"/>
                    </a:moveTo>
                    <a:cubicBezTo>
                      <a:pt x="28661" y="44548"/>
                      <a:pt x="18976" y="54536"/>
                      <a:pt x="10401" y="52518"/>
                    </a:cubicBezTo>
                    <a:cubicBezTo>
                      <a:pt x="1825" y="50500"/>
                      <a:pt x="-2210" y="37082"/>
                      <a:pt x="1220" y="22656"/>
                    </a:cubicBezTo>
                    <a:cubicBezTo>
                      <a:pt x="4751" y="8229"/>
                      <a:pt x="14436" y="-1759"/>
                      <a:pt x="23012" y="259"/>
                    </a:cubicBezTo>
                    <a:cubicBezTo>
                      <a:pt x="31587" y="2277"/>
                      <a:pt x="35622" y="15695"/>
                      <a:pt x="32192" y="30121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16446924-E6CC-4402-92F7-9EEBFB9F8462}"/>
                  </a:ext>
                </a:extLst>
              </p:cNvPr>
              <p:cNvSpPr/>
              <p:nvPr/>
            </p:nvSpPr>
            <p:spPr>
              <a:xfrm>
                <a:off x="10016372" y="2514397"/>
                <a:ext cx="81515" cy="53671"/>
              </a:xfrm>
              <a:custGeom>
                <a:avLst/>
                <a:gdLst>
                  <a:gd name="connsiteX0" fmla="*/ 0 w 81515"/>
                  <a:gd name="connsiteY0" fmla="*/ 0 h 53671"/>
                  <a:gd name="connsiteX1" fmla="*/ 81516 w 81515"/>
                  <a:gd name="connsiteY1" fmla="*/ 53671 h 53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1515" h="53671">
                    <a:moveTo>
                      <a:pt x="0" y="0"/>
                    </a:moveTo>
                    <a:lnTo>
                      <a:pt x="81516" y="53671"/>
                    </a:lnTo>
                  </a:path>
                </a:pathLst>
              </a:custGeom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8" name="Рисунок 1">
              <a:extLst>
                <a:ext uri="{FF2B5EF4-FFF2-40B4-BE49-F238E27FC236}">
                  <a16:creationId xmlns:a16="http://schemas.microsoft.com/office/drawing/2014/main" id="{0EB4A8C4-8BAD-433F-A994-3E08666DDA67}"/>
                </a:ext>
              </a:extLst>
            </p:cNvPr>
            <p:cNvGrpSpPr/>
            <p:nvPr/>
          </p:nvGrpSpPr>
          <p:grpSpPr>
            <a:xfrm>
              <a:off x="10561762" y="2996733"/>
              <a:ext cx="648750" cy="1445844"/>
              <a:chOff x="10561762" y="2996733"/>
              <a:chExt cx="648750" cy="1445844"/>
            </a:xfrm>
          </p:grpSpPr>
          <p:sp>
            <p:nvSpPr>
              <p:cNvPr id="29" name="Полилиния: фигура 28">
                <a:extLst>
                  <a:ext uri="{FF2B5EF4-FFF2-40B4-BE49-F238E27FC236}">
                    <a16:creationId xmlns:a16="http://schemas.microsoft.com/office/drawing/2014/main" id="{EB93F9C3-785D-4F29-AC9E-D8B5F913C224}"/>
                  </a:ext>
                </a:extLst>
              </p:cNvPr>
              <p:cNvSpPr/>
              <p:nvPr/>
            </p:nvSpPr>
            <p:spPr>
              <a:xfrm>
                <a:off x="10561762" y="2996733"/>
                <a:ext cx="648750" cy="1396363"/>
              </a:xfrm>
              <a:custGeom>
                <a:avLst/>
                <a:gdLst>
                  <a:gd name="connsiteX0" fmla="*/ 292973 w 648750"/>
                  <a:gd name="connsiteY0" fmla="*/ 0 h 1396363"/>
                  <a:gd name="connsiteX1" fmla="*/ 628520 w 648750"/>
                  <a:gd name="connsiteY1" fmla="*/ 270173 h 1396363"/>
                  <a:gd name="connsiteX2" fmla="*/ 585845 w 648750"/>
                  <a:gd name="connsiteY2" fmla="*/ 722344 h 1396363"/>
                  <a:gd name="connsiteX3" fmla="*/ 352697 w 648750"/>
                  <a:gd name="connsiteY3" fmla="*/ 1220014 h 1396363"/>
                  <a:gd name="connsiteX4" fmla="*/ 281573 w 648750"/>
                  <a:gd name="connsiteY4" fmla="*/ 1396363 h 1396363"/>
                  <a:gd name="connsiteX5" fmla="*/ 133674 w 648750"/>
                  <a:gd name="connsiteY5" fmla="*/ 1009667 h 1396363"/>
                  <a:gd name="connsiteX6" fmla="*/ 0 w 648750"/>
                  <a:gd name="connsiteY6" fmla="*/ 728195 h 1396363"/>
                  <a:gd name="connsiteX7" fmla="*/ 247372 w 648750"/>
                  <a:gd name="connsiteY7" fmla="*/ 273199 h 139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48750" h="1396363">
                    <a:moveTo>
                      <a:pt x="292973" y="0"/>
                    </a:moveTo>
                    <a:cubicBezTo>
                      <a:pt x="292973" y="0"/>
                      <a:pt x="574445" y="108049"/>
                      <a:pt x="628520" y="270173"/>
                    </a:cubicBezTo>
                    <a:cubicBezTo>
                      <a:pt x="682595" y="432296"/>
                      <a:pt x="614295" y="636994"/>
                      <a:pt x="585845" y="722344"/>
                    </a:cubicBezTo>
                    <a:cubicBezTo>
                      <a:pt x="557395" y="807693"/>
                      <a:pt x="381147" y="1140315"/>
                      <a:pt x="352697" y="1220014"/>
                    </a:cubicBezTo>
                    <a:cubicBezTo>
                      <a:pt x="324247" y="1299614"/>
                      <a:pt x="281573" y="1396363"/>
                      <a:pt x="281573" y="1396363"/>
                    </a:cubicBezTo>
                    <a:cubicBezTo>
                      <a:pt x="281573" y="1396363"/>
                      <a:pt x="241723" y="1157465"/>
                      <a:pt x="133674" y="1009667"/>
                    </a:cubicBezTo>
                    <a:cubicBezTo>
                      <a:pt x="25625" y="861768"/>
                      <a:pt x="0" y="728195"/>
                      <a:pt x="0" y="728195"/>
                    </a:cubicBezTo>
                    <a:cubicBezTo>
                      <a:pt x="0" y="728195"/>
                      <a:pt x="196223" y="381248"/>
                      <a:pt x="247372" y="273199"/>
                    </a:cubicBezTo>
                  </a:path>
                </a:pathLst>
              </a:custGeom>
              <a:solidFill>
                <a:srgbClr val="006D3F"/>
              </a:solidFill>
              <a:ln w="1008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Полилиния: фигура 29">
                <a:extLst>
                  <a:ext uri="{FF2B5EF4-FFF2-40B4-BE49-F238E27FC236}">
                    <a16:creationId xmlns:a16="http://schemas.microsoft.com/office/drawing/2014/main" id="{434E7105-8979-4128-9ADA-643A4B05C69F}"/>
                  </a:ext>
                </a:extLst>
              </p:cNvPr>
              <p:cNvSpPr/>
              <p:nvPr/>
            </p:nvSpPr>
            <p:spPr>
              <a:xfrm>
                <a:off x="10580011" y="3643474"/>
                <a:ext cx="396581" cy="799103"/>
              </a:xfrm>
              <a:custGeom>
                <a:avLst/>
                <a:gdLst>
                  <a:gd name="connsiteX0" fmla="*/ 11613 w 396581"/>
                  <a:gd name="connsiteY0" fmla="*/ 21124 h 799103"/>
                  <a:gd name="connsiteX1" fmla="*/ 88387 w 396581"/>
                  <a:gd name="connsiteY1" fmla="*/ 1956 h 799103"/>
                  <a:gd name="connsiteX2" fmla="*/ 386001 w 396581"/>
                  <a:gd name="connsiteY2" fmla="*/ 293113 h 799103"/>
                  <a:gd name="connsiteX3" fmla="*/ 341208 w 396581"/>
                  <a:gd name="connsiteY3" fmla="*/ 625936 h 799103"/>
                  <a:gd name="connsiteX4" fmla="*/ 216412 w 396581"/>
                  <a:gd name="connsiteY4" fmla="*/ 798754 h 799103"/>
                  <a:gd name="connsiteX5" fmla="*/ 53178 w 396581"/>
                  <a:gd name="connsiteY5" fmla="*/ 289986 h 799103"/>
                  <a:gd name="connsiteX6" fmla="*/ 11613 w 396581"/>
                  <a:gd name="connsiteY6" fmla="*/ 21225 h 799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6581" h="799103">
                    <a:moveTo>
                      <a:pt x="11613" y="21124"/>
                    </a:moveTo>
                    <a:cubicBezTo>
                      <a:pt x="11613" y="21124"/>
                      <a:pt x="69219" y="-7628"/>
                      <a:pt x="88387" y="1956"/>
                    </a:cubicBezTo>
                    <a:cubicBezTo>
                      <a:pt x="107556" y="11540"/>
                      <a:pt x="354020" y="142793"/>
                      <a:pt x="386001" y="293113"/>
                    </a:cubicBezTo>
                    <a:cubicBezTo>
                      <a:pt x="417982" y="443534"/>
                      <a:pt x="369960" y="571559"/>
                      <a:pt x="341208" y="625936"/>
                    </a:cubicBezTo>
                    <a:cubicBezTo>
                      <a:pt x="312455" y="680314"/>
                      <a:pt x="257977" y="785941"/>
                      <a:pt x="216412" y="798754"/>
                    </a:cubicBezTo>
                    <a:cubicBezTo>
                      <a:pt x="174847" y="811566"/>
                      <a:pt x="139637" y="469159"/>
                      <a:pt x="53178" y="289986"/>
                    </a:cubicBezTo>
                    <a:cubicBezTo>
                      <a:pt x="-33180" y="110812"/>
                      <a:pt x="11613" y="21225"/>
                      <a:pt x="11613" y="21225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08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Полилиния: фигура 30">
                <a:extLst>
                  <a:ext uri="{FF2B5EF4-FFF2-40B4-BE49-F238E27FC236}">
                    <a16:creationId xmlns:a16="http://schemas.microsoft.com/office/drawing/2014/main" id="{C11B02C2-47A4-4961-84BA-A8DC89C6A441}"/>
                  </a:ext>
                </a:extLst>
              </p:cNvPr>
              <p:cNvSpPr/>
              <p:nvPr/>
            </p:nvSpPr>
            <p:spPr>
              <a:xfrm>
                <a:off x="10686961" y="3258331"/>
                <a:ext cx="71124" cy="241722"/>
              </a:xfrm>
              <a:custGeom>
                <a:avLst/>
                <a:gdLst>
                  <a:gd name="connsiteX0" fmla="*/ 0 w 71124"/>
                  <a:gd name="connsiteY0" fmla="*/ 241723 h 241722"/>
                  <a:gd name="connsiteX1" fmla="*/ 71125 w 71124"/>
                  <a:gd name="connsiteY1" fmla="*/ 0 h 241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24" h="241722">
                    <a:moveTo>
                      <a:pt x="0" y="241723"/>
                    </a:moveTo>
                    <a:cubicBezTo>
                      <a:pt x="0" y="241723"/>
                      <a:pt x="51149" y="68300"/>
                      <a:pt x="71125" y="0"/>
                    </a:cubicBezTo>
                  </a:path>
                </a:pathLst>
              </a:custGeom>
              <a:noFill/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86EC543F-A33B-44B2-BF0A-8D21F247EAB1}"/>
                </a:ext>
              </a:extLst>
            </p:cNvPr>
            <p:cNvSpPr/>
            <p:nvPr/>
          </p:nvSpPr>
          <p:spPr>
            <a:xfrm>
              <a:off x="9829326" y="2587488"/>
              <a:ext cx="1058462" cy="1880370"/>
            </a:xfrm>
            <a:custGeom>
              <a:avLst/>
              <a:gdLst>
                <a:gd name="connsiteX0" fmla="*/ 344025 w 1058462"/>
                <a:gd name="connsiteY0" fmla="*/ 296656 h 1880370"/>
                <a:gd name="connsiteX1" fmla="*/ 202885 w 1058462"/>
                <a:gd name="connsiteY1" fmla="*/ 111833 h 1880370"/>
                <a:gd name="connsiteX2" fmla="*/ 55793 w 1058462"/>
                <a:gd name="connsiteY2" fmla="*/ 556 h 1880370"/>
                <a:gd name="connsiteX3" fmla="*/ 39853 w 1058462"/>
                <a:gd name="connsiteY3" fmla="*/ 54227 h 1880370"/>
                <a:gd name="connsiteX4" fmla="*/ 131256 w 1058462"/>
                <a:gd name="connsiteY4" fmla="*/ 153600 h 1880370"/>
                <a:gd name="connsiteX5" fmla="*/ 161119 w 1058462"/>
                <a:gd name="connsiteY5" fmla="*/ 227146 h 1880370"/>
                <a:gd name="connsiteX6" fmla="*/ 93525 w 1058462"/>
                <a:gd name="connsiteY6" fmla="*/ 243086 h 1880370"/>
                <a:gd name="connsiteX7" fmla="*/ 69716 w 1058462"/>
                <a:gd name="connsiteY7" fmla="*/ 286770 h 1880370"/>
                <a:gd name="connsiteX8" fmla="*/ 39853 w 1058462"/>
                <a:gd name="connsiteY8" fmla="*/ 312596 h 1880370"/>
                <a:gd name="connsiteX9" fmla="*/ 27949 w 1058462"/>
                <a:gd name="connsiteY9" fmla="*/ 340441 h 1880370"/>
                <a:gd name="connsiteX10" fmla="*/ 105 w 1058462"/>
                <a:gd name="connsiteY10" fmla="*/ 398047 h 1880370"/>
                <a:gd name="connsiteX11" fmla="*/ 47823 w 1058462"/>
                <a:gd name="connsiteY11" fmla="*/ 509324 h 1880370"/>
                <a:gd name="connsiteX12" fmla="*/ 163136 w 1058462"/>
                <a:gd name="connsiteY12" fmla="*/ 656416 h 1880370"/>
                <a:gd name="connsiteX13" fmla="*/ 294288 w 1058462"/>
                <a:gd name="connsiteY13" fmla="*/ 887041 h 1880370"/>
                <a:gd name="connsiteX14" fmla="*/ 616316 w 1058462"/>
                <a:gd name="connsiteY14" fmla="*/ 1656297 h 1880370"/>
                <a:gd name="connsiteX15" fmla="*/ 876703 w 1058462"/>
                <a:gd name="connsiteY15" fmla="*/ 1870983 h 1880370"/>
                <a:gd name="connsiteX16" fmla="*/ 1023795 w 1058462"/>
                <a:gd name="connsiteY16" fmla="*/ 1781497 h 1880370"/>
                <a:gd name="connsiteX17" fmla="*/ 1021777 w 1058462"/>
                <a:gd name="connsiteY17" fmla="*/ 1423654 h 1880370"/>
                <a:gd name="connsiteX18" fmla="*/ 745450 w 1058462"/>
                <a:gd name="connsiteY18" fmla="*/ 1055925 h 1880370"/>
                <a:gd name="connsiteX19" fmla="*/ 457219 w 1058462"/>
                <a:gd name="connsiteY19" fmla="*/ 741867 h 1880370"/>
                <a:gd name="connsiteX20" fmla="*/ 411518 w 1058462"/>
                <a:gd name="connsiteY20" fmla="*/ 626554 h 1880370"/>
                <a:gd name="connsiteX21" fmla="*/ 467207 w 1058462"/>
                <a:gd name="connsiteY21" fmla="*/ 439713 h 1880370"/>
                <a:gd name="connsiteX22" fmla="*/ 457219 w 1058462"/>
                <a:gd name="connsiteY22" fmla="*/ 312496 h 1880370"/>
                <a:gd name="connsiteX23" fmla="*/ 496968 w 1058462"/>
                <a:gd name="connsiteY23" fmla="*/ 205153 h 1880370"/>
                <a:gd name="connsiteX24" fmla="*/ 522795 w 1058462"/>
                <a:gd name="connsiteY24" fmla="*/ 123637 h 1880370"/>
                <a:gd name="connsiteX25" fmla="*/ 405464 w 1058462"/>
                <a:gd name="connsiteY25" fmla="*/ 169338 h 1880370"/>
                <a:gd name="connsiteX26" fmla="*/ 343823 w 1058462"/>
                <a:gd name="connsiteY26" fmla="*/ 296556 h 1880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58462" h="1880370">
                  <a:moveTo>
                    <a:pt x="344025" y="296656"/>
                  </a:moveTo>
                  <a:cubicBezTo>
                    <a:pt x="344025" y="296656"/>
                    <a:pt x="264527" y="185379"/>
                    <a:pt x="202885" y="111833"/>
                  </a:cubicBezTo>
                  <a:cubicBezTo>
                    <a:pt x="141244" y="38287"/>
                    <a:pt x="77686" y="-5497"/>
                    <a:pt x="55793" y="556"/>
                  </a:cubicBezTo>
                  <a:cubicBezTo>
                    <a:pt x="33901" y="6609"/>
                    <a:pt x="25931" y="28401"/>
                    <a:pt x="39853" y="54227"/>
                  </a:cubicBezTo>
                  <a:cubicBezTo>
                    <a:pt x="53776" y="80054"/>
                    <a:pt x="119352" y="137761"/>
                    <a:pt x="131256" y="153600"/>
                  </a:cubicBezTo>
                  <a:cubicBezTo>
                    <a:pt x="143161" y="169439"/>
                    <a:pt x="161119" y="227146"/>
                    <a:pt x="161119" y="227146"/>
                  </a:cubicBezTo>
                  <a:cubicBezTo>
                    <a:pt x="161119" y="227146"/>
                    <a:pt x="103513" y="231081"/>
                    <a:pt x="93525" y="243086"/>
                  </a:cubicBezTo>
                  <a:cubicBezTo>
                    <a:pt x="83537" y="254991"/>
                    <a:pt x="69716" y="286770"/>
                    <a:pt x="69716" y="286770"/>
                  </a:cubicBezTo>
                  <a:cubicBezTo>
                    <a:pt x="69716" y="286770"/>
                    <a:pt x="49841" y="296757"/>
                    <a:pt x="39853" y="312596"/>
                  </a:cubicBezTo>
                  <a:cubicBezTo>
                    <a:pt x="29866" y="328536"/>
                    <a:pt x="29866" y="332471"/>
                    <a:pt x="27949" y="340441"/>
                  </a:cubicBezTo>
                  <a:cubicBezTo>
                    <a:pt x="25931" y="348411"/>
                    <a:pt x="-1913" y="362333"/>
                    <a:pt x="105" y="398047"/>
                  </a:cubicBezTo>
                  <a:cubicBezTo>
                    <a:pt x="2122" y="433862"/>
                    <a:pt x="35919" y="485515"/>
                    <a:pt x="47823" y="509324"/>
                  </a:cubicBezTo>
                  <a:cubicBezTo>
                    <a:pt x="59728" y="533133"/>
                    <a:pt x="147196" y="638559"/>
                    <a:pt x="163136" y="656416"/>
                  </a:cubicBezTo>
                  <a:cubicBezTo>
                    <a:pt x="179076" y="674273"/>
                    <a:pt x="270479" y="833370"/>
                    <a:pt x="294288" y="887041"/>
                  </a:cubicBezTo>
                  <a:cubicBezTo>
                    <a:pt x="318097" y="940713"/>
                    <a:pt x="548722" y="1562877"/>
                    <a:pt x="616316" y="1656297"/>
                  </a:cubicBezTo>
                  <a:cubicBezTo>
                    <a:pt x="683910" y="1749718"/>
                    <a:pt x="809109" y="1839204"/>
                    <a:pt x="876703" y="1870983"/>
                  </a:cubicBezTo>
                  <a:cubicBezTo>
                    <a:pt x="944297" y="1902762"/>
                    <a:pt x="992016" y="1849090"/>
                    <a:pt x="1023795" y="1781497"/>
                  </a:cubicBezTo>
                  <a:cubicBezTo>
                    <a:pt x="1055574" y="1713903"/>
                    <a:pt x="1083418" y="1578716"/>
                    <a:pt x="1021777" y="1423654"/>
                  </a:cubicBezTo>
                  <a:cubicBezTo>
                    <a:pt x="960136" y="1268592"/>
                    <a:pt x="838871" y="1135423"/>
                    <a:pt x="745450" y="1055925"/>
                  </a:cubicBezTo>
                  <a:cubicBezTo>
                    <a:pt x="652030" y="976426"/>
                    <a:pt x="477094" y="777580"/>
                    <a:pt x="457219" y="741867"/>
                  </a:cubicBezTo>
                  <a:cubicBezTo>
                    <a:pt x="437344" y="706153"/>
                    <a:pt x="411518" y="626554"/>
                    <a:pt x="411518" y="626554"/>
                  </a:cubicBezTo>
                  <a:cubicBezTo>
                    <a:pt x="411518" y="626554"/>
                    <a:pt x="463171" y="475527"/>
                    <a:pt x="467207" y="439713"/>
                  </a:cubicBezTo>
                  <a:cubicBezTo>
                    <a:pt x="471141" y="403898"/>
                    <a:pt x="451267" y="340340"/>
                    <a:pt x="457219" y="312496"/>
                  </a:cubicBezTo>
                  <a:cubicBezTo>
                    <a:pt x="463171" y="284651"/>
                    <a:pt x="487081" y="228962"/>
                    <a:pt x="496968" y="205153"/>
                  </a:cubicBezTo>
                  <a:cubicBezTo>
                    <a:pt x="506956" y="181344"/>
                    <a:pt x="540652" y="141494"/>
                    <a:pt x="522795" y="123637"/>
                  </a:cubicBezTo>
                  <a:cubicBezTo>
                    <a:pt x="504938" y="105780"/>
                    <a:pt x="431392" y="127572"/>
                    <a:pt x="405464" y="169338"/>
                  </a:cubicBezTo>
                  <a:cubicBezTo>
                    <a:pt x="379638" y="211105"/>
                    <a:pt x="343823" y="296556"/>
                    <a:pt x="343823" y="296556"/>
                  </a:cubicBezTo>
                  <a:close/>
                </a:path>
              </a:pathLst>
            </a:custGeom>
            <a:solidFill>
              <a:srgbClr val="FFFFFF"/>
            </a:solidFill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3" name="Рисунок 1">
              <a:extLst>
                <a:ext uri="{FF2B5EF4-FFF2-40B4-BE49-F238E27FC236}">
                  <a16:creationId xmlns:a16="http://schemas.microsoft.com/office/drawing/2014/main" id="{0EB4A8C4-8BAD-433F-A994-3E08666DDA67}"/>
                </a:ext>
              </a:extLst>
            </p:cNvPr>
            <p:cNvGrpSpPr/>
            <p:nvPr/>
          </p:nvGrpSpPr>
          <p:grpSpPr>
            <a:xfrm>
              <a:off x="9132932" y="2988259"/>
              <a:ext cx="501989" cy="1309134"/>
              <a:chOff x="9132932" y="2988259"/>
              <a:chExt cx="501989" cy="1309134"/>
            </a:xfrm>
          </p:grpSpPr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id="{BF50CBB6-88F3-4194-8A87-27B60BA3217A}"/>
                  </a:ext>
                </a:extLst>
              </p:cNvPr>
              <p:cNvSpPr/>
              <p:nvPr/>
            </p:nvSpPr>
            <p:spPr>
              <a:xfrm>
                <a:off x="9558954" y="3261155"/>
                <a:ext cx="10391" cy="53469"/>
              </a:xfrm>
              <a:custGeom>
                <a:avLst/>
                <a:gdLst>
                  <a:gd name="connsiteX0" fmla="*/ 0 w 10391"/>
                  <a:gd name="connsiteY0" fmla="*/ 53470 h 53469"/>
                  <a:gd name="connsiteX1" fmla="*/ 10392 w 10391"/>
                  <a:gd name="connsiteY1" fmla="*/ 0 h 5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1" h="53469">
                    <a:moveTo>
                      <a:pt x="0" y="53470"/>
                    </a:moveTo>
                    <a:cubicBezTo>
                      <a:pt x="6053" y="21892"/>
                      <a:pt x="10392" y="0"/>
                      <a:pt x="10392" y="0"/>
                    </a:cubicBezTo>
                  </a:path>
                </a:pathLst>
              </a:custGeom>
              <a:solidFill>
                <a:srgbClr val="006D3F"/>
              </a:solidFill>
              <a:ln w="1008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id="{79B9CCD3-E969-4C1D-9070-D4B7806578C1}"/>
                  </a:ext>
                </a:extLst>
              </p:cNvPr>
              <p:cNvSpPr/>
              <p:nvPr/>
            </p:nvSpPr>
            <p:spPr>
              <a:xfrm>
                <a:off x="9132932" y="2988259"/>
                <a:ext cx="464863" cy="1171488"/>
              </a:xfrm>
              <a:custGeom>
                <a:avLst/>
                <a:gdLst>
                  <a:gd name="connsiteX0" fmla="*/ 408064 w 464863"/>
                  <a:gd name="connsiteY0" fmla="*/ 0 h 1171488"/>
                  <a:gd name="connsiteX1" fmla="*/ 100967 w 464863"/>
                  <a:gd name="connsiteY1" fmla="*/ 187648 h 1171488"/>
                  <a:gd name="connsiteX2" fmla="*/ 27018 w 464863"/>
                  <a:gd name="connsiteY2" fmla="*/ 835941 h 1171488"/>
                  <a:gd name="connsiteX3" fmla="*/ 63942 w 464863"/>
                  <a:gd name="connsiteY3" fmla="*/ 1171488 h 1171488"/>
                  <a:gd name="connsiteX4" fmla="*/ 464863 w 464863"/>
                  <a:gd name="connsiteY4" fmla="*/ 1037814 h 1171488"/>
                  <a:gd name="connsiteX5" fmla="*/ 393739 w 464863"/>
                  <a:gd name="connsiteY5" fmla="*/ 551544 h 1171488"/>
                  <a:gd name="connsiteX6" fmla="*/ 413311 w 464863"/>
                  <a:gd name="connsiteY6" fmla="*/ 395170 h 1171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4863" h="1171488">
                    <a:moveTo>
                      <a:pt x="408064" y="0"/>
                    </a:moveTo>
                    <a:cubicBezTo>
                      <a:pt x="408064" y="0"/>
                      <a:pt x="257341" y="19875"/>
                      <a:pt x="100967" y="187648"/>
                    </a:cubicBezTo>
                    <a:cubicBezTo>
                      <a:pt x="-55406" y="355421"/>
                      <a:pt x="12793" y="753518"/>
                      <a:pt x="27018" y="835941"/>
                    </a:cubicBezTo>
                    <a:cubicBezTo>
                      <a:pt x="41243" y="918365"/>
                      <a:pt x="63942" y="1171488"/>
                      <a:pt x="63942" y="1171488"/>
                    </a:cubicBezTo>
                    <a:lnTo>
                      <a:pt x="464863" y="1037814"/>
                    </a:lnTo>
                    <a:cubicBezTo>
                      <a:pt x="464863" y="1037814"/>
                      <a:pt x="399489" y="591394"/>
                      <a:pt x="393739" y="551544"/>
                    </a:cubicBezTo>
                    <a:cubicBezTo>
                      <a:pt x="390914" y="531467"/>
                      <a:pt x="401810" y="460444"/>
                      <a:pt x="413311" y="395170"/>
                    </a:cubicBezTo>
                  </a:path>
                </a:pathLst>
              </a:custGeom>
              <a:solidFill>
                <a:srgbClr val="006D3F"/>
              </a:solidFill>
              <a:ln w="1008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id="{21404FB3-D2D3-48EF-8B50-0F5FC17BD3B0}"/>
                  </a:ext>
                </a:extLst>
              </p:cNvPr>
              <p:cNvSpPr/>
              <p:nvPr/>
            </p:nvSpPr>
            <p:spPr>
              <a:xfrm>
                <a:off x="9152588" y="4000291"/>
                <a:ext cx="482334" cy="297102"/>
              </a:xfrm>
              <a:custGeom>
                <a:avLst/>
                <a:gdLst>
                  <a:gd name="connsiteX0" fmla="*/ 4538 w 482334"/>
                  <a:gd name="connsiteY0" fmla="*/ 71382 h 297102"/>
                  <a:gd name="connsiteX1" fmla="*/ 64262 w 482334"/>
                  <a:gd name="connsiteY1" fmla="*/ 296056 h 297102"/>
                  <a:gd name="connsiteX2" fmla="*/ 428259 w 482334"/>
                  <a:gd name="connsiteY2" fmla="*/ 216457 h 297102"/>
                  <a:gd name="connsiteX3" fmla="*/ 482334 w 482334"/>
                  <a:gd name="connsiteY3" fmla="*/ 190831 h 297102"/>
                  <a:gd name="connsiteX4" fmla="*/ 436834 w 482334"/>
                  <a:gd name="connsiteY4" fmla="*/ 6008 h 297102"/>
                  <a:gd name="connsiteX5" fmla="*/ 18864 w 482334"/>
                  <a:gd name="connsiteY5" fmla="*/ 40108 h 297102"/>
                  <a:gd name="connsiteX6" fmla="*/ 4639 w 482334"/>
                  <a:gd name="connsiteY6" fmla="*/ 71382 h 297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2334" h="297102">
                    <a:moveTo>
                      <a:pt x="4538" y="71382"/>
                    </a:moveTo>
                    <a:cubicBezTo>
                      <a:pt x="4538" y="71382"/>
                      <a:pt x="44388" y="284656"/>
                      <a:pt x="64262" y="296056"/>
                    </a:cubicBezTo>
                    <a:cubicBezTo>
                      <a:pt x="84137" y="307456"/>
                      <a:pt x="394160" y="222106"/>
                      <a:pt x="428259" y="216457"/>
                    </a:cubicBezTo>
                    <a:cubicBezTo>
                      <a:pt x="462359" y="210807"/>
                      <a:pt x="482334" y="219281"/>
                      <a:pt x="482334" y="190831"/>
                    </a:cubicBezTo>
                    <a:cubicBezTo>
                      <a:pt x="482334" y="162382"/>
                      <a:pt x="453884" y="28708"/>
                      <a:pt x="436834" y="6008"/>
                    </a:cubicBezTo>
                    <a:cubicBezTo>
                      <a:pt x="419785" y="-16691"/>
                      <a:pt x="50138" y="31633"/>
                      <a:pt x="18864" y="40108"/>
                    </a:cubicBezTo>
                    <a:cubicBezTo>
                      <a:pt x="-12411" y="48683"/>
                      <a:pt x="4639" y="71382"/>
                      <a:pt x="4639" y="71382"/>
                    </a:cubicBezTo>
                    <a:close/>
                  </a:path>
                </a:pathLst>
              </a:custGeom>
              <a:solidFill>
                <a:srgbClr val="006D3F"/>
              </a:solidFill>
              <a:ln w="1008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id="{1E13BA49-1087-4B5A-8DA7-98212DFD4AC5}"/>
                  </a:ext>
                </a:extLst>
              </p:cNvPr>
              <p:cNvSpPr/>
              <p:nvPr/>
            </p:nvSpPr>
            <p:spPr>
              <a:xfrm>
                <a:off x="9384220" y="3787377"/>
                <a:ext cx="205101" cy="218922"/>
              </a:xfrm>
              <a:custGeom>
                <a:avLst/>
                <a:gdLst>
                  <a:gd name="connsiteX0" fmla="*/ 0 w 205101"/>
                  <a:gd name="connsiteY0" fmla="*/ 119449 h 218922"/>
                  <a:gd name="connsiteX1" fmla="*/ 205101 w 205101"/>
                  <a:gd name="connsiteY1" fmla="*/ 218923 h 218922"/>
                  <a:gd name="connsiteX2" fmla="*/ 68603 w 205101"/>
                  <a:gd name="connsiteY2" fmla="*/ 0 h 218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5101" h="218922">
                    <a:moveTo>
                      <a:pt x="0" y="119449"/>
                    </a:moveTo>
                    <a:cubicBezTo>
                      <a:pt x="115010" y="165251"/>
                      <a:pt x="205101" y="218923"/>
                      <a:pt x="205101" y="218923"/>
                    </a:cubicBezTo>
                    <a:cubicBezTo>
                      <a:pt x="205101" y="218923"/>
                      <a:pt x="108452" y="36924"/>
                      <a:pt x="68603" y="0"/>
                    </a:cubicBezTo>
                  </a:path>
                </a:pathLst>
              </a:custGeom>
              <a:noFill/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id="{539EAB4D-45B2-4DE9-ABE8-A09408EE8A7F}"/>
                  </a:ext>
                </a:extLst>
              </p:cNvPr>
              <p:cNvSpPr/>
              <p:nvPr/>
            </p:nvSpPr>
            <p:spPr>
              <a:xfrm>
                <a:off x="9330549" y="3886851"/>
                <a:ext cx="33796" cy="12308"/>
              </a:xfrm>
              <a:custGeom>
                <a:avLst/>
                <a:gdLst>
                  <a:gd name="connsiteX0" fmla="*/ 0 w 33796"/>
                  <a:gd name="connsiteY0" fmla="*/ 0 h 12308"/>
                  <a:gd name="connsiteX1" fmla="*/ 33797 w 33796"/>
                  <a:gd name="connsiteY1" fmla="*/ 12308 h 12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3796" h="12308">
                    <a:moveTo>
                      <a:pt x="0" y="0"/>
                    </a:moveTo>
                    <a:cubicBezTo>
                      <a:pt x="11400" y="3934"/>
                      <a:pt x="22699" y="8071"/>
                      <a:pt x="33797" y="12308"/>
                    </a:cubicBezTo>
                  </a:path>
                </a:pathLst>
              </a:custGeom>
              <a:noFill/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A058F390-33D6-49F2-A2F5-010627CD0D2A}"/>
                </a:ext>
              </a:extLst>
            </p:cNvPr>
            <p:cNvSpPr/>
            <p:nvPr/>
          </p:nvSpPr>
          <p:spPr>
            <a:xfrm>
              <a:off x="10263139" y="4734192"/>
              <a:ext cx="182099" cy="83533"/>
            </a:xfrm>
            <a:custGeom>
              <a:avLst/>
              <a:gdLst>
                <a:gd name="connsiteX0" fmla="*/ 0 w 182099"/>
                <a:gd name="connsiteY0" fmla="*/ 83534 h 83533"/>
                <a:gd name="connsiteX1" fmla="*/ 182099 w 182099"/>
                <a:gd name="connsiteY1" fmla="*/ 0 h 83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2099" h="83533">
                  <a:moveTo>
                    <a:pt x="0" y="83534"/>
                  </a:moveTo>
                  <a:cubicBezTo>
                    <a:pt x="73546" y="57303"/>
                    <a:pt x="141240" y="28450"/>
                    <a:pt x="182099" y="0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BE16B5F2-BF5A-4497-A52B-BF3AAB0AE878}"/>
                </a:ext>
              </a:extLst>
            </p:cNvPr>
            <p:cNvSpPr/>
            <p:nvPr/>
          </p:nvSpPr>
          <p:spPr>
            <a:xfrm>
              <a:off x="9916293" y="4831749"/>
              <a:ext cx="306189" cy="87266"/>
            </a:xfrm>
            <a:custGeom>
              <a:avLst/>
              <a:gdLst>
                <a:gd name="connsiteX0" fmla="*/ 0 w 306189"/>
                <a:gd name="connsiteY0" fmla="*/ 87267 h 87266"/>
                <a:gd name="connsiteX1" fmla="*/ 306189 w 306189"/>
                <a:gd name="connsiteY1" fmla="*/ 0 h 87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6189" h="87266">
                  <a:moveTo>
                    <a:pt x="0" y="87267"/>
                  </a:moveTo>
                  <a:cubicBezTo>
                    <a:pt x="0" y="87267"/>
                    <a:pt x="157080" y="50040"/>
                    <a:pt x="306189" y="0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F52DEF3F-B3B0-42D6-B5FF-C93499DD6EBE}"/>
                </a:ext>
              </a:extLst>
            </p:cNvPr>
            <p:cNvSpPr/>
            <p:nvPr/>
          </p:nvSpPr>
          <p:spPr>
            <a:xfrm>
              <a:off x="10277465" y="4722388"/>
              <a:ext cx="299631" cy="119852"/>
            </a:xfrm>
            <a:custGeom>
              <a:avLst/>
              <a:gdLst>
                <a:gd name="connsiteX0" fmla="*/ 299632 w 299631"/>
                <a:gd name="connsiteY0" fmla="*/ 0 h 119852"/>
                <a:gd name="connsiteX1" fmla="*/ 0 w 299631"/>
                <a:gd name="connsiteY1" fmla="*/ 119853 h 11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9631" h="119852">
                  <a:moveTo>
                    <a:pt x="299632" y="0"/>
                  </a:moveTo>
                  <a:cubicBezTo>
                    <a:pt x="222353" y="38539"/>
                    <a:pt x="99978" y="94833"/>
                    <a:pt x="0" y="119853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4C3EBC18-66D6-46EE-923B-D9BD983648BF}"/>
                </a:ext>
              </a:extLst>
            </p:cNvPr>
            <p:cNvSpPr/>
            <p:nvPr/>
          </p:nvSpPr>
          <p:spPr>
            <a:xfrm>
              <a:off x="10610691" y="4683043"/>
              <a:ext cx="42170" cy="22295"/>
            </a:xfrm>
            <a:custGeom>
              <a:avLst/>
              <a:gdLst>
                <a:gd name="connsiteX0" fmla="*/ 42171 w 42170"/>
                <a:gd name="connsiteY0" fmla="*/ 0 h 22295"/>
                <a:gd name="connsiteX1" fmla="*/ 0 w 42170"/>
                <a:gd name="connsiteY1" fmla="*/ 22296 h 2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170" h="22295">
                  <a:moveTo>
                    <a:pt x="42171" y="0"/>
                  </a:moveTo>
                  <a:cubicBezTo>
                    <a:pt x="42171" y="0"/>
                    <a:pt x="26331" y="8777"/>
                    <a:pt x="0" y="22296"/>
                  </a:cubicBezTo>
                </a:path>
              </a:pathLst>
            </a:custGeom>
            <a:noFill/>
            <a:ln w="1008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1" name="Рисунок 1">
            <a:extLst>
              <a:ext uri="{FF2B5EF4-FFF2-40B4-BE49-F238E27FC236}">
                <a16:creationId xmlns:a16="http://schemas.microsoft.com/office/drawing/2014/main" id="{0EB4A8C4-8BAD-433F-A994-3E08666DDA67}"/>
              </a:ext>
            </a:extLst>
          </p:cNvPr>
          <p:cNvGrpSpPr/>
          <p:nvPr/>
        </p:nvGrpSpPr>
        <p:grpSpPr>
          <a:xfrm>
            <a:off x="7368644" y="868621"/>
            <a:ext cx="2512690" cy="2398457"/>
            <a:chOff x="7368644" y="868621"/>
            <a:chExt cx="2512690" cy="2398457"/>
          </a:xfrm>
        </p:grpSpPr>
        <p:grpSp>
          <p:nvGrpSpPr>
            <p:cNvPr id="52" name="Рисунок 1">
              <a:extLst>
                <a:ext uri="{FF2B5EF4-FFF2-40B4-BE49-F238E27FC236}">
                  <a16:creationId xmlns:a16="http://schemas.microsoft.com/office/drawing/2014/main" id="{0EB4A8C4-8BAD-433F-A994-3E08666DDA67}"/>
                </a:ext>
              </a:extLst>
            </p:cNvPr>
            <p:cNvGrpSpPr/>
            <p:nvPr/>
          </p:nvGrpSpPr>
          <p:grpSpPr>
            <a:xfrm>
              <a:off x="7368644" y="930968"/>
              <a:ext cx="2473748" cy="2336109"/>
              <a:chOff x="7368644" y="930968"/>
              <a:chExt cx="2473748" cy="2336109"/>
            </a:xfrm>
            <a:solidFill>
              <a:srgbClr val="263238"/>
            </a:solidFill>
          </p:grpSpPr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46B9C7B1-D673-43F8-92DE-60D9B6F3996D}"/>
                  </a:ext>
                </a:extLst>
              </p:cNvPr>
              <p:cNvSpPr/>
              <p:nvPr/>
            </p:nvSpPr>
            <p:spPr>
              <a:xfrm>
                <a:off x="7368644" y="930968"/>
                <a:ext cx="2363383" cy="2336109"/>
              </a:xfrm>
              <a:custGeom>
                <a:avLst/>
                <a:gdLst>
                  <a:gd name="connsiteX0" fmla="*/ 624156 w 2363383"/>
                  <a:gd name="connsiteY0" fmla="*/ 143483 h 2336109"/>
                  <a:gd name="connsiteX1" fmla="*/ 248356 w 2363383"/>
                  <a:gd name="connsiteY1" fmla="*/ 2001702 h 2336109"/>
                  <a:gd name="connsiteX2" fmla="*/ 594193 w 2363383"/>
                  <a:gd name="connsiteY2" fmla="*/ 2282165 h 2336109"/>
                  <a:gd name="connsiteX3" fmla="*/ 1679525 w 2363383"/>
                  <a:gd name="connsiteY3" fmla="*/ 1716094 h 2336109"/>
                  <a:gd name="connsiteX4" fmla="*/ 2088113 w 2363383"/>
                  <a:gd name="connsiteY4" fmla="*/ 1083438 h 2336109"/>
                  <a:gd name="connsiteX5" fmla="*/ 2351728 w 2363383"/>
                  <a:gd name="connsiteY5" fmla="*/ 767160 h 2336109"/>
                  <a:gd name="connsiteX6" fmla="*/ 1074713 w 2363383"/>
                  <a:gd name="connsiteY6" fmla="*/ 12936 h 2336109"/>
                  <a:gd name="connsiteX7" fmla="*/ 624156 w 2363383"/>
                  <a:gd name="connsiteY7" fmla="*/ 143382 h 233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63383" h="2336109">
                    <a:moveTo>
                      <a:pt x="624156" y="143483"/>
                    </a:moveTo>
                    <a:cubicBezTo>
                      <a:pt x="-52486" y="469446"/>
                      <a:pt x="-180914" y="1426450"/>
                      <a:pt x="248356" y="2001702"/>
                    </a:cubicBezTo>
                    <a:cubicBezTo>
                      <a:pt x="338044" y="2121958"/>
                      <a:pt x="455374" y="2223349"/>
                      <a:pt x="594193" y="2282165"/>
                    </a:cubicBezTo>
                    <a:cubicBezTo>
                      <a:pt x="1068559" y="2483332"/>
                      <a:pt x="1448395" y="2083420"/>
                      <a:pt x="1679525" y="1716094"/>
                    </a:cubicBezTo>
                    <a:cubicBezTo>
                      <a:pt x="2048566" y="1129543"/>
                      <a:pt x="2094671" y="984570"/>
                      <a:pt x="2088113" y="1083438"/>
                    </a:cubicBezTo>
                    <a:cubicBezTo>
                      <a:pt x="2081556" y="1182306"/>
                      <a:pt x="2252860" y="1287732"/>
                      <a:pt x="2351728" y="767160"/>
                    </a:cubicBezTo>
                    <a:cubicBezTo>
                      <a:pt x="2478038" y="101615"/>
                      <a:pt x="1546355" y="-49714"/>
                      <a:pt x="1074713" y="12936"/>
                    </a:cubicBezTo>
                    <a:cubicBezTo>
                      <a:pt x="916625" y="33921"/>
                      <a:pt x="763379" y="76293"/>
                      <a:pt x="624156" y="143382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Полилиния: фигура 53">
                <a:extLst>
                  <a:ext uri="{FF2B5EF4-FFF2-40B4-BE49-F238E27FC236}">
                    <a16:creationId xmlns:a16="http://schemas.microsoft.com/office/drawing/2014/main" id="{40FEF84B-6650-493E-8749-EFC9A555D66C}"/>
                  </a:ext>
                </a:extLst>
              </p:cNvPr>
              <p:cNvSpPr/>
              <p:nvPr/>
            </p:nvSpPr>
            <p:spPr>
              <a:xfrm>
                <a:off x="9479310" y="2105148"/>
                <a:ext cx="211850" cy="273411"/>
              </a:xfrm>
              <a:custGeom>
                <a:avLst/>
                <a:gdLst>
                  <a:gd name="connsiteX0" fmla="*/ 28092 w 211850"/>
                  <a:gd name="connsiteY0" fmla="*/ 93577 h 273411"/>
                  <a:gd name="connsiteX1" fmla="*/ 34044 w 211850"/>
                  <a:gd name="connsiteY1" fmla="*/ 266395 h 273411"/>
                  <a:gd name="connsiteX2" fmla="*/ 183759 w 211850"/>
                  <a:gd name="connsiteY2" fmla="*/ 179835 h 273411"/>
                  <a:gd name="connsiteX3" fmla="*/ 177807 w 211850"/>
                  <a:gd name="connsiteY3" fmla="*/ 7017 h 273411"/>
                  <a:gd name="connsiteX4" fmla="*/ 28092 w 211850"/>
                  <a:gd name="connsiteY4" fmla="*/ 93577 h 273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850" h="273411">
                    <a:moveTo>
                      <a:pt x="28092" y="93577"/>
                    </a:moveTo>
                    <a:cubicBezTo>
                      <a:pt x="-11556" y="165206"/>
                      <a:pt x="-8933" y="242586"/>
                      <a:pt x="34044" y="266395"/>
                    </a:cubicBezTo>
                    <a:cubicBezTo>
                      <a:pt x="77022" y="290204"/>
                      <a:pt x="144010" y="251464"/>
                      <a:pt x="183759" y="179835"/>
                    </a:cubicBezTo>
                    <a:cubicBezTo>
                      <a:pt x="223407" y="108205"/>
                      <a:pt x="220784" y="30826"/>
                      <a:pt x="177807" y="7017"/>
                    </a:cubicBezTo>
                    <a:cubicBezTo>
                      <a:pt x="134829" y="-16792"/>
                      <a:pt x="67841" y="21948"/>
                      <a:pt x="28092" y="93577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Полилиния: фигура 54">
                <a:extLst>
                  <a:ext uri="{FF2B5EF4-FFF2-40B4-BE49-F238E27FC236}">
                    <a16:creationId xmlns:a16="http://schemas.microsoft.com/office/drawing/2014/main" id="{21EF0522-4807-47D6-817C-9E5F859EA30A}"/>
                  </a:ext>
                </a:extLst>
              </p:cNvPr>
              <p:cNvSpPr/>
              <p:nvPr/>
            </p:nvSpPr>
            <p:spPr>
              <a:xfrm>
                <a:off x="9717196" y="2244338"/>
                <a:ext cx="125196" cy="161492"/>
              </a:xfrm>
              <a:custGeom>
                <a:avLst/>
                <a:gdLst>
                  <a:gd name="connsiteX0" fmla="*/ 16594 w 125196"/>
                  <a:gd name="connsiteY0" fmla="*/ 55273 h 161492"/>
                  <a:gd name="connsiteX1" fmla="*/ 20125 w 125196"/>
                  <a:gd name="connsiteY1" fmla="*/ 157369 h 161492"/>
                  <a:gd name="connsiteX2" fmla="*/ 108602 w 125196"/>
                  <a:gd name="connsiteY2" fmla="*/ 106220 h 161492"/>
                  <a:gd name="connsiteX3" fmla="*/ 105071 w 125196"/>
                  <a:gd name="connsiteY3" fmla="*/ 4123 h 161492"/>
                  <a:gd name="connsiteX4" fmla="*/ 16594 w 125196"/>
                  <a:gd name="connsiteY4" fmla="*/ 55273 h 16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196" h="161492">
                    <a:moveTo>
                      <a:pt x="16594" y="55273"/>
                    </a:moveTo>
                    <a:cubicBezTo>
                      <a:pt x="-6811" y="97645"/>
                      <a:pt x="-5298" y="143346"/>
                      <a:pt x="20125" y="157369"/>
                    </a:cubicBezTo>
                    <a:cubicBezTo>
                      <a:pt x="45548" y="171392"/>
                      <a:pt x="85096" y="148491"/>
                      <a:pt x="108602" y="106220"/>
                    </a:cubicBezTo>
                    <a:cubicBezTo>
                      <a:pt x="132008" y="63848"/>
                      <a:pt x="130495" y="18147"/>
                      <a:pt x="105071" y="4123"/>
                    </a:cubicBezTo>
                    <a:cubicBezTo>
                      <a:pt x="79648" y="-9900"/>
                      <a:pt x="40101" y="13001"/>
                      <a:pt x="16594" y="5527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56" name="Рисунок 1">
              <a:extLst>
                <a:ext uri="{FF2B5EF4-FFF2-40B4-BE49-F238E27FC236}">
                  <a16:creationId xmlns:a16="http://schemas.microsoft.com/office/drawing/2014/main" id="{0EB4A8C4-8BAD-433F-A994-3E08666DDA67}"/>
                </a:ext>
              </a:extLst>
            </p:cNvPr>
            <p:cNvGrpSpPr/>
            <p:nvPr/>
          </p:nvGrpSpPr>
          <p:grpSpPr>
            <a:xfrm>
              <a:off x="7407630" y="868621"/>
              <a:ext cx="2473704" cy="2336109"/>
              <a:chOff x="7407630" y="868621"/>
              <a:chExt cx="2473704" cy="2336109"/>
            </a:xfrm>
            <a:solidFill>
              <a:srgbClr val="FFFFFF"/>
            </a:solidFill>
          </p:grpSpPr>
          <p:sp>
            <p:nvSpPr>
              <p:cNvPr id="57" name="Полилиния: фигура 56">
                <a:extLst>
                  <a:ext uri="{FF2B5EF4-FFF2-40B4-BE49-F238E27FC236}">
                    <a16:creationId xmlns:a16="http://schemas.microsoft.com/office/drawing/2014/main" id="{E6586241-5BB8-4A5E-8F10-50B9C9444F20}"/>
                  </a:ext>
                </a:extLst>
              </p:cNvPr>
              <p:cNvSpPr/>
              <p:nvPr/>
            </p:nvSpPr>
            <p:spPr>
              <a:xfrm>
                <a:off x="7407630" y="868621"/>
                <a:ext cx="2363356" cy="2336109"/>
              </a:xfrm>
              <a:custGeom>
                <a:avLst/>
                <a:gdLst>
                  <a:gd name="connsiteX0" fmla="*/ 624112 w 2363356"/>
                  <a:gd name="connsiteY0" fmla="*/ 143483 h 2336109"/>
                  <a:gd name="connsiteX1" fmla="*/ 248312 w 2363356"/>
                  <a:gd name="connsiteY1" fmla="*/ 2001702 h 2336109"/>
                  <a:gd name="connsiteX2" fmla="*/ 594149 w 2363356"/>
                  <a:gd name="connsiteY2" fmla="*/ 2282166 h 2336109"/>
                  <a:gd name="connsiteX3" fmla="*/ 1679481 w 2363356"/>
                  <a:gd name="connsiteY3" fmla="*/ 1716094 h 2336109"/>
                  <a:gd name="connsiteX4" fmla="*/ 2088069 w 2363356"/>
                  <a:gd name="connsiteY4" fmla="*/ 1083438 h 2336109"/>
                  <a:gd name="connsiteX5" fmla="*/ 2351684 w 2363356"/>
                  <a:gd name="connsiteY5" fmla="*/ 767160 h 2336109"/>
                  <a:gd name="connsiteX6" fmla="*/ 1074669 w 2363356"/>
                  <a:gd name="connsiteY6" fmla="*/ 12936 h 2336109"/>
                  <a:gd name="connsiteX7" fmla="*/ 624112 w 2363356"/>
                  <a:gd name="connsiteY7" fmla="*/ 143382 h 233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63356" h="2336109">
                    <a:moveTo>
                      <a:pt x="624112" y="143483"/>
                    </a:moveTo>
                    <a:cubicBezTo>
                      <a:pt x="-52530" y="469446"/>
                      <a:pt x="-180857" y="1426450"/>
                      <a:pt x="248312" y="2001702"/>
                    </a:cubicBezTo>
                    <a:cubicBezTo>
                      <a:pt x="337999" y="2121959"/>
                      <a:pt x="455330" y="2223349"/>
                      <a:pt x="594149" y="2282166"/>
                    </a:cubicBezTo>
                    <a:cubicBezTo>
                      <a:pt x="1068515" y="2483332"/>
                      <a:pt x="1448351" y="2083420"/>
                      <a:pt x="1679481" y="1716094"/>
                    </a:cubicBezTo>
                    <a:cubicBezTo>
                      <a:pt x="2048522" y="1129543"/>
                      <a:pt x="2094627" y="984570"/>
                      <a:pt x="2088069" y="1083438"/>
                    </a:cubicBezTo>
                    <a:cubicBezTo>
                      <a:pt x="2081512" y="1182306"/>
                      <a:pt x="2252816" y="1287732"/>
                      <a:pt x="2351684" y="767160"/>
                    </a:cubicBezTo>
                    <a:cubicBezTo>
                      <a:pt x="2478094" y="101615"/>
                      <a:pt x="1546311" y="-49714"/>
                      <a:pt x="1074669" y="12936"/>
                    </a:cubicBezTo>
                    <a:cubicBezTo>
                      <a:pt x="916581" y="33921"/>
                      <a:pt x="763335" y="76293"/>
                      <a:pt x="624112" y="143382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Полилиния: фигура 57">
                <a:extLst>
                  <a:ext uri="{FF2B5EF4-FFF2-40B4-BE49-F238E27FC236}">
                    <a16:creationId xmlns:a16="http://schemas.microsoft.com/office/drawing/2014/main" id="{F18538B9-1081-47F3-B2CD-F2CABAE4163F}"/>
                  </a:ext>
                </a:extLst>
              </p:cNvPr>
              <p:cNvSpPr/>
              <p:nvPr/>
            </p:nvSpPr>
            <p:spPr>
              <a:xfrm>
                <a:off x="9518252" y="2042800"/>
                <a:ext cx="211850" cy="273411"/>
              </a:xfrm>
              <a:custGeom>
                <a:avLst/>
                <a:gdLst>
                  <a:gd name="connsiteX0" fmla="*/ 28092 w 211850"/>
                  <a:gd name="connsiteY0" fmla="*/ 93577 h 273411"/>
                  <a:gd name="connsiteX1" fmla="*/ 34044 w 211850"/>
                  <a:gd name="connsiteY1" fmla="*/ 266395 h 273411"/>
                  <a:gd name="connsiteX2" fmla="*/ 183759 w 211850"/>
                  <a:gd name="connsiteY2" fmla="*/ 179835 h 273411"/>
                  <a:gd name="connsiteX3" fmla="*/ 177807 w 211850"/>
                  <a:gd name="connsiteY3" fmla="*/ 7017 h 273411"/>
                  <a:gd name="connsiteX4" fmla="*/ 28092 w 211850"/>
                  <a:gd name="connsiteY4" fmla="*/ 93577 h 273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850" h="273411">
                    <a:moveTo>
                      <a:pt x="28092" y="93577"/>
                    </a:moveTo>
                    <a:cubicBezTo>
                      <a:pt x="-11556" y="165206"/>
                      <a:pt x="-8933" y="242586"/>
                      <a:pt x="34044" y="266395"/>
                    </a:cubicBezTo>
                    <a:cubicBezTo>
                      <a:pt x="77022" y="290204"/>
                      <a:pt x="144010" y="251464"/>
                      <a:pt x="183759" y="179835"/>
                    </a:cubicBezTo>
                    <a:cubicBezTo>
                      <a:pt x="223407" y="108205"/>
                      <a:pt x="220784" y="30826"/>
                      <a:pt x="177807" y="7017"/>
                    </a:cubicBezTo>
                    <a:cubicBezTo>
                      <a:pt x="134829" y="-16792"/>
                      <a:pt x="67841" y="21948"/>
                      <a:pt x="28092" y="9357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8D4A1196-27B5-41CD-A502-1C5FCF48FE56}"/>
                  </a:ext>
                </a:extLst>
              </p:cNvPr>
              <p:cNvSpPr/>
              <p:nvPr/>
            </p:nvSpPr>
            <p:spPr>
              <a:xfrm>
                <a:off x="9756138" y="2181991"/>
                <a:ext cx="125196" cy="161492"/>
              </a:xfrm>
              <a:custGeom>
                <a:avLst/>
                <a:gdLst>
                  <a:gd name="connsiteX0" fmla="*/ 16594 w 125196"/>
                  <a:gd name="connsiteY0" fmla="*/ 55273 h 161492"/>
                  <a:gd name="connsiteX1" fmla="*/ 20125 w 125196"/>
                  <a:gd name="connsiteY1" fmla="*/ 157369 h 161492"/>
                  <a:gd name="connsiteX2" fmla="*/ 108602 w 125196"/>
                  <a:gd name="connsiteY2" fmla="*/ 106220 h 161492"/>
                  <a:gd name="connsiteX3" fmla="*/ 105071 w 125196"/>
                  <a:gd name="connsiteY3" fmla="*/ 4123 h 161492"/>
                  <a:gd name="connsiteX4" fmla="*/ 16594 w 125196"/>
                  <a:gd name="connsiteY4" fmla="*/ 55273 h 16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196" h="161492">
                    <a:moveTo>
                      <a:pt x="16594" y="55273"/>
                    </a:moveTo>
                    <a:cubicBezTo>
                      <a:pt x="-6811" y="97645"/>
                      <a:pt x="-5298" y="143346"/>
                      <a:pt x="20125" y="157369"/>
                    </a:cubicBezTo>
                    <a:cubicBezTo>
                      <a:pt x="45549" y="171392"/>
                      <a:pt x="85096" y="148491"/>
                      <a:pt x="108602" y="106220"/>
                    </a:cubicBezTo>
                    <a:cubicBezTo>
                      <a:pt x="132008" y="63848"/>
                      <a:pt x="130494" y="18147"/>
                      <a:pt x="105071" y="4123"/>
                    </a:cubicBezTo>
                    <a:cubicBezTo>
                      <a:pt x="79648" y="-9900"/>
                      <a:pt x="40101" y="13001"/>
                      <a:pt x="16594" y="5527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61" name="Полилиния: фигура 60">
            <a:extLst>
              <a:ext uri="{FF2B5EF4-FFF2-40B4-BE49-F238E27FC236}">
                <a16:creationId xmlns:a16="http://schemas.microsoft.com/office/drawing/2014/main" id="{F70382F6-F14F-4DA0-9EAB-9EB2DC44FB64}"/>
              </a:ext>
            </a:extLst>
          </p:cNvPr>
          <p:cNvSpPr/>
          <p:nvPr/>
        </p:nvSpPr>
        <p:spPr>
          <a:xfrm>
            <a:off x="7674505" y="1207419"/>
            <a:ext cx="918668" cy="918667"/>
          </a:xfrm>
          <a:custGeom>
            <a:avLst/>
            <a:gdLst>
              <a:gd name="connsiteX0" fmla="*/ 0 w 918668"/>
              <a:gd name="connsiteY0" fmla="*/ 525919 h 918667"/>
              <a:gd name="connsiteX1" fmla="*/ 0 w 918668"/>
              <a:gd name="connsiteY1" fmla="*/ 392648 h 918667"/>
              <a:gd name="connsiteX2" fmla="*/ 81112 w 918668"/>
              <a:gd name="connsiteY2" fmla="*/ 392648 h 918667"/>
              <a:gd name="connsiteX3" fmla="*/ 98364 w 918668"/>
              <a:gd name="connsiteY3" fmla="*/ 327880 h 918667"/>
              <a:gd name="connsiteX4" fmla="*/ 28248 w 918668"/>
              <a:gd name="connsiteY4" fmla="*/ 287424 h 918667"/>
              <a:gd name="connsiteX5" fmla="*/ 94934 w 918668"/>
              <a:gd name="connsiteY5" fmla="*/ 172011 h 918667"/>
              <a:gd name="connsiteX6" fmla="*/ 165251 w 918668"/>
              <a:gd name="connsiteY6" fmla="*/ 212567 h 918667"/>
              <a:gd name="connsiteX7" fmla="*/ 212668 w 918668"/>
              <a:gd name="connsiteY7" fmla="*/ 165150 h 918667"/>
              <a:gd name="connsiteX8" fmla="*/ 172112 w 918668"/>
              <a:gd name="connsiteY8" fmla="*/ 94934 h 918667"/>
              <a:gd name="connsiteX9" fmla="*/ 287525 w 918668"/>
              <a:gd name="connsiteY9" fmla="*/ 28248 h 918667"/>
              <a:gd name="connsiteX10" fmla="*/ 328081 w 918668"/>
              <a:gd name="connsiteY10" fmla="*/ 98364 h 918667"/>
              <a:gd name="connsiteX11" fmla="*/ 392850 w 918668"/>
              <a:gd name="connsiteY11" fmla="*/ 81112 h 918667"/>
              <a:gd name="connsiteX12" fmla="*/ 392850 w 918668"/>
              <a:gd name="connsiteY12" fmla="*/ 0 h 918667"/>
              <a:gd name="connsiteX13" fmla="*/ 526121 w 918668"/>
              <a:gd name="connsiteY13" fmla="*/ 0 h 918667"/>
              <a:gd name="connsiteX14" fmla="*/ 526121 w 918668"/>
              <a:gd name="connsiteY14" fmla="*/ 81112 h 918667"/>
              <a:gd name="connsiteX15" fmla="*/ 590889 w 918668"/>
              <a:gd name="connsiteY15" fmla="*/ 98364 h 918667"/>
              <a:gd name="connsiteX16" fmla="*/ 631345 w 918668"/>
              <a:gd name="connsiteY16" fmla="*/ 28248 h 918667"/>
              <a:gd name="connsiteX17" fmla="*/ 746758 w 918668"/>
              <a:gd name="connsiteY17" fmla="*/ 94934 h 918667"/>
              <a:gd name="connsiteX18" fmla="*/ 706202 w 918668"/>
              <a:gd name="connsiteY18" fmla="*/ 165251 h 918667"/>
              <a:gd name="connsiteX19" fmla="*/ 753619 w 918668"/>
              <a:gd name="connsiteY19" fmla="*/ 212668 h 918667"/>
              <a:gd name="connsiteX20" fmla="*/ 823835 w 918668"/>
              <a:gd name="connsiteY20" fmla="*/ 172112 h 918667"/>
              <a:gd name="connsiteX21" fmla="*/ 890420 w 918668"/>
              <a:gd name="connsiteY21" fmla="*/ 287525 h 918667"/>
              <a:gd name="connsiteX22" fmla="*/ 820304 w 918668"/>
              <a:gd name="connsiteY22" fmla="*/ 328081 h 918667"/>
              <a:gd name="connsiteX23" fmla="*/ 837556 w 918668"/>
              <a:gd name="connsiteY23" fmla="*/ 392850 h 918667"/>
              <a:gd name="connsiteX24" fmla="*/ 918668 w 918668"/>
              <a:gd name="connsiteY24" fmla="*/ 392850 h 918667"/>
              <a:gd name="connsiteX25" fmla="*/ 918668 w 918668"/>
              <a:gd name="connsiteY25" fmla="*/ 526121 h 918667"/>
              <a:gd name="connsiteX26" fmla="*/ 837556 w 918668"/>
              <a:gd name="connsiteY26" fmla="*/ 526121 h 918667"/>
              <a:gd name="connsiteX27" fmla="*/ 820304 w 918668"/>
              <a:gd name="connsiteY27" fmla="*/ 590889 h 918667"/>
              <a:gd name="connsiteX28" fmla="*/ 890420 w 918668"/>
              <a:gd name="connsiteY28" fmla="*/ 631345 h 918667"/>
              <a:gd name="connsiteX29" fmla="*/ 823835 w 918668"/>
              <a:gd name="connsiteY29" fmla="*/ 746758 h 918667"/>
              <a:gd name="connsiteX30" fmla="*/ 753518 w 918668"/>
              <a:gd name="connsiteY30" fmla="*/ 706202 h 918667"/>
              <a:gd name="connsiteX31" fmla="*/ 706101 w 918668"/>
              <a:gd name="connsiteY31" fmla="*/ 753618 h 918667"/>
              <a:gd name="connsiteX32" fmla="*/ 746657 w 918668"/>
              <a:gd name="connsiteY32" fmla="*/ 823835 h 918667"/>
              <a:gd name="connsiteX33" fmla="*/ 631244 w 918668"/>
              <a:gd name="connsiteY33" fmla="*/ 890420 h 918667"/>
              <a:gd name="connsiteX34" fmla="*/ 590688 w 918668"/>
              <a:gd name="connsiteY34" fmla="*/ 820304 h 918667"/>
              <a:gd name="connsiteX35" fmla="*/ 525919 w 918668"/>
              <a:gd name="connsiteY35" fmla="*/ 837556 h 918667"/>
              <a:gd name="connsiteX36" fmla="*/ 525919 w 918668"/>
              <a:gd name="connsiteY36" fmla="*/ 918668 h 918667"/>
              <a:gd name="connsiteX37" fmla="*/ 392648 w 918668"/>
              <a:gd name="connsiteY37" fmla="*/ 918668 h 918667"/>
              <a:gd name="connsiteX38" fmla="*/ 392648 w 918668"/>
              <a:gd name="connsiteY38" fmla="*/ 837556 h 918667"/>
              <a:gd name="connsiteX39" fmla="*/ 327880 w 918668"/>
              <a:gd name="connsiteY39" fmla="*/ 820304 h 918667"/>
              <a:gd name="connsiteX40" fmla="*/ 287424 w 918668"/>
              <a:gd name="connsiteY40" fmla="*/ 890420 h 918667"/>
              <a:gd name="connsiteX41" fmla="*/ 172011 w 918668"/>
              <a:gd name="connsiteY41" fmla="*/ 823835 h 918667"/>
              <a:gd name="connsiteX42" fmla="*/ 212567 w 918668"/>
              <a:gd name="connsiteY42" fmla="*/ 753518 h 918667"/>
              <a:gd name="connsiteX43" fmla="*/ 165150 w 918668"/>
              <a:gd name="connsiteY43" fmla="*/ 706101 h 918667"/>
              <a:gd name="connsiteX44" fmla="*/ 94934 w 918668"/>
              <a:gd name="connsiteY44" fmla="*/ 746657 h 918667"/>
              <a:gd name="connsiteX45" fmla="*/ 28349 w 918668"/>
              <a:gd name="connsiteY45" fmla="*/ 631244 h 918667"/>
              <a:gd name="connsiteX46" fmla="*/ 98465 w 918668"/>
              <a:gd name="connsiteY46" fmla="*/ 590688 h 918667"/>
              <a:gd name="connsiteX47" fmla="*/ 81213 w 918668"/>
              <a:gd name="connsiteY47" fmla="*/ 525919 h 918667"/>
              <a:gd name="connsiteX48" fmla="*/ 101 w 918668"/>
              <a:gd name="connsiteY48" fmla="*/ 525919 h 918667"/>
              <a:gd name="connsiteX49" fmla="*/ 459334 w 918668"/>
              <a:gd name="connsiteY49" fmla="*/ 707715 h 918667"/>
              <a:gd name="connsiteX50" fmla="*/ 707615 w 918668"/>
              <a:gd name="connsiteY50" fmla="*/ 459435 h 918667"/>
              <a:gd name="connsiteX51" fmla="*/ 459334 w 918668"/>
              <a:gd name="connsiteY51" fmla="*/ 211154 h 918667"/>
              <a:gd name="connsiteX52" fmla="*/ 211054 w 918668"/>
              <a:gd name="connsiteY52" fmla="*/ 459435 h 918667"/>
              <a:gd name="connsiteX53" fmla="*/ 459334 w 918668"/>
              <a:gd name="connsiteY53" fmla="*/ 707715 h 918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918668" h="918667">
                <a:moveTo>
                  <a:pt x="0" y="525919"/>
                </a:moveTo>
                <a:lnTo>
                  <a:pt x="0" y="392648"/>
                </a:lnTo>
                <a:lnTo>
                  <a:pt x="81112" y="392648"/>
                </a:lnTo>
                <a:cubicBezTo>
                  <a:pt x="85047" y="370353"/>
                  <a:pt x="90797" y="348662"/>
                  <a:pt x="98364" y="327880"/>
                </a:cubicBezTo>
                <a:lnTo>
                  <a:pt x="28248" y="287424"/>
                </a:lnTo>
                <a:lnTo>
                  <a:pt x="94934" y="172011"/>
                </a:lnTo>
                <a:lnTo>
                  <a:pt x="165251" y="212567"/>
                </a:lnTo>
                <a:cubicBezTo>
                  <a:pt x="179678" y="195416"/>
                  <a:pt x="195517" y="179577"/>
                  <a:pt x="212668" y="165150"/>
                </a:cubicBezTo>
                <a:lnTo>
                  <a:pt x="172112" y="94934"/>
                </a:lnTo>
                <a:lnTo>
                  <a:pt x="287525" y="28248"/>
                </a:lnTo>
                <a:lnTo>
                  <a:pt x="328081" y="98364"/>
                </a:lnTo>
                <a:cubicBezTo>
                  <a:pt x="348864" y="90797"/>
                  <a:pt x="370554" y="85047"/>
                  <a:pt x="392850" y="81112"/>
                </a:cubicBezTo>
                <a:lnTo>
                  <a:pt x="392850" y="0"/>
                </a:lnTo>
                <a:lnTo>
                  <a:pt x="526121" y="0"/>
                </a:lnTo>
                <a:lnTo>
                  <a:pt x="526121" y="81112"/>
                </a:lnTo>
                <a:cubicBezTo>
                  <a:pt x="548416" y="85047"/>
                  <a:pt x="570107" y="90797"/>
                  <a:pt x="590889" y="98364"/>
                </a:cubicBezTo>
                <a:lnTo>
                  <a:pt x="631345" y="28248"/>
                </a:lnTo>
                <a:lnTo>
                  <a:pt x="746758" y="94934"/>
                </a:lnTo>
                <a:lnTo>
                  <a:pt x="706202" y="165251"/>
                </a:lnTo>
                <a:cubicBezTo>
                  <a:pt x="723353" y="179678"/>
                  <a:pt x="739192" y="195517"/>
                  <a:pt x="753619" y="212668"/>
                </a:cubicBezTo>
                <a:lnTo>
                  <a:pt x="823835" y="172112"/>
                </a:lnTo>
                <a:lnTo>
                  <a:pt x="890420" y="287525"/>
                </a:lnTo>
                <a:lnTo>
                  <a:pt x="820304" y="328081"/>
                </a:lnTo>
                <a:cubicBezTo>
                  <a:pt x="827871" y="348864"/>
                  <a:pt x="833621" y="370554"/>
                  <a:pt x="837556" y="392850"/>
                </a:cubicBezTo>
                <a:lnTo>
                  <a:pt x="918668" y="392850"/>
                </a:lnTo>
                <a:lnTo>
                  <a:pt x="918668" y="526121"/>
                </a:lnTo>
                <a:lnTo>
                  <a:pt x="837556" y="526121"/>
                </a:lnTo>
                <a:cubicBezTo>
                  <a:pt x="833621" y="548416"/>
                  <a:pt x="827871" y="570107"/>
                  <a:pt x="820304" y="590889"/>
                </a:cubicBezTo>
                <a:lnTo>
                  <a:pt x="890420" y="631345"/>
                </a:lnTo>
                <a:lnTo>
                  <a:pt x="823835" y="746758"/>
                </a:lnTo>
                <a:lnTo>
                  <a:pt x="753518" y="706202"/>
                </a:lnTo>
                <a:cubicBezTo>
                  <a:pt x="739091" y="723353"/>
                  <a:pt x="723252" y="739192"/>
                  <a:pt x="706101" y="753618"/>
                </a:cubicBezTo>
                <a:lnTo>
                  <a:pt x="746657" y="823835"/>
                </a:lnTo>
                <a:lnTo>
                  <a:pt x="631244" y="890420"/>
                </a:lnTo>
                <a:lnTo>
                  <a:pt x="590688" y="820304"/>
                </a:lnTo>
                <a:cubicBezTo>
                  <a:pt x="569905" y="827871"/>
                  <a:pt x="548215" y="833621"/>
                  <a:pt x="525919" y="837556"/>
                </a:cubicBezTo>
                <a:lnTo>
                  <a:pt x="525919" y="918668"/>
                </a:lnTo>
                <a:lnTo>
                  <a:pt x="392648" y="918668"/>
                </a:lnTo>
                <a:lnTo>
                  <a:pt x="392648" y="837556"/>
                </a:lnTo>
                <a:cubicBezTo>
                  <a:pt x="370353" y="833621"/>
                  <a:pt x="348662" y="827871"/>
                  <a:pt x="327880" y="820304"/>
                </a:cubicBezTo>
                <a:lnTo>
                  <a:pt x="287424" y="890420"/>
                </a:lnTo>
                <a:lnTo>
                  <a:pt x="172011" y="823835"/>
                </a:lnTo>
                <a:lnTo>
                  <a:pt x="212567" y="753518"/>
                </a:lnTo>
                <a:cubicBezTo>
                  <a:pt x="195416" y="739091"/>
                  <a:pt x="179577" y="723252"/>
                  <a:pt x="165150" y="706101"/>
                </a:cubicBezTo>
                <a:lnTo>
                  <a:pt x="94934" y="746657"/>
                </a:lnTo>
                <a:lnTo>
                  <a:pt x="28349" y="631244"/>
                </a:lnTo>
                <a:lnTo>
                  <a:pt x="98465" y="590688"/>
                </a:lnTo>
                <a:cubicBezTo>
                  <a:pt x="90898" y="569905"/>
                  <a:pt x="85148" y="548215"/>
                  <a:pt x="81213" y="525919"/>
                </a:cubicBezTo>
                <a:lnTo>
                  <a:pt x="101" y="525919"/>
                </a:lnTo>
                <a:close/>
                <a:moveTo>
                  <a:pt x="459334" y="707715"/>
                </a:moveTo>
                <a:cubicBezTo>
                  <a:pt x="596438" y="707715"/>
                  <a:pt x="707615" y="596539"/>
                  <a:pt x="707615" y="459435"/>
                </a:cubicBezTo>
                <a:cubicBezTo>
                  <a:pt x="707615" y="322331"/>
                  <a:pt x="596438" y="211154"/>
                  <a:pt x="459334" y="211154"/>
                </a:cubicBezTo>
                <a:cubicBezTo>
                  <a:pt x="322230" y="211154"/>
                  <a:pt x="211054" y="322331"/>
                  <a:pt x="211054" y="459435"/>
                </a:cubicBezTo>
                <a:cubicBezTo>
                  <a:pt x="211054" y="596539"/>
                  <a:pt x="322230" y="707715"/>
                  <a:pt x="459334" y="707715"/>
                </a:cubicBezTo>
                <a:close/>
              </a:path>
            </a:pathLst>
          </a:custGeom>
          <a:solidFill>
            <a:schemeClr val="accent3"/>
          </a:solidFill>
          <a:ln w="1008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2" name="Полилиния: фигура 61">
            <a:extLst>
              <a:ext uri="{FF2B5EF4-FFF2-40B4-BE49-F238E27FC236}">
                <a16:creationId xmlns:a16="http://schemas.microsoft.com/office/drawing/2014/main" id="{1820FB23-752C-4EBE-90DC-811825E54668}"/>
              </a:ext>
            </a:extLst>
          </p:cNvPr>
          <p:cNvSpPr/>
          <p:nvPr/>
        </p:nvSpPr>
        <p:spPr>
          <a:xfrm>
            <a:off x="7863565" y="2088961"/>
            <a:ext cx="746758" cy="746758"/>
          </a:xfrm>
          <a:custGeom>
            <a:avLst/>
            <a:gdLst>
              <a:gd name="connsiteX0" fmla="*/ 0 w 746758"/>
              <a:gd name="connsiteY0" fmla="*/ 427555 h 746758"/>
              <a:gd name="connsiteX1" fmla="*/ 0 w 746758"/>
              <a:gd name="connsiteY1" fmla="*/ 319203 h 746758"/>
              <a:gd name="connsiteX2" fmla="*/ 65979 w 746758"/>
              <a:gd name="connsiteY2" fmla="*/ 319203 h 746758"/>
              <a:gd name="connsiteX3" fmla="*/ 80003 w 746758"/>
              <a:gd name="connsiteY3" fmla="*/ 266541 h 746758"/>
              <a:gd name="connsiteX4" fmla="*/ 23002 w 746758"/>
              <a:gd name="connsiteY4" fmla="*/ 233652 h 746758"/>
              <a:gd name="connsiteX5" fmla="*/ 77178 w 746758"/>
              <a:gd name="connsiteY5" fmla="*/ 139828 h 746758"/>
              <a:gd name="connsiteX6" fmla="*/ 134279 w 746758"/>
              <a:gd name="connsiteY6" fmla="*/ 172818 h 746758"/>
              <a:gd name="connsiteX7" fmla="*/ 172818 w 746758"/>
              <a:gd name="connsiteY7" fmla="*/ 134279 h 746758"/>
              <a:gd name="connsiteX8" fmla="*/ 139828 w 746758"/>
              <a:gd name="connsiteY8" fmla="*/ 77178 h 746758"/>
              <a:gd name="connsiteX9" fmla="*/ 233652 w 746758"/>
              <a:gd name="connsiteY9" fmla="*/ 23002 h 746758"/>
              <a:gd name="connsiteX10" fmla="*/ 266541 w 746758"/>
              <a:gd name="connsiteY10" fmla="*/ 80003 h 746758"/>
              <a:gd name="connsiteX11" fmla="*/ 319203 w 746758"/>
              <a:gd name="connsiteY11" fmla="*/ 65979 h 746758"/>
              <a:gd name="connsiteX12" fmla="*/ 319203 w 746758"/>
              <a:gd name="connsiteY12" fmla="*/ 0 h 746758"/>
              <a:gd name="connsiteX13" fmla="*/ 427555 w 746758"/>
              <a:gd name="connsiteY13" fmla="*/ 0 h 746758"/>
              <a:gd name="connsiteX14" fmla="*/ 427555 w 746758"/>
              <a:gd name="connsiteY14" fmla="*/ 65979 h 746758"/>
              <a:gd name="connsiteX15" fmla="*/ 480217 w 746758"/>
              <a:gd name="connsiteY15" fmla="*/ 80003 h 746758"/>
              <a:gd name="connsiteX16" fmla="*/ 513106 w 746758"/>
              <a:gd name="connsiteY16" fmla="*/ 23002 h 746758"/>
              <a:gd name="connsiteX17" fmla="*/ 606930 w 746758"/>
              <a:gd name="connsiteY17" fmla="*/ 77178 h 746758"/>
              <a:gd name="connsiteX18" fmla="*/ 573941 w 746758"/>
              <a:gd name="connsiteY18" fmla="*/ 134279 h 746758"/>
              <a:gd name="connsiteX19" fmla="*/ 612479 w 746758"/>
              <a:gd name="connsiteY19" fmla="*/ 172818 h 746758"/>
              <a:gd name="connsiteX20" fmla="*/ 669580 w 746758"/>
              <a:gd name="connsiteY20" fmla="*/ 139828 h 746758"/>
              <a:gd name="connsiteX21" fmla="*/ 723756 w 746758"/>
              <a:gd name="connsiteY21" fmla="*/ 233652 h 746758"/>
              <a:gd name="connsiteX22" fmla="*/ 666756 w 746758"/>
              <a:gd name="connsiteY22" fmla="*/ 266541 h 746758"/>
              <a:gd name="connsiteX23" fmla="*/ 680779 w 746758"/>
              <a:gd name="connsiteY23" fmla="*/ 319203 h 746758"/>
              <a:gd name="connsiteX24" fmla="*/ 746758 w 746758"/>
              <a:gd name="connsiteY24" fmla="*/ 319203 h 746758"/>
              <a:gd name="connsiteX25" fmla="*/ 746758 w 746758"/>
              <a:gd name="connsiteY25" fmla="*/ 427555 h 746758"/>
              <a:gd name="connsiteX26" fmla="*/ 680779 w 746758"/>
              <a:gd name="connsiteY26" fmla="*/ 427555 h 746758"/>
              <a:gd name="connsiteX27" fmla="*/ 666756 w 746758"/>
              <a:gd name="connsiteY27" fmla="*/ 480217 h 746758"/>
              <a:gd name="connsiteX28" fmla="*/ 723756 w 746758"/>
              <a:gd name="connsiteY28" fmla="*/ 513106 h 746758"/>
              <a:gd name="connsiteX29" fmla="*/ 669580 w 746758"/>
              <a:gd name="connsiteY29" fmla="*/ 606930 h 746758"/>
              <a:gd name="connsiteX30" fmla="*/ 612479 w 746758"/>
              <a:gd name="connsiteY30" fmla="*/ 573941 h 746758"/>
              <a:gd name="connsiteX31" fmla="*/ 573941 w 746758"/>
              <a:gd name="connsiteY31" fmla="*/ 612479 h 746758"/>
              <a:gd name="connsiteX32" fmla="*/ 606930 w 746758"/>
              <a:gd name="connsiteY32" fmla="*/ 669580 h 746758"/>
              <a:gd name="connsiteX33" fmla="*/ 513106 w 746758"/>
              <a:gd name="connsiteY33" fmla="*/ 723756 h 746758"/>
              <a:gd name="connsiteX34" fmla="*/ 480217 w 746758"/>
              <a:gd name="connsiteY34" fmla="*/ 666756 h 746758"/>
              <a:gd name="connsiteX35" fmla="*/ 427555 w 746758"/>
              <a:gd name="connsiteY35" fmla="*/ 680779 h 746758"/>
              <a:gd name="connsiteX36" fmla="*/ 427555 w 746758"/>
              <a:gd name="connsiteY36" fmla="*/ 746758 h 746758"/>
              <a:gd name="connsiteX37" fmla="*/ 319203 w 746758"/>
              <a:gd name="connsiteY37" fmla="*/ 746758 h 746758"/>
              <a:gd name="connsiteX38" fmla="*/ 319203 w 746758"/>
              <a:gd name="connsiteY38" fmla="*/ 680779 h 746758"/>
              <a:gd name="connsiteX39" fmla="*/ 266541 w 746758"/>
              <a:gd name="connsiteY39" fmla="*/ 666756 h 746758"/>
              <a:gd name="connsiteX40" fmla="*/ 233652 w 746758"/>
              <a:gd name="connsiteY40" fmla="*/ 723756 h 746758"/>
              <a:gd name="connsiteX41" fmla="*/ 139828 w 746758"/>
              <a:gd name="connsiteY41" fmla="*/ 669580 h 746758"/>
              <a:gd name="connsiteX42" fmla="*/ 172818 w 746758"/>
              <a:gd name="connsiteY42" fmla="*/ 612479 h 746758"/>
              <a:gd name="connsiteX43" fmla="*/ 134279 w 746758"/>
              <a:gd name="connsiteY43" fmla="*/ 573941 h 746758"/>
              <a:gd name="connsiteX44" fmla="*/ 77178 w 746758"/>
              <a:gd name="connsiteY44" fmla="*/ 606930 h 746758"/>
              <a:gd name="connsiteX45" fmla="*/ 23002 w 746758"/>
              <a:gd name="connsiteY45" fmla="*/ 513106 h 746758"/>
              <a:gd name="connsiteX46" fmla="*/ 80003 w 746758"/>
              <a:gd name="connsiteY46" fmla="*/ 480217 h 746758"/>
              <a:gd name="connsiteX47" fmla="*/ 65979 w 746758"/>
              <a:gd name="connsiteY47" fmla="*/ 427555 h 746758"/>
              <a:gd name="connsiteX48" fmla="*/ 0 w 746758"/>
              <a:gd name="connsiteY48" fmla="*/ 427555 h 746758"/>
              <a:gd name="connsiteX49" fmla="*/ 373379 w 746758"/>
              <a:gd name="connsiteY49" fmla="*/ 575353 h 746758"/>
              <a:gd name="connsiteX50" fmla="*/ 575252 w 746758"/>
              <a:gd name="connsiteY50" fmla="*/ 373480 h 746758"/>
              <a:gd name="connsiteX51" fmla="*/ 373379 w 746758"/>
              <a:gd name="connsiteY51" fmla="*/ 171607 h 746758"/>
              <a:gd name="connsiteX52" fmla="*/ 171506 w 746758"/>
              <a:gd name="connsiteY52" fmla="*/ 373480 h 746758"/>
              <a:gd name="connsiteX53" fmla="*/ 373379 w 746758"/>
              <a:gd name="connsiteY53" fmla="*/ 575353 h 746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46758" h="746758">
                <a:moveTo>
                  <a:pt x="0" y="427555"/>
                </a:moveTo>
                <a:lnTo>
                  <a:pt x="0" y="319203"/>
                </a:lnTo>
                <a:lnTo>
                  <a:pt x="65979" y="319203"/>
                </a:lnTo>
                <a:cubicBezTo>
                  <a:pt x="69208" y="301044"/>
                  <a:pt x="73849" y="283389"/>
                  <a:pt x="80003" y="266541"/>
                </a:cubicBezTo>
                <a:lnTo>
                  <a:pt x="23002" y="233652"/>
                </a:lnTo>
                <a:lnTo>
                  <a:pt x="77178" y="139828"/>
                </a:lnTo>
                <a:lnTo>
                  <a:pt x="134279" y="172818"/>
                </a:lnTo>
                <a:cubicBezTo>
                  <a:pt x="145982" y="158896"/>
                  <a:pt x="158895" y="145982"/>
                  <a:pt x="172818" y="134279"/>
                </a:cubicBezTo>
                <a:lnTo>
                  <a:pt x="139828" y="77178"/>
                </a:lnTo>
                <a:lnTo>
                  <a:pt x="233652" y="23002"/>
                </a:lnTo>
                <a:lnTo>
                  <a:pt x="266541" y="80003"/>
                </a:lnTo>
                <a:cubicBezTo>
                  <a:pt x="283490" y="73849"/>
                  <a:pt x="301044" y="69208"/>
                  <a:pt x="319203" y="65979"/>
                </a:cubicBezTo>
                <a:lnTo>
                  <a:pt x="319203" y="0"/>
                </a:lnTo>
                <a:lnTo>
                  <a:pt x="427555" y="0"/>
                </a:lnTo>
                <a:lnTo>
                  <a:pt x="427555" y="65979"/>
                </a:lnTo>
                <a:cubicBezTo>
                  <a:pt x="445714" y="69208"/>
                  <a:pt x="463370" y="73849"/>
                  <a:pt x="480217" y="80003"/>
                </a:cubicBezTo>
                <a:lnTo>
                  <a:pt x="513106" y="23002"/>
                </a:lnTo>
                <a:lnTo>
                  <a:pt x="606930" y="77178"/>
                </a:lnTo>
                <a:lnTo>
                  <a:pt x="573941" y="134279"/>
                </a:lnTo>
                <a:cubicBezTo>
                  <a:pt x="587863" y="145982"/>
                  <a:pt x="600776" y="158896"/>
                  <a:pt x="612479" y="172818"/>
                </a:cubicBezTo>
                <a:lnTo>
                  <a:pt x="669580" y="139828"/>
                </a:lnTo>
                <a:lnTo>
                  <a:pt x="723756" y="233652"/>
                </a:lnTo>
                <a:lnTo>
                  <a:pt x="666756" y="266541"/>
                </a:lnTo>
                <a:cubicBezTo>
                  <a:pt x="672910" y="283490"/>
                  <a:pt x="677551" y="301044"/>
                  <a:pt x="680779" y="319203"/>
                </a:cubicBezTo>
                <a:lnTo>
                  <a:pt x="746758" y="319203"/>
                </a:lnTo>
                <a:lnTo>
                  <a:pt x="746758" y="427555"/>
                </a:lnTo>
                <a:lnTo>
                  <a:pt x="680779" y="427555"/>
                </a:lnTo>
                <a:cubicBezTo>
                  <a:pt x="677551" y="445714"/>
                  <a:pt x="672910" y="463369"/>
                  <a:pt x="666756" y="480217"/>
                </a:cubicBezTo>
                <a:lnTo>
                  <a:pt x="723756" y="513106"/>
                </a:lnTo>
                <a:lnTo>
                  <a:pt x="669580" y="606930"/>
                </a:lnTo>
                <a:lnTo>
                  <a:pt x="612479" y="573941"/>
                </a:lnTo>
                <a:cubicBezTo>
                  <a:pt x="600776" y="587863"/>
                  <a:pt x="587863" y="600776"/>
                  <a:pt x="573941" y="612479"/>
                </a:cubicBezTo>
                <a:lnTo>
                  <a:pt x="606930" y="669580"/>
                </a:lnTo>
                <a:lnTo>
                  <a:pt x="513106" y="723756"/>
                </a:lnTo>
                <a:lnTo>
                  <a:pt x="480217" y="666756"/>
                </a:lnTo>
                <a:cubicBezTo>
                  <a:pt x="463269" y="672910"/>
                  <a:pt x="445714" y="677550"/>
                  <a:pt x="427555" y="680779"/>
                </a:cubicBezTo>
                <a:lnTo>
                  <a:pt x="427555" y="746758"/>
                </a:lnTo>
                <a:lnTo>
                  <a:pt x="319203" y="746758"/>
                </a:lnTo>
                <a:lnTo>
                  <a:pt x="319203" y="680779"/>
                </a:lnTo>
                <a:cubicBezTo>
                  <a:pt x="301044" y="677550"/>
                  <a:pt x="283389" y="672910"/>
                  <a:pt x="266541" y="666756"/>
                </a:cubicBezTo>
                <a:lnTo>
                  <a:pt x="233652" y="723756"/>
                </a:lnTo>
                <a:lnTo>
                  <a:pt x="139828" y="669580"/>
                </a:lnTo>
                <a:lnTo>
                  <a:pt x="172818" y="612479"/>
                </a:lnTo>
                <a:cubicBezTo>
                  <a:pt x="158895" y="600776"/>
                  <a:pt x="145982" y="587863"/>
                  <a:pt x="134279" y="573941"/>
                </a:cubicBezTo>
                <a:lnTo>
                  <a:pt x="77178" y="606930"/>
                </a:lnTo>
                <a:lnTo>
                  <a:pt x="23002" y="513106"/>
                </a:lnTo>
                <a:lnTo>
                  <a:pt x="80003" y="480217"/>
                </a:lnTo>
                <a:cubicBezTo>
                  <a:pt x="73849" y="463269"/>
                  <a:pt x="69208" y="445714"/>
                  <a:pt x="65979" y="427555"/>
                </a:cubicBezTo>
                <a:lnTo>
                  <a:pt x="0" y="427555"/>
                </a:lnTo>
                <a:close/>
                <a:moveTo>
                  <a:pt x="373379" y="575353"/>
                </a:moveTo>
                <a:cubicBezTo>
                  <a:pt x="484858" y="575353"/>
                  <a:pt x="575252" y="484959"/>
                  <a:pt x="575252" y="373480"/>
                </a:cubicBezTo>
                <a:cubicBezTo>
                  <a:pt x="575252" y="262001"/>
                  <a:pt x="484858" y="171607"/>
                  <a:pt x="373379" y="171607"/>
                </a:cubicBezTo>
                <a:cubicBezTo>
                  <a:pt x="261900" y="171607"/>
                  <a:pt x="171506" y="262001"/>
                  <a:pt x="171506" y="373480"/>
                </a:cubicBezTo>
                <a:cubicBezTo>
                  <a:pt x="171506" y="484959"/>
                  <a:pt x="261900" y="575353"/>
                  <a:pt x="373379" y="575353"/>
                </a:cubicBezTo>
                <a:close/>
              </a:path>
            </a:pathLst>
          </a:custGeom>
          <a:solidFill>
            <a:schemeClr val="accent3"/>
          </a:solidFill>
          <a:ln w="1008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3" name="Полилиния: фигура 62">
            <a:extLst>
              <a:ext uri="{FF2B5EF4-FFF2-40B4-BE49-F238E27FC236}">
                <a16:creationId xmlns:a16="http://schemas.microsoft.com/office/drawing/2014/main" id="{D08EA313-B1B2-411C-A074-2BEE8BC058CA}"/>
              </a:ext>
            </a:extLst>
          </p:cNvPr>
          <p:cNvSpPr/>
          <p:nvPr/>
        </p:nvSpPr>
        <p:spPr>
          <a:xfrm>
            <a:off x="8552011" y="1943282"/>
            <a:ext cx="568896" cy="568896"/>
          </a:xfrm>
          <a:custGeom>
            <a:avLst/>
            <a:gdLst>
              <a:gd name="connsiteX0" fmla="*/ 0 w 568896"/>
              <a:gd name="connsiteY0" fmla="*/ 325660 h 568896"/>
              <a:gd name="connsiteX1" fmla="*/ 0 w 568896"/>
              <a:gd name="connsiteY1" fmla="*/ 243135 h 568896"/>
              <a:gd name="connsiteX2" fmla="*/ 50241 w 568896"/>
              <a:gd name="connsiteY2" fmla="*/ 243135 h 568896"/>
              <a:gd name="connsiteX3" fmla="*/ 60935 w 568896"/>
              <a:gd name="connsiteY3" fmla="*/ 202983 h 568896"/>
              <a:gd name="connsiteX4" fmla="*/ 17554 w 568896"/>
              <a:gd name="connsiteY4" fmla="*/ 177862 h 568896"/>
              <a:gd name="connsiteX5" fmla="*/ 58817 w 568896"/>
              <a:gd name="connsiteY5" fmla="*/ 106435 h 568896"/>
              <a:gd name="connsiteX6" fmla="*/ 102298 w 568896"/>
              <a:gd name="connsiteY6" fmla="*/ 131555 h 568896"/>
              <a:gd name="connsiteX7" fmla="*/ 131656 w 568896"/>
              <a:gd name="connsiteY7" fmla="*/ 102198 h 568896"/>
              <a:gd name="connsiteX8" fmla="*/ 106536 w 568896"/>
              <a:gd name="connsiteY8" fmla="*/ 58716 h 568896"/>
              <a:gd name="connsiteX9" fmla="*/ 177963 w 568896"/>
              <a:gd name="connsiteY9" fmla="*/ 17453 h 568896"/>
              <a:gd name="connsiteX10" fmla="*/ 203083 w 568896"/>
              <a:gd name="connsiteY10" fmla="*/ 60935 h 568896"/>
              <a:gd name="connsiteX11" fmla="*/ 243236 w 568896"/>
              <a:gd name="connsiteY11" fmla="*/ 50241 h 568896"/>
              <a:gd name="connsiteX12" fmla="*/ 243236 w 568896"/>
              <a:gd name="connsiteY12" fmla="*/ 0 h 568896"/>
              <a:gd name="connsiteX13" fmla="*/ 325761 w 568896"/>
              <a:gd name="connsiteY13" fmla="*/ 0 h 568896"/>
              <a:gd name="connsiteX14" fmla="*/ 325761 w 568896"/>
              <a:gd name="connsiteY14" fmla="*/ 50241 h 568896"/>
              <a:gd name="connsiteX15" fmla="*/ 365914 w 568896"/>
              <a:gd name="connsiteY15" fmla="*/ 60935 h 568896"/>
              <a:gd name="connsiteX16" fmla="*/ 391034 w 568896"/>
              <a:gd name="connsiteY16" fmla="*/ 17554 h 568896"/>
              <a:gd name="connsiteX17" fmla="*/ 462461 w 568896"/>
              <a:gd name="connsiteY17" fmla="*/ 58817 h 568896"/>
              <a:gd name="connsiteX18" fmla="*/ 437341 w 568896"/>
              <a:gd name="connsiteY18" fmla="*/ 102298 h 568896"/>
              <a:gd name="connsiteX19" fmla="*/ 466699 w 568896"/>
              <a:gd name="connsiteY19" fmla="*/ 131656 h 568896"/>
              <a:gd name="connsiteX20" fmla="*/ 510180 w 568896"/>
              <a:gd name="connsiteY20" fmla="*/ 106536 h 568896"/>
              <a:gd name="connsiteX21" fmla="*/ 551443 w 568896"/>
              <a:gd name="connsiteY21" fmla="*/ 177963 h 568896"/>
              <a:gd name="connsiteX22" fmla="*/ 507961 w 568896"/>
              <a:gd name="connsiteY22" fmla="*/ 203084 h 568896"/>
              <a:gd name="connsiteX23" fmla="*/ 518655 w 568896"/>
              <a:gd name="connsiteY23" fmla="*/ 243236 h 568896"/>
              <a:gd name="connsiteX24" fmla="*/ 568896 w 568896"/>
              <a:gd name="connsiteY24" fmla="*/ 243236 h 568896"/>
              <a:gd name="connsiteX25" fmla="*/ 568896 w 568896"/>
              <a:gd name="connsiteY25" fmla="*/ 325761 h 568896"/>
              <a:gd name="connsiteX26" fmla="*/ 518655 w 568896"/>
              <a:gd name="connsiteY26" fmla="*/ 325761 h 568896"/>
              <a:gd name="connsiteX27" fmla="*/ 507961 w 568896"/>
              <a:gd name="connsiteY27" fmla="*/ 365914 h 568896"/>
              <a:gd name="connsiteX28" fmla="*/ 551342 w 568896"/>
              <a:gd name="connsiteY28" fmla="*/ 391034 h 568896"/>
              <a:gd name="connsiteX29" fmla="*/ 510080 w 568896"/>
              <a:gd name="connsiteY29" fmla="*/ 462462 h 568896"/>
              <a:gd name="connsiteX30" fmla="*/ 466598 w 568896"/>
              <a:gd name="connsiteY30" fmla="*/ 437341 h 568896"/>
              <a:gd name="connsiteX31" fmla="*/ 437240 w 568896"/>
              <a:gd name="connsiteY31" fmla="*/ 466699 h 568896"/>
              <a:gd name="connsiteX32" fmla="*/ 462361 w 568896"/>
              <a:gd name="connsiteY32" fmla="*/ 510181 h 568896"/>
              <a:gd name="connsiteX33" fmla="*/ 390933 w 568896"/>
              <a:gd name="connsiteY33" fmla="*/ 551443 h 568896"/>
              <a:gd name="connsiteX34" fmla="*/ 365813 w 568896"/>
              <a:gd name="connsiteY34" fmla="*/ 507961 h 568896"/>
              <a:gd name="connsiteX35" fmla="*/ 325660 w 568896"/>
              <a:gd name="connsiteY35" fmla="*/ 518655 h 568896"/>
              <a:gd name="connsiteX36" fmla="*/ 325660 w 568896"/>
              <a:gd name="connsiteY36" fmla="*/ 568896 h 568896"/>
              <a:gd name="connsiteX37" fmla="*/ 243135 w 568896"/>
              <a:gd name="connsiteY37" fmla="*/ 568896 h 568896"/>
              <a:gd name="connsiteX38" fmla="*/ 243135 w 568896"/>
              <a:gd name="connsiteY38" fmla="*/ 518655 h 568896"/>
              <a:gd name="connsiteX39" fmla="*/ 202983 w 568896"/>
              <a:gd name="connsiteY39" fmla="*/ 507961 h 568896"/>
              <a:gd name="connsiteX40" fmla="*/ 177862 w 568896"/>
              <a:gd name="connsiteY40" fmla="*/ 551342 h 568896"/>
              <a:gd name="connsiteX41" fmla="*/ 106435 w 568896"/>
              <a:gd name="connsiteY41" fmla="*/ 510080 h 568896"/>
              <a:gd name="connsiteX42" fmla="*/ 131555 w 568896"/>
              <a:gd name="connsiteY42" fmla="*/ 466598 h 568896"/>
              <a:gd name="connsiteX43" fmla="*/ 102197 w 568896"/>
              <a:gd name="connsiteY43" fmla="*/ 437240 h 568896"/>
              <a:gd name="connsiteX44" fmla="*/ 58716 w 568896"/>
              <a:gd name="connsiteY44" fmla="*/ 462361 h 568896"/>
              <a:gd name="connsiteX45" fmla="*/ 17453 w 568896"/>
              <a:gd name="connsiteY45" fmla="*/ 390933 h 568896"/>
              <a:gd name="connsiteX46" fmla="*/ 60935 w 568896"/>
              <a:gd name="connsiteY46" fmla="*/ 365813 h 568896"/>
              <a:gd name="connsiteX47" fmla="*/ 50241 w 568896"/>
              <a:gd name="connsiteY47" fmla="*/ 325660 h 568896"/>
              <a:gd name="connsiteX48" fmla="*/ 0 w 568896"/>
              <a:gd name="connsiteY48" fmla="*/ 325660 h 568896"/>
              <a:gd name="connsiteX49" fmla="*/ 284398 w 568896"/>
              <a:gd name="connsiteY49" fmla="*/ 438249 h 568896"/>
              <a:gd name="connsiteX50" fmla="*/ 438148 w 568896"/>
              <a:gd name="connsiteY50" fmla="*/ 284499 h 568896"/>
              <a:gd name="connsiteX51" fmla="*/ 284398 w 568896"/>
              <a:gd name="connsiteY51" fmla="*/ 130748 h 568896"/>
              <a:gd name="connsiteX52" fmla="*/ 130647 w 568896"/>
              <a:gd name="connsiteY52" fmla="*/ 284499 h 568896"/>
              <a:gd name="connsiteX53" fmla="*/ 284398 w 568896"/>
              <a:gd name="connsiteY53" fmla="*/ 438249 h 568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68896" h="568896">
                <a:moveTo>
                  <a:pt x="0" y="325660"/>
                </a:moveTo>
                <a:lnTo>
                  <a:pt x="0" y="243135"/>
                </a:lnTo>
                <a:lnTo>
                  <a:pt x="50241" y="243135"/>
                </a:lnTo>
                <a:cubicBezTo>
                  <a:pt x="52663" y="229314"/>
                  <a:pt x="56193" y="215896"/>
                  <a:pt x="60935" y="202983"/>
                </a:cubicBezTo>
                <a:lnTo>
                  <a:pt x="17554" y="177862"/>
                </a:lnTo>
                <a:lnTo>
                  <a:pt x="58817" y="106435"/>
                </a:lnTo>
                <a:lnTo>
                  <a:pt x="102298" y="131555"/>
                </a:lnTo>
                <a:cubicBezTo>
                  <a:pt x="111176" y="120962"/>
                  <a:pt x="121063" y="111176"/>
                  <a:pt x="131656" y="102198"/>
                </a:cubicBezTo>
                <a:lnTo>
                  <a:pt x="106536" y="58716"/>
                </a:lnTo>
                <a:lnTo>
                  <a:pt x="177963" y="17453"/>
                </a:lnTo>
                <a:lnTo>
                  <a:pt x="203083" y="60935"/>
                </a:lnTo>
                <a:cubicBezTo>
                  <a:pt x="215997" y="56194"/>
                  <a:pt x="229415" y="52663"/>
                  <a:pt x="243236" y="50241"/>
                </a:cubicBezTo>
                <a:lnTo>
                  <a:pt x="243236" y="0"/>
                </a:lnTo>
                <a:lnTo>
                  <a:pt x="325761" y="0"/>
                </a:lnTo>
                <a:lnTo>
                  <a:pt x="325761" y="50241"/>
                </a:lnTo>
                <a:cubicBezTo>
                  <a:pt x="339582" y="52663"/>
                  <a:pt x="353000" y="56194"/>
                  <a:pt x="365914" y="60935"/>
                </a:cubicBezTo>
                <a:lnTo>
                  <a:pt x="391034" y="17554"/>
                </a:lnTo>
                <a:lnTo>
                  <a:pt x="462461" y="58817"/>
                </a:lnTo>
                <a:lnTo>
                  <a:pt x="437341" y="102298"/>
                </a:lnTo>
                <a:cubicBezTo>
                  <a:pt x="447934" y="111176"/>
                  <a:pt x="457720" y="121063"/>
                  <a:pt x="466699" y="131656"/>
                </a:cubicBezTo>
                <a:lnTo>
                  <a:pt x="510180" y="106536"/>
                </a:lnTo>
                <a:lnTo>
                  <a:pt x="551443" y="177963"/>
                </a:lnTo>
                <a:lnTo>
                  <a:pt x="507961" y="203084"/>
                </a:lnTo>
                <a:cubicBezTo>
                  <a:pt x="512602" y="215997"/>
                  <a:pt x="516234" y="229415"/>
                  <a:pt x="518655" y="243236"/>
                </a:cubicBezTo>
                <a:lnTo>
                  <a:pt x="568896" y="243236"/>
                </a:lnTo>
                <a:lnTo>
                  <a:pt x="568896" y="325761"/>
                </a:lnTo>
                <a:lnTo>
                  <a:pt x="518655" y="325761"/>
                </a:lnTo>
                <a:cubicBezTo>
                  <a:pt x="516234" y="339582"/>
                  <a:pt x="512703" y="353000"/>
                  <a:pt x="507961" y="365914"/>
                </a:cubicBezTo>
                <a:lnTo>
                  <a:pt x="551342" y="391034"/>
                </a:lnTo>
                <a:lnTo>
                  <a:pt x="510080" y="462462"/>
                </a:lnTo>
                <a:lnTo>
                  <a:pt x="466598" y="437341"/>
                </a:lnTo>
                <a:cubicBezTo>
                  <a:pt x="457720" y="447934"/>
                  <a:pt x="447833" y="457720"/>
                  <a:pt x="437240" y="466699"/>
                </a:cubicBezTo>
                <a:lnTo>
                  <a:pt x="462361" y="510181"/>
                </a:lnTo>
                <a:lnTo>
                  <a:pt x="390933" y="551443"/>
                </a:lnTo>
                <a:lnTo>
                  <a:pt x="365813" y="507961"/>
                </a:lnTo>
                <a:cubicBezTo>
                  <a:pt x="352899" y="512703"/>
                  <a:pt x="339481" y="516234"/>
                  <a:pt x="325660" y="518655"/>
                </a:cubicBezTo>
                <a:lnTo>
                  <a:pt x="325660" y="568896"/>
                </a:lnTo>
                <a:lnTo>
                  <a:pt x="243135" y="568896"/>
                </a:lnTo>
                <a:lnTo>
                  <a:pt x="243135" y="518655"/>
                </a:lnTo>
                <a:cubicBezTo>
                  <a:pt x="229314" y="516234"/>
                  <a:pt x="215896" y="512703"/>
                  <a:pt x="202983" y="507961"/>
                </a:cubicBezTo>
                <a:lnTo>
                  <a:pt x="177862" y="551342"/>
                </a:lnTo>
                <a:lnTo>
                  <a:pt x="106435" y="510080"/>
                </a:lnTo>
                <a:lnTo>
                  <a:pt x="131555" y="466598"/>
                </a:lnTo>
                <a:cubicBezTo>
                  <a:pt x="120962" y="457720"/>
                  <a:pt x="111176" y="447833"/>
                  <a:pt x="102197" y="437240"/>
                </a:cubicBezTo>
                <a:lnTo>
                  <a:pt x="58716" y="462361"/>
                </a:lnTo>
                <a:lnTo>
                  <a:pt x="17453" y="390933"/>
                </a:lnTo>
                <a:lnTo>
                  <a:pt x="60935" y="365813"/>
                </a:lnTo>
                <a:cubicBezTo>
                  <a:pt x="56294" y="352899"/>
                  <a:pt x="52663" y="339481"/>
                  <a:pt x="50241" y="325660"/>
                </a:cubicBezTo>
                <a:lnTo>
                  <a:pt x="0" y="325660"/>
                </a:lnTo>
                <a:close/>
                <a:moveTo>
                  <a:pt x="284398" y="438249"/>
                </a:moveTo>
                <a:cubicBezTo>
                  <a:pt x="369344" y="438249"/>
                  <a:pt x="438148" y="369445"/>
                  <a:pt x="438148" y="284499"/>
                </a:cubicBezTo>
                <a:cubicBezTo>
                  <a:pt x="438148" y="199553"/>
                  <a:pt x="369344" y="130748"/>
                  <a:pt x="284398" y="130748"/>
                </a:cubicBezTo>
                <a:cubicBezTo>
                  <a:pt x="199452" y="130748"/>
                  <a:pt x="130647" y="199553"/>
                  <a:pt x="130647" y="284499"/>
                </a:cubicBezTo>
                <a:cubicBezTo>
                  <a:pt x="130647" y="369445"/>
                  <a:pt x="199452" y="438249"/>
                  <a:pt x="284398" y="438249"/>
                </a:cubicBezTo>
                <a:close/>
              </a:path>
            </a:pathLst>
          </a:custGeom>
          <a:solidFill>
            <a:schemeClr val="accent3"/>
          </a:solidFill>
          <a:ln w="1008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92" name="Полилиния: фигура 991">
            <a:extLst>
              <a:ext uri="{FF2B5EF4-FFF2-40B4-BE49-F238E27FC236}">
                <a16:creationId xmlns:a16="http://schemas.microsoft.com/office/drawing/2014/main" id="{671C6920-E141-47F8-BD4B-D316556DC3B0}"/>
              </a:ext>
            </a:extLst>
          </p:cNvPr>
          <p:cNvSpPr/>
          <p:nvPr/>
        </p:nvSpPr>
        <p:spPr>
          <a:xfrm>
            <a:off x="8845892" y="1179877"/>
            <a:ext cx="568896" cy="568896"/>
          </a:xfrm>
          <a:custGeom>
            <a:avLst/>
            <a:gdLst>
              <a:gd name="connsiteX0" fmla="*/ 0 w 568896"/>
              <a:gd name="connsiteY0" fmla="*/ 325660 h 568896"/>
              <a:gd name="connsiteX1" fmla="*/ 0 w 568896"/>
              <a:gd name="connsiteY1" fmla="*/ 243135 h 568896"/>
              <a:gd name="connsiteX2" fmla="*/ 50241 w 568896"/>
              <a:gd name="connsiteY2" fmla="*/ 243135 h 568896"/>
              <a:gd name="connsiteX3" fmla="*/ 60935 w 568896"/>
              <a:gd name="connsiteY3" fmla="*/ 202983 h 568896"/>
              <a:gd name="connsiteX4" fmla="*/ 17554 w 568896"/>
              <a:gd name="connsiteY4" fmla="*/ 177862 h 568896"/>
              <a:gd name="connsiteX5" fmla="*/ 58817 w 568896"/>
              <a:gd name="connsiteY5" fmla="*/ 106435 h 568896"/>
              <a:gd name="connsiteX6" fmla="*/ 102299 w 568896"/>
              <a:gd name="connsiteY6" fmla="*/ 131555 h 568896"/>
              <a:gd name="connsiteX7" fmla="*/ 131656 w 568896"/>
              <a:gd name="connsiteY7" fmla="*/ 102198 h 568896"/>
              <a:gd name="connsiteX8" fmla="*/ 106536 w 568896"/>
              <a:gd name="connsiteY8" fmla="*/ 58716 h 568896"/>
              <a:gd name="connsiteX9" fmla="*/ 177963 w 568896"/>
              <a:gd name="connsiteY9" fmla="*/ 17453 h 568896"/>
              <a:gd name="connsiteX10" fmla="*/ 203084 w 568896"/>
              <a:gd name="connsiteY10" fmla="*/ 60935 h 568896"/>
              <a:gd name="connsiteX11" fmla="*/ 243236 w 568896"/>
              <a:gd name="connsiteY11" fmla="*/ 50241 h 568896"/>
              <a:gd name="connsiteX12" fmla="*/ 243236 w 568896"/>
              <a:gd name="connsiteY12" fmla="*/ 0 h 568896"/>
              <a:gd name="connsiteX13" fmla="*/ 325761 w 568896"/>
              <a:gd name="connsiteY13" fmla="*/ 0 h 568896"/>
              <a:gd name="connsiteX14" fmla="*/ 325761 w 568896"/>
              <a:gd name="connsiteY14" fmla="*/ 50241 h 568896"/>
              <a:gd name="connsiteX15" fmla="*/ 365914 w 568896"/>
              <a:gd name="connsiteY15" fmla="*/ 60935 h 568896"/>
              <a:gd name="connsiteX16" fmla="*/ 391034 w 568896"/>
              <a:gd name="connsiteY16" fmla="*/ 17554 h 568896"/>
              <a:gd name="connsiteX17" fmla="*/ 462462 w 568896"/>
              <a:gd name="connsiteY17" fmla="*/ 58817 h 568896"/>
              <a:gd name="connsiteX18" fmla="*/ 437341 w 568896"/>
              <a:gd name="connsiteY18" fmla="*/ 102298 h 568896"/>
              <a:gd name="connsiteX19" fmla="*/ 466699 w 568896"/>
              <a:gd name="connsiteY19" fmla="*/ 131656 h 568896"/>
              <a:gd name="connsiteX20" fmla="*/ 510181 w 568896"/>
              <a:gd name="connsiteY20" fmla="*/ 106536 h 568896"/>
              <a:gd name="connsiteX21" fmla="*/ 551443 w 568896"/>
              <a:gd name="connsiteY21" fmla="*/ 177963 h 568896"/>
              <a:gd name="connsiteX22" fmla="*/ 507961 w 568896"/>
              <a:gd name="connsiteY22" fmla="*/ 203084 h 568896"/>
              <a:gd name="connsiteX23" fmla="*/ 518655 w 568896"/>
              <a:gd name="connsiteY23" fmla="*/ 243236 h 568896"/>
              <a:gd name="connsiteX24" fmla="*/ 568896 w 568896"/>
              <a:gd name="connsiteY24" fmla="*/ 243236 h 568896"/>
              <a:gd name="connsiteX25" fmla="*/ 568896 w 568896"/>
              <a:gd name="connsiteY25" fmla="*/ 325761 h 568896"/>
              <a:gd name="connsiteX26" fmla="*/ 518655 w 568896"/>
              <a:gd name="connsiteY26" fmla="*/ 325761 h 568896"/>
              <a:gd name="connsiteX27" fmla="*/ 507961 w 568896"/>
              <a:gd name="connsiteY27" fmla="*/ 365914 h 568896"/>
              <a:gd name="connsiteX28" fmla="*/ 551342 w 568896"/>
              <a:gd name="connsiteY28" fmla="*/ 391034 h 568896"/>
              <a:gd name="connsiteX29" fmla="*/ 510080 w 568896"/>
              <a:gd name="connsiteY29" fmla="*/ 462462 h 568896"/>
              <a:gd name="connsiteX30" fmla="*/ 466598 w 568896"/>
              <a:gd name="connsiteY30" fmla="*/ 437341 h 568896"/>
              <a:gd name="connsiteX31" fmla="*/ 437240 w 568896"/>
              <a:gd name="connsiteY31" fmla="*/ 466699 h 568896"/>
              <a:gd name="connsiteX32" fmla="*/ 462361 w 568896"/>
              <a:gd name="connsiteY32" fmla="*/ 510181 h 568896"/>
              <a:gd name="connsiteX33" fmla="*/ 390933 w 568896"/>
              <a:gd name="connsiteY33" fmla="*/ 551443 h 568896"/>
              <a:gd name="connsiteX34" fmla="*/ 365813 w 568896"/>
              <a:gd name="connsiteY34" fmla="*/ 507961 h 568896"/>
              <a:gd name="connsiteX35" fmla="*/ 325660 w 568896"/>
              <a:gd name="connsiteY35" fmla="*/ 518655 h 568896"/>
              <a:gd name="connsiteX36" fmla="*/ 325660 w 568896"/>
              <a:gd name="connsiteY36" fmla="*/ 568896 h 568896"/>
              <a:gd name="connsiteX37" fmla="*/ 243135 w 568896"/>
              <a:gd name="connsiteY37" fmla="*/ 568896 h 568896"/>
              <a:gd name="connsiteX38" fmla="*/ 243135 w 568896"/>
              <a:gd name="connsiteY38" fmla="*/ 518655 h 568896"/>
              <a:gd name="connsiteX39" fmla="*/ 202983 w 568896"/>
              <a:gd name="connsiteY39" fmla="*/ 507961 h 568896"/>
              <a:gd name="connsiteX40" fmla="*/ 177862 w 568896"/>
              <a:gd name="connsiteY40" fmla="*/ 551342 h 568896"/>
              <a:gd name="connsiteX41" fmla="*/ 106435 w 568896"/>
              <a:gd name="connsiteY41" fmla="*/ 510080 h 568896"/>
              <a:gd name="connsiteX42" fmla="*/ 131555 w 568896"/>
              <a:gd name="connsiteY42" fmla="*/ 466598 h 568896"/>
              <a:gd name="connsiteX43" fmla="*/ 102198 w 568896"/>
              <a:gd name="connsiteY43" fmla="*/ 437240 h 568896"/>
              <a:gd name="connsiteX44" fmla="*/ 58716 w 568896"/>
              <a:gd name="connsiteY44" fmla="*/ 462361 h 568896"/>
              <a:gd name="connsiteX45" fmla="*/ 17453 w 568896"/>
              <a:gd name="connsiteY45" fmla="*/ 390933 h 568896"/>
              <a:gd name="connsiteX46" fmla="*/ 60935 w 568896"/>
              <a:gd name="connsiteY46" fmla="*/ 365813 h 568896"/>
              <a:gd name="connsiteX47" fmla="*/ 50241 w 568896"/>
              <a:gd name="connsiteY47" fmla="*/ 325660 h 568896"/>
              <a:gd name="connsiteX48" fmla="*/ 0 w 568896"/>
              <a:gd name="connsiteY48" fmla="*/ 325660 h 568896"/>
              <a:gd name="connsiteX49" fmla="*/ 284398 w 568896"/>
              <a:gd name="connsiteY49" fmla="*/ 438249 h 568896"/>
              <a:gd name="connsiteX50" fmla="*/ 438148 w 568896"/>
              <a:gd name="connsiteY50" fmla="*/ 284499 h 568896"/>
              <a:gd name="connsiteX51" fmla="*/ 284398 w 568896"/>
              <a:gd name="connsiteY51" fmla="*/ 130748 h 568896"/>
              <a:gd name="connsiteX52" fmla="*/ 130648 w 568896"/>
              <a:gd name="connsiteY52" fmla="*/ 284499 h 568896"/>
              <a:gd name="connsiteX53" fmla="*/ 284398 w 568896"/>
              <a:gd name="connsiteY53" fmla="*/ 438249 h 568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68896" h="568896">
                <a:moveTo>
                  <a:pt x="0" y="325660"/>
                </a:moveTo>
                <a:lnTo>
                  <a:pt x="0" y="243135"/>
                </a:lnTo>
                <a:lnTo>
                  <a:pt x="50241" y="243135"/>
                </a:lnTo>
                <a:cubicBezTo>
                  <a:pt x="52663" y="229314"/>
                  <a:pt x="56194" y="215896"/>
                  <a:pt x="60935" y="202983"/>
                </a:cubicBezTo>
                <a:lnTo>
                  <a:pt x="17554" y="177862"/>
                </a:lnTo>
                <a:lnTo>
                  <a:pt x="58817" y="106435"/>
                </a:lnTo>
                <a:lnTo>
                  <a:pt x="102299" y="131555"/>
                </a:lnTo>
                <a:cubicBezTo>
                  <a:pt x="111176" y="120962"/>
                  <a:pt x="121063" y="111176"/>
                  <a:pt x="131656" y="102198"/>
                </a:cubicBezTo>
                <a:lnTo>
                  <a:pt x="106536" y="58716"/>
                </a:lnTo>
                <a:lnTo>
                  <a:pt x="177963" y="17453"/>
                </a:lnTo>
                <a:lnTo>
                  <a:pt x="203084" y="60935"/>
                </a:lnTo>
                <a:cubicBezTo>
                  <a:pt x="215997" y="56193"/>
                  <a:pt x="229415" y="52662"/>
                  <a:pt x="243236" y="50241"/>
                </a:cubicBezTo>
                <a:lnTo>
                  <a:pt x="243236" y="0"/>
                </a:lnTo>
                <a:lnTo>
                  <a:pt x="325761" y="0"/>
                </a:lnTo>
                <a:lnTo>
                  <a:pt x="325761" y="50241"/>
                </a:lnTo>
                <a:cubicBezTo>
                  <a:pt x="339582" y="52662"/>
                  <a:pt x="353000" y="56193"/>
                  <a:pt x="365914" y="60935"/>
                </a:cubicBezTo>
                <a:lnTo>
                  <a:pt x="391034" y="17554"/>
                </a:lnTo>
                <a:lnTo>
                  <a:pt x="462462" y="58817"/>
                </a:lnTo>
                <a:lnTo>
                  <a:pt x="437341" y="102298"/>
                </a:lnTo>
                <a:cubicBezTo>
                  <a:pt x="447934" y="111176"/>
                  <a:pt x="457720" y="121063"/>
                  <a:pt x="466699" y="131656"/>
                </a:cubicBezTo>
                <a:lnTo>
                  <a:pt x="510181" y="106536"/>
                </a:lnTo>
                <a:lnTo>
                  <a:pt x="551443" y="177963"/>
                </a:lnTo>
                <a:lnTo>
                  <a:pt x="507961" y="203084"/>
                </a:lnTo>
                <a:cubicBezTo>
                  <a:pt x="512602" y="215997"/>
                  <a:pt x="516234" y="229415"/>
                  <a:pt x="518655" y="243236"/>
                </a:cubicBezTo>
                <a:lnTo>
                  <a:pt x="568896" y="243236"/>
                </a:lnTo>
                <a:lnTo>
                  <a:pt x="568896" y="325761"/>
                </a:lnTo>
                <a:lnTo>
                  <a:pt x="518655" y="325761"/>
                </a:lnTo>
                <a:cubicBezTo>
                  <a:pt x="516234" y="339582"/>
                  <a:pt x="512703" y="353000"/>
                  <a:pt x="507961" y="365914"/>
                </a:cubicBezTo>
                <a:lnTo>
                  <a:pt x="551342" y="391034"/>
                </a:lnTo>
                <a:lnTo>
                  <a:pt x="510080" y="462462"/>
                </a:lnTo>
                <a:lnTo>
                  <a:pt x="466598" y="437341"/>
                </a:lnTo>
                <a:cubicBezTo>
                  <a:pt x="457720" y="447934"/>
                  <a:pt x="447833" y="457720"/>
                  <a:pt x="437240" y="466699"/>
                </a:cubicBezTo>
                <a:lnTo>
                  <a:pt x="462361" y="510181"/>
                </a:lnTo>
                <a:lnTo>
                  <a:pt x="390933" y="551443"/>
                </a:lnTo>
                <a:lnTo>
                  <a:pt x="365813" y="507961"/>
                </a:lnTo>
                <a:cubicBezTo>
                  <a:pt x="352899" y="512602"/>
                  <a:pt x="339482" y="516234"/>
                  <a:pt x="325660" y="518655"/>
                </a:cubicBezTo>
                <a:lnTo>
                  <a:pt x="325660" y="568896"/>
                </a:lnTo>
                <a:lnTo>
                  <a:pt x="243135" y="568896"/>
                </a:lnTo>
                <a:lnTo>
                  <a:pt x="243135" y="518655"/>
                </a:lnTo>
                <a:cubicBezTo>
                  <a:pt x="229314" y="516234"/>
                  <a:pt x="215896" y="512703"/>
                  <a:pt x="202983" y="507961"/>
                </a:cubicBezTo>
                <a:lnTo>
                  <a:pt x="177862" y="551342"/>
                </a:lnTo>
                <a:lnTo>
                  <a:pt x="106435" y="510080"/>
                </a:lnTo>
                <a:lnTo>
                  <a:pt x="131555" y="466598"/>
                </a:lnTo>
                <a:cubicBezTo>
                  <a:pt x="120962" y="457720"/>
                  <a:pt x="111176" y="447833"/>
                  <a:pt x="102198" y="437240"/>
                </a:cubicBezTo>
                <a:lnTo>
                  <a:pt x="58716" y="462361"/>
                </a:lnTo>
                <a:lnTo>
                  <a:pt x="17453" y="390933"/>
                </a:lnTo>
                <a:lnTo>
                  <a:pt x="60935" y="365813"/>
                </a:lnTo>
                <a:cubicBezTo>
                  <a:pt x="56294" y="352899"/>
                  <a:pt x="52663" y="339481"/>
                  <a:pt x="50241" y="325660"/>
                </a:cubicBezTo>
                <a:lnTo>
                  <a:pt x="0" y="325660"/>
                </a:lnTo>
                <a:close/>
                <a:moveTo>
                  <a:pt x="284398" y="438249"/>
                </a:moveTo>
                <a:cubicBezTo>
                  <a:pt x="369344" y="438249"/>
                  <a:pt x="438148" y="369445"/>
                  <a:pt x="438148" y="284499"/>
                </a:cubicBezTo>
                <a:cubicBezTo>
                  <a:pt x="438148" y="199553"/>
                  <a:pt x="369344" y="130748"/>
                  <a:pt x="284398" y="130748"/>
                </a:cubicBezTo>
                <a:cubicBezTo>
                  <a:pt x="199452" y="130748"/>
                  <a:pt x="130648" y="199553"/>
                  <a:pt x="130648" y="284499"/>
                </a:cubicBezTo>
                <a:cubicBezTo>
                  <a:pt x="130648" y="369445"/>
                  <a:pt x="199452" y="438249"/>
                  <a:pt x="284398" y="438249"/>
                </a:cubicBezTo>
                <a:close/>
              </a:path>
            </a:pathLst>
          </a:custGeom>
          <a:solidFill>
            <a:schemeClr val="accent3"/>
          </a:solidFill>
          <a:ln w="1008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4" name="ОТП_Logo">
            <a:extLst>
              <a:ext uri="{FF2B5EF4-FFF2-40B4-BE49-F238E27FC236}">
                <a16:creationId xmlns:a16="http://schemas.microsoft.com/office/drawing/2014/main" id="{F8EEBDD6-5F43-4517-A6FE-C9E72428B6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9731158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3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99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99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2576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lvl="0" algn="ctr" defTabSz="309563" hangingPunct="0">
              <a:defRPr/>
            </a:pPr>
            <a:r>
              <a:rPr lang="en-US" sz="120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&lt;?xml version="1.0" encoding="UTF-8"?&gt;&lt;svg id="Layer_12" data-name="Layer 12" xmlns="http://www.w3.org/2000/svg" viewBox="0 0 12 20"&gt;  &lt;defs&gt;    &lt;style&gt;      .cls-1 {        fill: none;        stroke: #fff;        stroke-linecap: round;        stroke-linejoin: round;        stroke-width: 2px;      }    &lt;/style&gt;  &lt;/defs&gt;  &lt;path class="cls-1" d="m1,4.2v11.6c0,1.12,0,1.68.22,2.11.19.38.5.68.87.87.43.22.99.22,2.11.22h3.61c1.12,0,1.68,0,2.1-.22.38-.19.68-.5.87-.87.22-.43.22-.99.22-2.1V4.2c0-1.12,0-1.68-.22-2.11-.19-.38-.5-.68-.87-.87-.43-.22-.99-.22-2.11-.22h-3.6c-1.12,0-1.68,0-2.11.22-.38.19-.68.5-.87.87-.22.43-.22.99-.22,2.11Z"/&gt;&lt;/svg&gt;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915" name="Rounded Rectangle">
            <a:extLst>
              <a:ext uri="{FF2B5EF4-FFF2-40B4-BE49-F238E27FC236}">
                <a16:creationId xmlns:a16="http://schemas.microsoft.com/office/drawing/2014/main" id="{D85408B0-E45A-4327-9A3E-FC1661D5BCD7}"/>
              </a:ext>
            </a:extLst>
          </p:cNvPr>
          <p:cNvSpPr/>
          <p:nvPr/>
        </p:nvSpPr>
        <p:spPr>
          <a:xfrm>
            <a:off x="7676581" y="2679685"/>
            <a:ext cx="4515419" cy="1667114"/>
          </a:xfrm>
          <a:prstGeom prst="roundRect">
            <a:avLst>
              <a:gd name="adj" fmla="val 0"/>
            </a:avLst>
          </a:prstGeom>
          <a:solidFill>
            <a:schemeClr val="bg1">
              <a:alpha val="93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E4CB514-272D-4866-9650-22F1D5ED0CB8}"/>
              </a:ext>
            </a:extLst>
          </p:cNvPr>
          <p:cNvGrpSpPr/>
          <p:nvPr/>
        </p:nvGrpSpPr>
        <p:grpSpPr>
          <a:xfrm>
            <a:off x="2528810" y="3863646"/>
            <a:ext cx="2721165" cy="1639248"/>
            <a:chOff x="1061912" y="4049834"/>
            <a:chExt cx="2721165" cy="1639248"/>
          </a:xfrm>
        </p:grpSpPr>
        <p:sp>
          <p:nvSpPr>
            <p:cNvPr id="424" name="Shape_фон">
              <a:extLst>
                <a:ext uri="{FF2B5EF4-FFF2-40B4-BE49-F238E27FC236}">
                  <a16:creationId xmlns:a16="http://schemas.microsoft.com/office/drawing/2014/main" id="{7878CDE7-F528-408C-87CD-39749D6BBA12}"/>
                </a:ext>
              </a:extLst>
            </p:cNvPr>
            <p:cNvSpPr/>
            <p:nvPr/>
          </p:nvSpPr>
          <p:spPr>
            <a:xfrm>
              <a:off x="1061912" y="4049834"/>
              <a:ext cx="2721165" cy="163924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5" name="Описание">
              <a:extLst>
                <a:ext uri="{FF2B5EF4-FFF2-40B4-BE49-F238E27FC236}">
                  <a16:creationId xmlns:a16="http://schemas.microsoft.com/office/drawing/2014/main" id="{DFFCD45F-9501-4B00-B673-679611028C43}"/>
                </a:ext>
              </a:extLst>
            </p:cNvPr>
            <p:cNvSpPr txBox="1"/>
            <p:nvPr/>
          </p:nvSpPr>
          <p:spPr>
            <a:xfrm>
              <a:off x="2092211" y="4119149"/>
              <a:ext cx="62549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426" name="Группа 425">
              <a:extLst>
                <a:ext uri="{FF2B5EF4-FFF2-40B4-BE49-F238E27FC236}">
                  <a16:creationId xmlns:a16="http://schemas.microsoft.com/office/drawing/2014/main" id="{E843A88F-BF01-4D9A-B2C4-225A4BC4E112}"/>
                </a:ext>
              </a:extLst>
            </p:cNvPr>
            <p:cNvGrpSpPr/>
            <p:nvPr/>
          </p:nvGrpSpPr>
          <p:grpSpPr>
            <a:xfrm>
              <a:off x="1299450" y="4505151"/>
              <a:ext cx="2133543" cy="264211"/>
              <a:chOff x="2554156" y="1493927"/>
              <a:chExt cx="4624638" cy="572700"/>
            </a:xfrm>
          </p:grpSpPr>
          <p:sp>
            <p:nvSpPr>
              <p:cNvPr id="507" name="Rounded Rectangle">
                <a:extLst>
                  <a:ext uri="{FF2B5EF4-FFF2-40B4-BE49-F238E27FC236}">
                    <a16:creationId xmlns:a16="http://schemas.microsoft.com/office/drawing/2014/main" id="{2001BEB1-3129-43D5-B9AF-B780C191B98F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8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08" name="Market analysis">
                <a:extLst>
                  <a:ext uri="{FF2B5EF4-FFF2-40B4-BE49-F238E27FC236}">
                    <a16:creationId xmlns:a16="http://schemas.microsoft.com/office/drawing/2014/main" id="{0E251291-E46C-4104-88B4-DFD89B1C8EF9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09" name="Группа 508">
                <a:extLst>
                  <a:ext uri="{FF2B5EF4-FFF2-40B4-BE49-F238E27FC236}">
                    <a16:creationId xmlns:a16="http://schemas.microsoft.com/office/drawing/2014/main" id="{A6B1CA66-38E0-4664-8584-8D592CA18A8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10" name="Circle">
                  <a:extLst>
                    <a:ext uri="{FF2B5EF4-FFF2-40B4-BE49-F238E27FC236}">
                      <a16:creationId xmlns:a16="http://schemas.microsoft.com/office/drawing/2014/main" id="{399E168E-8E09-4CDF-840E-91509301C36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11" name="Группа 510">
                  <a:extLst>
                    <a:ext uri="{FF2B5EF4-FFF2-40B4-BE49-F238E27FC236}">
                      <a16:creationId xmlns:a16="http://schemas.microsoft.com/office/drawing/2014/main" id="{DED5F3D6-2998-46C7-86DF-529C63D78D4B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12" name="Полилиния: фигура 511">
                    <a:extLst>
                      <a:ext uri="{FF2B5EF4-FFF2-40B4-BE49-F238E27FC236}">
                        <a16:creationId xmlns:a16="http://schemas.microsoft.com/office/drawing/2014/main" id="{59439FD0-1B63-47A3-B44E-58A09694302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13" name="Карточка 1_Ава">
                    <a:extLst>
                      <a:ext uri="{FF2B5EF4-FFF2-40B4-BE49-F238E27FC236}">
                        <a16:creationId xmlns:a16="http://schemas.microsoft.com/office/drawing/2014/main" id="{550D69D0-E53A-4518-911B-F05875E47F9D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14" name="Карточка 1_Ава">
                      <a:extLst>
                        <a:ext uri="{FF2B5EF4-FFF2-40B4-BE49-F238E27FC236}">
                          <a16:creationId xmlns:a16="http://schemas.microsoft.com/office/drawing/2014/main" id="{CFF179E0-A736-46C1-AC94-F515DD8F71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20" name="Полилиния: фигура 519">
                        <a:extLst>
                          <a:ext uri="{FF2B5EF4-FFF2-40B4-BE49-F238E27FC236}">
                            <a16:creationId xmlns:a16="http://schemas.microsoft.com/office/drawing/2014/main" id="{406D109B-0A15-4879-BE7C-683BE87513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1" name="Полилиния: фигура 520">
                        <a:extLst>
                          <a:ext uri="{FF2B5EF4-FFF2-40B4-BE49-F238E27FC236}">
                            <a16:creationId xmlns:a16="http://schemas.microsoft.com/office/drawing/2014/main" id="{B555FD09-4780-4DA1-838F-03FB857DD3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2" name="Полилиния: фигура 521">
                        <a:extLst>
                          <a:ext uri="{FF2B5EF4-FFF2-40B4-BE49-F238E27FC236}">
                            <a16:creationId xmlns:a16="http://schemas.microsoft.com/office/drawing/2014/main" id="{7F49EE6B-CE61-4AA4-8AAD-0B919A2450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3" name="Полилиния: фигура 522">
                        <a:extLst>
                          <a:ext uri="{FF2B5EF4-FFF2-40B4-BE49-F238E27FC236}">
                            <a16:creationId xmlns:a16="http://schemas.microsoft.com/office/drawing/2014/main" id="{2448845D-7285-48F3-9595-14958E0C95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4" name="Полилиния: фигура 523">
                        <a:extLst>
                          <a:ext uri="{FF2B5EF4-FFF2-40B4-BE49-F238E27FC236}">
                            <a16:creationId xmlns:a16="http://schemas.microsoft.com/office/drawing/2014/main" id="{65D2EA56-B892-4817-97C4-4C635B95D4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5" name="Полилиния: фигура 524">
                        <a:extLst>
                          <a:ext uri="{FF2B5EF4-FFF2-40B4-BE49-F238E27FC236}">
                            <a16:creationId xmlns:a16="http://schemas.microsoft.com/office/drawing/2014/main" id="{FFAD1468-30CB-4A31-A3EE-FA4942AAEA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6" name="Полилиния: фигура 525">
                        <a:extLst>
                          <a:ext uri="{FF2B5EF4-FFF2-40B4-BE49-F238E27FC236}">
                            <a16:creationId xmlns:a16="http://schemas.microsoft.com/office/drawing/2014/main" id="{95E0CE84-451D-4111-A94B-7C66BDB7A7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7" name="Полилиния: фигура 526">
                        <a:extLst>
                          <a:ext uri="{FF2B5EF4-FFF2-40B4-BE49-F238E27FC236}">
                            <a16:creationId xmlns:a16="http://schemas.microsoft.com/office/drawing/2014/main" id="{71E941D3-62BB-4D8E-A233-07A04027DC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8" name="Полилиния: фигура 527">
                        <a:extLst>
                          <a:ext uri="{FF2B5EF4-FFF2-40B4-BE49-F238E27FC236}">
                            <a16:creationId xmlns:a16="http://schemas.microsoft.com/office/drawing/2014/main" id="{E9039AD8-9D63-4305-9DFC-44C19020CC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29" name="Полилиния: фигура 528">
                        <a:extLst>
                          <a:ext uri="{FF2B5EF4-FFF2-40B4-BE49-F238E27FC236}">
                            <a16:creationId xmlns:a16="http://schemas.microsoft.com/office/drawing/2014/main" id="{64AE1832-AF6C-44BE-948C-57F470B9F6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0" name="Полилиния: фигура 529">
                        <a:extLst>
                          <a:ext uri="{FF2B5EF4-FFF2-40B4-BE49-F238E27FC236}">
                            <a16:creationId xmlns:a16="http://schemas.microsoft.com/office/drawing/2014/main" id="{B94DF908-4733-4E4A-8495-8AA1553E0D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31" name="Полилиния: фигура 530">
                        <a:extLst>
                          <a:ext uri="{FF2B5EF4-FFF2-40B4-BE49-F238E27FC236}">
                            <a16:creationId xmlns:a16="http://schemas.microsoft.com/office/drawing/2014/main" id="{9741B104-13B5-491D-9679-5E555D22EE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15" name="Карточка 1_Ава">
                      <a:extLst>
                        <a:ext uri="{FF2B5EF4-FFF2-40B4-BE49-F238E27FC236}">
                          <a16:creationId xmlns:a16="http://schemas.microsoft.com/office/drawing/2014/main" id="{EEC038D0-0EF0-493E-8FCA-EE2C3B648F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16" name="Полилиния: фигура 515">
                        <a:extLst>
                          <a:ext uri="{FF2B5EF4-FFF2-40B4-BE49-F238E27FC236}">
                            <a16:creationId xmlns:a16="http://schemas.microsoft.com/office/drawing/2014/main" id="{F8A372F1-12CF-4B70-AA2A-CADE175D19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7" name="Полилиния: фигура 516">
                        <a:extLst>
                          <a:ext uri="{FF2B5EF4-FFF2-40B4-BE49-F238E27FC236}">
                            <a16:creationId xmlns:a16="http://schemas.microsoft.com/office/drawing/2014/main" id="{63C87A1D-1687-4DF6-B774-F6289F26B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8" name="Полилиния: фигура 517">
                        <a:extLst>
                          <a:ext uri="{FF2B5EF4-FFF2-40B4-BE49-F238E27FC236}">
                            <a16:creationId xmlns:a16="http://schemas.microsoft.com/office/drawing/2014/main" id="{2E17D723-EDE0-4F4C-B68F-7FF282D756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19" name="Полилиния: фигура 518">
                        <a:extLst>
                          <a:ext uri="{FF2B5EF4-FFF2-40B4-BE49-F238E27FC236}">
                            <a16:creationId xmlns:a16="http://schemas.microsoft.com/office/drawing/2014/main" id="{C3DC3479-B0CA-4047-8664-DEA49580C7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8" name="Группа 427">
              <a:extLst>
                <a:ext uri="{FF2B5EF4-FFF2-40B4-BE49-F238E27FC236}">
                  <a16:creationId xmlns:a16="http://schemas.microsoft.com/office/drawing/2014/main" id="{3A8651F0-708C-4CA7-9153-E4070D0A0165}"/>
                </a:ext>
              </a:extLst>
            </p:cNvPr>
            <p:cNvGrpSpPr/>
            <p:nvPr/>
          </p:nvGrpSpPr>
          <p:grpSpPr>
            <a:xfrm>
              <a:off x="1299451" y="4880231"/>
              <a:ext cx="2133542" cy="264211"/>
              <a:chOff x="2554158" y="1493927"/>
              <a:chExt cx="4624635" cy="572700"/>
            </a:xfrm>
          </p:grpSpPr>
          <p:sp>
            <p:nvSpPr>
              <p:cNvPr id="455" name="Rounded Rectangle">
                <a:extLst>
                  <a:ext uri="{FF2B5EF4-FFF2-40B4-BE49-F238E27FC236}">
                    <a16:creationId xmlns:a16="http://schemas.microsoft.com/office/drawing/2014/main" id="{FD5C4707-977C-41CE-90F5-D343358D6F8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462463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56" name="Market analysis">
                <a:extLst>
                  <a:ext uri="{FF2B5EF4-FFF2-40B4-BE49-F238E27FC236}">
                    <a16:creationId xmlns:a16="http://schemas.microsoft.com/office/drawing/2014/main" id="{89B1CE1B-A35F-4CEA-93A9-FFFAF94D1E15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57" name="Группа 456">
                <a:extLst>
                  <a:ext uri="{FF2B5EF4-FFF2-40B4-BE49-F238E27FC236}">
                    <a16:creationId xmlns:a16="http://schemas.microsoft.com/office/drawing/2014/main" id="{33F7363E-A732-4BE7-A38F-8635781D1B4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58" name="Circle">
                  <a:extLst>
                    <a:ext uri="{FF2B5EF4-FFF2-40B4-BE49-F238E27FC236}">
                      <a16:creationId xmlns:a16="http://schemas.microsoft.com/office/drawing/2014/main" id="{3B2CC185-F5E5-4C8F-843F-FFB921FFD79D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59" name="Группа 458">
                  <a:extLst>
                    <a:ext uri="{FF2B5EF4-FFF2-40B4-BE49-F238E27FC236}">
                      <a16:creationId xmlns:a16="http://schemas.microsoft.com/office/drawing/2014/main" id="{F99CA689-8A92-4E72-9EA5-9644734FD46A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60" name="Полилиния: фигура 459">
                    <a:extLst>
                      <a:ext uri="{FF2B5EF4-FFF2-40B4-BE49-F238E27FC236}">
                        <a16:creationId xmlns:a16="http://schemas.microsoft.com/office/drawing/2014/main" id="{71A9961E-9F16-45C1-861C-DAAFA0664F7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61" name="Карточка 1_Ава">
                    <a:extLst>
                      <a:ext uri="{FF2B5EF4-FFF2-40B4-BE49-F238E27FC236}">
                        <a16:creationId xmlns:a16="http://schemas.microsoft.com/office/drawing/2014/main" id="{DD6F7009-A6CC-48E9-84C3-5118824B11A8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62" name="Карточка 1_Ава">
                      <a:extLst>
                        <a:ext uri="{FF2B5EF4-FFF2-40B4-BE49-F238E27FC236}">
                          <a16:creationId xmlns:a16="http://schemas.microsoft.com/office/drawing/2014/main" id="{BB27BFB3-7B12-43FA-A55A-0F89C7B59F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68" name="Полилиния: фигура 467">
                        <a:extLst>
                          <a:ext uri="{FF2B5EF4-FFF2-40B4-BE49-F238E27FC236}">
                            <a16:creationId xmlns:a16="http://schemas.microsoft.com/office/drawing/2014/main" id="{A326D694-3261-4E71-B817-DB188929B1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9" name="Полилиния: фигура 468">
                        <a:extLst>
                          <a:ext uri="{FF2B5EF4-FFF2-40B4-BE49-F238E27FC236}">
                            <a16:creationId xmlns:a16="http://schemas.microsoft.com/office/drawing/2014/main" id="{FE73562B-4336-4AD5-93A4-599246A39C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0" name="Полилиния: фигура 469">
                        <a:extLst>
                          <a:ext uri="{FF2B5EF4-FFF2-40B4-BE49-F238E27FC236}">
                            <a16:creationId xmlns:a16="http://schemas.microsoft.com/office/drawing/2014/main" id="{94C7FCD3-96C8-4556-BC5B-01930A254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1" name="Полилиния: фигура 470">
                        <a:extLst>
                          <a:ext uri="{FF2B5EF4-FFF2-40B4-BE49-F238E27FC236}">
                            <a16:creationId xmlns:a16="http://schemas.microsoft.com/office/drawing/2014/main" id="{F1E64F4F-CB0D-4864-896F-08FC846FF2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2" name="Полилиния: фигура 471">
                        <a:extLst>
                          <a:ext uri="{FF2B5EF4-FFF2-40B4-BE49-F238E27FC236}">
                            <a16:creationId xmlns:a16="http://schemas.microsoft.com/office/drawing/2014/main" id="{E4416BD4-B57D-4326-A9C3-2ABC138B85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3" name="Полилиния: фигура 472">
                        <a:extLst>
                          <a:ext uri="{FF2B5EF4-FFF2-40B4-BE49-F238E27FC236}">
                            <a16:creationId xmlns:a16="http://schemas.microsoft.com/office/drawing/2014/main" id="{BDDDE06F-6732-4FF1-B2BE-01DC70A0D5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4" name="Полилиния: фигура 473">
                        <a:extLst>
                          <a:ext uri="{FF2B5EF4-FFF2-40B4-BE49-F238E27FC236}">
                            <a16:creationId xmlns:a16="http://schemas.microsoft.com/office/drawing/2014/main" id="{12637B7D-5666-4996-AF00-E6A45F7D9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5" name="Полилиния: фигура 474">
                        <a:extLst>
                          <a:ext uri="{FF2B5EF4-FFF2-40B4-BE49-F238E27FC236}">
                            <a16:creationId xmlns:a16="http://schemas.microsoft.com/office/drawing/2014/main" id="{FC5FDCF0-9B09-4BF7-ACAC-CEF4A71732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6" name="Полилиния: фигура 475">
                        <a:extLst>
                          <a:ext uri="{FF2B5EF4-FFF2-40B4-BE49-F238E27FC236}">
                            <a16:creationId xmlns:a16="http://schemas.microsoft.com/office/drawing/2014/main" id="{E7599BC2-986E-4626-ABE4-F78D5FC7E6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7" name="Полилиния: фигура 476">
                        <a:extLst>
                          <a:ext uri="{FF2B5EF4-FFF2-40B4-BE49-F238E27FC236}">
                            <a16:creationId xmlns:a16="http://schemas.microsoft.com/office/drawing/2014/main" id="{1135FFA8-DDD7-4444-B569-D1BCB8500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8" name="Полилиния: фигура 477">
                        <a:extLst>
                          <a:ext uri="{FF2B5EF4-FFF2-40B4-BE49-F238E27FC236}">
                            <a16:creationId xmlns:a16="http://schemas.microsoft.com/office/drawing/2014/main" id="{1E5135C5-813E-4724-92E6-587FC29FA2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79" name="Полилиния: фигура 478">
                        <a:extLst>
                          <a:ext uri="{FF2B5EF4-FFF2-40B4-BE49-F238E27FC236}">
                            <a16:creationId xmlns:a16="http://schemas.microsoft.com/office/drawing/2014/main" id="{C1A2C35C-6648-43BA-B12B-F7C6827688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63" name="Карточка 1_Ава">
                      <a:extLst>
                        <a:ext uri="{FF2B5EF4-FFF2-40B4-BE49-F238E27FC236}">
                          <a16:creationId xmlns:a16="http://schemas.microsoft.com/office/drawing/2014/main" id="{5CF0686B-CD61-4F53-B7CC-8133CEF7E4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64" name="Полилиния: фигура 463">
                        <a:extLst>
                          <a:ext uri="{FF2B5EF4-FFF2-40B4-BE49-F238E27FC236}">
                            <a16:creationId xmlns:a16="http://schemas.microsoft.com/office/drawing/2014/main" id="{54516CFB-D142-47A6-8BF9-080D2FE035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5" name="Полилиния: фигура 464">
                        <a:extLst>
                          <a:ext uri="{FF2B5EF4-FFF2-40B4-BE49-F238E27FC236}">
                            <a16:creationId xmlns:a16="http://schemas.microsoft.com/office/drawing/2014/main" id="{F120232A-18E5-42C7-8FDD-97D8205E7C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6" name="Полилиния: фигура 465">
                        <a:extLst>
                          <a:ext uri="{FF2B5EF4-FFF2-40B4-BE49-F238E27FC236}">
                            <a16:creationId xmlns:a16="http://schemas.microsoft.com/office/drawing/2014/main" id="{4C7AA9EB-5B83-4EE0-8D12-B0EECBA569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67" name="Полилиния: фигура 466">
                        <a:extLst>
                          <a:ext uri="{FF2B5EF4-FFF2-40B4-BE49-F238E27FC236}">
                            <a16:creationId xmlns:a16="http://schemas.microsoft.com/office/drawing/2014/main" id="{913F7452-E411-4DE9-BA31-1D4E767291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429" name="Группа 428">
              <a:extLst>
                <a:ext uri="{FF2B5EF4-FFF2-40B4-BE49-F238E27FC236}">
                  <a16:creationId xmlns:a16="http://schemas.microsoft.com/office/drawing/2014/main" id="{23AC4740-F5A6-4CD7-9B9D-5CC90530413E}"/>
                </a:ext>
              </a:extLst>
            </p:cNvPr>
            <p:cNvGrpSpPr/>
            <p:nvPr/>
          </p:nvGrpSpPr>
          <p:grpSpPr>
            <a:xfrm>
              <a:off x="1299450" y="5255310"/>
              <a:ext cx="2133541" cy="264211"/>
              <a:chOff x="2554156" y="1493927"/>
              <a:chExt cx="4624633" cy="572700"/>
            </a:xfrm>
          </p:grpSpPr>
          <p:sp>
            <p:nvSpPr>
              <p:cNvPr id="430" name="Rounded Rectangle">
                <a:extLst>
                  <a:ext uri="{FF2B5EF4-FFF2-40B4-BE49-F238E27FC236}">
                    <a16:creationId xmlns:a16="http://schemas.microsoft.com/office/drawing/2014/main" id="{B365A9B2-8E66-445A-8D7D-4D89FDBB6776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3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31" name="Market analysis">
                <a:extLst>
                  <a:ext uri="{FF2B5EF4-FFF2-40B4-BE49-F238E27FC236}">
                    <a16:creationId xmlns:a16="http://schemas.microsoft.com/office/drawing/2014/main" id="{6CFBA5B6-030C-4E28-9A42-CC6CF0950203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432" name="Группа 431">
                <a:extLst>
                  <a:ext uri="{FF2B5EF4-FFF2-40B4-BE49-F238E27FC236}">
                    <a16:creationId xmlns:a16="http://schemas.microsoft.com/office/drawing/2014/main" id="{590AD656-235D-42E6-9694-F39DEBD877D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433" name="Circle">
                  <a:extLst>
                    <a:ext uri="{FF2B5EF4-FFF2-40B4-BE49-F238E27FC236}">
                      <a16:creationId xmlns:a16="http://schemas.microsoft.com/office/drawing/2014/main" id="{31A4A39D-86D1-4549-80B5-543903F57A3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434" name="Группа 433">
                  <a:extLst>
                    <a:ext uri="{FF2B5EF4-FFF2-40B4-BE49-F238E27FC236}">
                      <a16:creationId xmlns:a16="http://schemas.microsoft.com/office/drawing/2014/main" id="{5D3D6D78-C20D-4AD9-941D-E76E156FE113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435" name="Полилиния: фигура 434">
                    <a:extLst>
                      <a:ext uri="{FF2B5EF4-FFF2-40B4-BE49-F238E27FC236}">
                        <a16:creationId xmlns:a16="http://schemas.microsoft.com/office/drawing/2014/main" id="{4B73840D-F945-4416-8A1B-34EECB763410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436" name="Карточка 1_Ава">
                    <a:extLst>
                      <a:ext uri="{FF2B5EF4-FFF2-40B4-BE49-F238E27FC236}">
                        <a16:creationId xmlns:a16="http://schemas.microsoft.com/office/drawing/2014/main" id="{8940F4F1-10CF-4A2A-A019-F2D06406F93E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437" name="Карточка 1_Ава">
                      <a:extLst>
                        <a:ext uri="{FF2B5EF4-FFF2-40B4-BE49-F238E27FC236}">
                          <a16:creationId xmlns:a16="http://schemas.microsoft.com/office/drawing/2014/main" id="{75B9A704-B2BC-4190-8F4D-9AB3536B9E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443" name="Полилиния: фигура 442">
                        <a:extLst>
                          <a:ext uri="{FF2B5EF4-FFF2-40B4-BE49-F238E27FC236}">
                            <a16:creationId xmlns:a16="http://schemas.microsoft.com/office/drawing/2014/main" id="{0F6CEA1F-E1C8-4187-B2A6-FB36733571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4" name="Полилиния: фигура 443">
                        <a:extLst>
                          <a:ext uri="{FF2B5EF4-FFF2-40B4-BE49-F238E27FC236}">
                            <a16:creationId xmlns:a16="http://schemas.microsoft.com/office/drawing/2014/main" id="{DCEE02BB-1F55-432B-84D4-1750ACC3BA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5" name="Полилиния: фигура 444">
                        <a:extLst>
                          <a:ext uri="{FF2B5EF4-FFF2-40B4-BE49-F238E27FC236}">
                            <a16:creationId xmlns:a16="http://schemas.microsoft.com/office/drawing/2014/main" id="{9D64A0E1-3D63-4E54-929F-8E223108F0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6" name="Полилиния: фигура 445">
                        <a:extLst>
                          <a:ext uri="{FF2B5EF4-FFF2-40B4-BE49-F238E27FC236}">
                            <a16:creationId xmlns:a16="http://schemas.microsoft.com/office/drawing/2014/main" id="{219863A7-3BE3-4855-B032-7F18BB2B8D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7" name="Полилиния: фигура 446">
                        <a:extLst>
                          <a:ext uri="{FF2B5EF4-FFF2-40B4-BE49-F238E27FC236}">
                            <a16:creationId xmlns:a16="http://schemas.microsoft.com/office/drawing/2014/main" id="{222FA527-049D-4080-B83E-62807BCB4C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8" name="Полилиния: фигура 447">
                        <a:extLst>
                          <a:ext uri="{FF2B5EF4-FFF2-40B4-BE49-F238E27FC236}">
                            <a16:creationId xmlns:a16="http://schemas.microsoft.com/office/drawing/2014/main" id="{4DF3ED31-D9E0-43F9-AA76-C111FA6771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9" name="Полилиния: фигура 448">
                        <a:extLst>
                          <a:ext uri="{FF2B5EF4-FFF2-40B4-BE49-F238E27FC236}">
                            <a16:creationId xmlns:a16="http://schemas.microsoft.com/office/drawing/2014/main" id="{BDD24AF0-0A68-4EEE-B7F1-14A838AFAB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0" name="Полилиния: фигура 449">
                        <a:extLst>
                          <a:ext uri="{FF2B5EF4-FFF2-40B4-BE49-F238E27FC236}">
                            <a16:creationId xmlns:a16="http://schemas.microsoft.com/office/drawing/2014/main" id="{861AF3B1-624C-41E6-8C1F-B14EC161D6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1" name="Полилиния: фигура 450">
                        <a:extLst>
                          <a:ext uri="{FF2B5EF4-FFF2-40B4-BE49-F238E27FC236}">
                            <a16:creationId xmlns:a16="http://schemas.microsoft.com/office/drawing/2014/main" id="{E9774A0A-59E2-4916-92F8-2DA535E53F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2" name="Полилиния: фигура 451">
                        <a:extLst>
                          <a:ext uri="{FF2B5EF4-FFF2-40B4-BE49-F238E27FC236}">
                            <a16:creationId xmlns:a16="http://schemas.microsoft.com/office/drawing/2014/main" id="{6006A2D1-FD33-476A-A80F-EC5C63217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3" name="Полилиния: фигура 452">
                        <a:extLst>
                          <a:ext uri="{FF2B5EF4-FFF2-40B4-BE49-F238E27FC236}">
                            <a16:creationId xmlns:a16="http://schemas.microsoft.com/office/drawing/2014/main" id="{D288A26A-8277-4F55-B586-F40BEFA3A2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54" name="Полилиния: фигура 453">
                        <a:extLst>
                          <a:ext uri="{FF2B5EF4-FFF2-40B4-BE49-F238E27FC236}">
                            <a16:creationId xmlns:a16="http://schemas.microsoft.com/office/drawing/2014/main" id="{1E6E730D-1014-4190-BE75-FF423422A5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438" name="Карточка 1_Ава">
                      <a:extLst>
                        <a:ext uri="{FF2B5EF4-FFF2-40B4-BE49-F238E27FC236}">
                          <a16:creationId xmlns:a16="http://schemas.microsoft.com/office/drawing/2014/main" id="{D7312DD7-1AD5-4E62-9A17-0064032761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439" name="Полилиния: фигура 438">
                        <a:extLst>
                          <a:ext uri="{FF2B5EF4-FFF2-40B4-BE49-F238E27FC236}">
                            <a16:creationId xmlns:a16="http://schemas.microsoft.com/office/drawing/2014/main" id="{895219D3-46F9-4612-9D6C-00F602E4D7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0" name="Полилиния: фигура 439">
                        <a:extLst>
                          <a:ext uri="{FF2B5EF4-FFF2-40B4-BE49-F238E27FC236}">
                            <a16:creationId xmlns:a16="http://schemas.microsoft.com/office/drawing/2014/main" id="{35787BB2-E41F-4B3F-BD80-E1C4F886A7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1" name="Полилиния: фигура 440">
                        <a:extLst>
                          <a:ext uri="{FF2B5EF4-FFF2-40B4-BE49-F238E27FC236}">
                            <a16:creationId xmlns:a16="http://schemas.microsoft.com/office/drawing/2014/main" id="{5A9127F8-27AD-49CD-86E6-75D5142245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442" name="Полилиния: фигура 441">
                        <a:extLst>
                          <a:ext uri="{FF2B5EF4-FFF2-40B4-BE49-F238E27FC236}">
                            <a16:creationId xmlns:a16="http://schemas.microsoft.com/office/drawing/2014/main" id="{80256AD4-589C-4E1C-A63C-26E5E4E7D1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649408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Шаг 1. Идентификация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A715C29-ED60-4423-948A-4B4D72E5E0B3}"/>
              </a:ext>
            </a:extLst>
          </p:cNvPr>
          <p:cNvGrpSpPr/>
          <p:nvPr/>
        </p:nvGrpSpPr>
        <p:grpSpPr>
          <a:xfrm>
            <a:off x="4943842" y="1717758"/>
            <a:ext cx="1959751" cy="1967091"/>
            <a:chOff x="4682623" y="1512504"/>
            <a:chExt cx="1959751" cy="1967091"/>
          </a:xfrm>
        </p:grpSpPr>
        <p:sp>
          <p:nvSpPr>
            <p:cNvPr id="1189" name="Shape_фон">
              <a:extLst>
                <a:ext uri="{FF2B5EF4-FFF2-40B4-BE49-F238E27FC236}">
                  <a16:creationId xmlns:a16="http://schemas.microsoft.com/office/drawing/2014/main" id="{2FD81F28-8C41-41DF-B1A9-A3630F91157B}"/>
                </a:ext>
              </a:extLst>
            </p:cNvPr>
            <p:cNvSpPr/>
            <p:nvPr/>
          </p:nvSpPr>
          <p:spPr>
            <a:xfrm>
              <a:off x="4682623" y="1512504"/>
              <a:ext cx="1959751" cy="196709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90" name="Описание">
              <a:extLst>
                <a:ext uri="{FF2B5EF4-FFF2-40B4-BE49-F238E27FC236}">
                  <a16:creationId xmlns:a16="http://schemas.microsoft.com/office/drawing/2014/main" id="{392FFD61-0810-4CC6-8F97-B2E665D33E6A}"/>
                </a:ext>
              </a:extLst>
            </p:cNvPr>
            <p:cNvSpPr txBox="1"/>
            <p:nvPr/>
          </p:nvSpPr>
          <p:spPr>
            <a:xfrm>
              <a:off x="4757442" y="1689544"/>
              <a:ext cx="18101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«Единый клиент»</a:t>
              </a:r>
            </a:p>
          </p:txBody>
        </p:sp>
        <p:grpSp>
          <p:nvGrpSpPr>
            <p:cNvPr id="1191" name="ЕК_Лого">
              <a:extLst>
                <a:ext uri="{FF2B5EF4-FFF2-40B4-BE49-F238E27FC236}">
                  <a16:creationId xmlns:a16="http://schemas.microsoft.com/office/drawing/2014/main" id="{B3EE9007-F211-4439-AB50-E09E36B6B40A}"/>
                </a:ext>
              </a:extLst>
            </p:cNvPr>
            <p:cNvGrpSpPr/>
            <p:nvPr/>
          </p:nvGrpSpPr>
          <p:grpSpPr>
            <a:xfrm>
              <a:off x="5099023" y="2150632"/>
              <a:ext cx="1129098" cy="1120462"/>
              <a:chOff x="9141588" y="2080803"/>
              <a:chExt cx="2020578" cy="2005124"/>
            </a:xfrm>
          </p:grpSpPr>
          <p:sp>
            <p:nvSpPr>
              <p:cNvPr id="1192" name="Полилиния: фигура 1191">
                <a:extLst>
                  <a:ext uri="{FF2B5EF4-FFF2-40B4-BE49-F238E27FC236}">
                    <a16:creationId xmlns:a16="http://schemas.microsoft.com/office/drawing/2014/main" id="{DD97320C-AB5E-4382-A3A3-1A88C414E9EF}"/>
                  </a:ext>
                </a:extLst>
              </p:cNvPr>
              <p:cNvSpPr/>
              <p:nvPr/>
            </p:nvSpPr>
            <p:spPr>
              <a:xfrm>
                <a:off x="10289981" y="2794439"/>
                <a:ext cx="184663" cy="294906"/>
              </a:xfrm>
              <a:custGeom>
                <a:avLst/>
                <a:gdLst>
                  <a:gd name="connsiteX0" fmla="*/ 15893 w 184663"/>
                  <a:gd name="connsiteY0" fmla="*/ 4498 h 294906"/>
                  <a:gd name="connsiteX1" fmla="*/ 6956 w 184663"/>
                  <a:gd name="connsiteY1" fmla="*/ 9719 h 294906"/>
                  <a:gd name="connsiteX2" fmla="*/ 2856 w 184663"/>
                  <a:gd name="connsiteY2" fmla="*/ 19246 h 294906"/>
                  <a:gd name="connsiteX3" fmla="*/ 18902 w 184663"/>
                  <a:gd name="connsiteY3" fmla="*/ 271287 h 294906"/>
                  <a:gd name="connsiteX4" fmla="*/ 23680 w 184663"/>
                  <a:gd name="connsiteY4" fmla="*/ 278986 h 294906"/>
                  <a:gd name="connsiteX5" fmla="*/ 31143 w 184663"/>
                  <a:gd name="connsiteY5" fmla="*/ 284118 h 294906"/>
                  <a:gd name="connsiteX6" fmla="*/ 122137 w 184663"/>
                  <a:gd name="connsiteY6" fmla="*/ 294736 h 294906"/>
                  <a:gd name="connsiteX7" fmla="*/ 165525 w 184663"/>
                  <a:gd name="connsiteY7" fmla="*/ 291138 h 294906"/>
                  <a:gd name="connsiteX8" fmla="*/ 171897 w 184663"/>
                  <a:gd name="connsiteY8" fmla="*/ 286684 h 294906"/>
                  <a:gd name="connsiteX9" fmla="*/ 175554 w 184663"/>
                  <a:gd name="connsiteY9" fmla="*/ 279811 h 294906"/>
                  <a:gd name="connsiteX10" fmla="*/ 184373 w 184663"/>
                  <a:gd name="connsiteY10" fmla="*/ 163805 h 294906"/>
                  <a:gd name="connsiteX11" fmla="*/ 137062 w 184663"/>
                  <a:gd name="connsiteY11" fmla="*/ 23434 h 294906"/>
                  <a:gd name="connsiteX12" fmla="*/ 15923 w 184663"/>
                  <a:gd name="connsiteY12" fmla="*/ 4498 h 294906"/>
                  <a:gd name="connsiteX13" fmla="*/ 151456 w 184663"/>
                  <a:gd name="connsiteY13" fmla="*/ 162389 h 294906"/>
                  <a:gd name="connsiteX14" fmla="*/ 145350 w 184663"/>
                  <a:gd name="connsiteY14" fmla="*/ 261229 h 294906"/>
                  <a:gd name="connsiteX15" fmla="*/ 48958 w 184663"/>
                  <a:gd name="connsiteY15" fmla="*/ 255507 h 294906"/>
                  <a:gd name="connsiteX16" fmla="*/ 34918 w 184663"/>
                  <a:gd name="connsiteY16" fmla="*/ 34937 h 294906"/>
                  <a:gd name="connsiteX17" fmla="*/ 115088 w 184663"/>
                  <a:gd name="connsiteY17" fmla="*/ 48063 h 294906"/>
                  <a:gd name="connsiteX18" fmla="*/ 151456 w 184663"/>
                  <a:gd name="connsiteY18" fmla="*/ 162359 h 2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4663" h="294906">
                    <a:moveTo>
                      <a:pt x="15893" y="4498"/>
                    </a:moveTo>
                    <a:cubicBezTo>
                      <a:pt x="12442" y="5235"/>
                      <a:pt x="9286" y="7064"/>
                      <a:pt x="6956" y="9719"/>
                    </a:cubicBezTo>
                    <a:cubicBezTo>
                      <a:pt x="4626" y="12373"/>
                      <a:pt x="3181" y="15706"/>
                      <a:pt x="2856" y="19246"/>
                    </a:cubicBezTo>
                    <a:cubicBezTo>
                      <a:pt x="-7172" y="130828"/>
                      <a:pt x="11882" y="250345"/>
                      <a:pt x="18902" y="271287"/>
                    </a:cubicBezTo>
                    <a:cubicBezTo>
                      <a:pt x="19934" y="274148"/>
                      <a:pt x="21557" y="276773"/>
                      <a:pt x="23680" y="278986"/>
                    </a:cubicBezTo>
                    <a:cubicBezTo>
                      <a:pt x="25774" y="281198"/>
                      <a:pt x="28311" y="282938"/>
                      <a:pt x="31143" y="284118"/>
                    </a:cubicBezTo>
                    <a:cubicBezTo>
                      <a:pt x="46185" y="291344"/>
                      <a:pt x="88453" y="294736"/>
                      <a:pt x="122137" y="294736"/>
                    </a:cubicBezTo>
                    <a:cubicBezTo>
                      <a:pt x="136708" y="295385"/>
                      <a:pt x="151279" y="294176"/>
                      <a:pt x="165525" y="291138"/>
                    </a:cubicBezTo>
                    <a:cubicBezTo>
                      <a:pt x="167974" y="290165"/>
                      <a:pt x="170156" y="288660"/>
                      <a:pt x="171897" y="286684"/>
                    </a:cubicBezTo>
                    <a:cubicBezTo>
                      <a:pt x="173637" y="284708"/>
                      <a:pt x="174876" y="282348"/>
                      <a:pt x="175554" y="279811"/>
                    </a:cubicBezTo>
                    <a:cubicBezTo>
                      <a:pt x="178858" y="267187"/>
                      <a:pt x="180657" y="239697"/>
                      <a:pt x="184373" y="163805"/>
                    </a:cubicBezTo>
                    <a:cubicBezTo>
                      <a:pt x="187175" y="106258"/>
                      <a:pt x="169537" y="53520"/>
                      <a:pt x="137062" y="23434"/>
                    </a:cubicBezTo>
                    <a:cubicBezTo>
                      <a:pt x="98776" y="-11843"/>
                      <a:pt x="24034" y="2669"/>
                      <a:pt x="15923" y="4498"/>
                    </a:cubicBezTo>
                    <a:close/>
                    <a:moveTo>
                      <a:pt x="151456" y="162389"/>
                    </a:moveTo>
                    <a:cubicBezTo>
                      <a:pt x="149244" y="207901"/>
                      <a:pt x="147444" y="243296"/>
                      <a:pt x="145350" y="261229"/>
                    </a:cubicBezTo>
                    <a:cubicBezTo>
                      <a:pt x="113111" y="262792"/>
                      <a:pt x="80784" y="260875"/>
                      <a:pt x="48958" y="255507"/>
                    </a:cubicBezTo>
                    <a:cubicBezTo>
                      <a:pt x="35302" y="182829"/>
                      <a:pt x="30582" y="108765"/>
                      <a:pt x="34918" y="34937"/>
                    </a:cubicBezTo>
                    <a:cubicBezTo>
                      <a:pt x="57571" y="32017"/>
                      <a:pt x="96535" y="31132"/>
                      <a:pt x="115088" y="48063"/>
                    </a:cubicBezTo>
                    <a:cubicBezTo>
                      <a:pt x="140041" y="71719"/>
                      <a:pt x="154258" y="114429"/>
                      <a:pt x="151456" y="1623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3" name="Полилиния: фигура 1192">
                <a:extLst>
                  <a:ext uri="{FF2B5EF4-FFF2-40B4-BE49-F238E27FC236}">
                    <a16:creationId xmlns:a16="http://schemas.microsoft.com/office/drawing/2014/main" id="{8DDB9238-14C6-4D5C-84D4-6B98C2552F00}"/>
                  </a:ext>
                </a:extLst>
              </p:cNvPr>
              <p:cNvSpPr/>
              <p:nvPr/>
            </p:nvSpPr>
            <p:spPr>
              <a:xfrm>
                <a:off x="9768388" y="2275873"/>
                <a:ext cx="369594" cy="581022"/>
              </a:xfrm>
              <a:custGeom>
                <a:avLst/>
                <a:gdLst>
                  <a:gd name="connsiteX0" fmla="*/ 293084 w 369594"/>
                  <a:gd name="connsiteY0" fmla="*/ 253885 h 581022"/>
                  <a:gd name="connsiteX1" fmla="*/ 285061 w 369594"/>
                  <a:gd name="connsiteY1" fmla="*/ 253885 h 581022"/>
                  <a:gd name="connsiteX2" fmla="*/ 234152 w 369594"/>
                  <a:gd name="connsiteY2" fmla="*/ 243856 h 581022"/>
                  <a:gd name="connsiteX3" fmla="*/ 229137 w 369594"/>
                  <a:gd name="connsiteY3" fmla="*/ 230318 h 581022"/>
                  <a:gd name="connsiteX4" fmla="*/ 230730 w 369594"/>
                  <a:gd name="connsiteY4" fmla="*/ 215983 h 581022"/>
                  <a:gd name="connsiteX5" fmla="*/ 241467 w 369594"/>
                  <a:gd name="connsiteY5" fmla="*/ 199849 h 581022"/>
                  <a:gd name="connsiteX6" fmla="*/ 257512 w 369594"/>
                  <a:gd name="connsiteY6" fmla="*/ 174689 h 581022"/>
                  <a:gd name="connsiteX7" fmla="*/ 270431 w 369594"/>
                  <a:gd name="connsiteY7" fmla="*/ 118234 h 581022"/>
                  <a:gd name="connsiteX8" fmla="*/ 266774 w 369594"/>
                  <a:gd name="connsiteY8" fmla="*/ 72309 h 581022"/>
                  <a:gd name="connsiteX9" fmla="*/ 244977 w 369594"/>
                  <a:gd name="connsiteY9" fmla="*/ 31723 h 581022"/>
                  <a:gd name="connsiteX10" fmla="*/ 215038 w 369594"/>
                  <a:gd name="connsiteY10" fmla="*/ 9217 h 581022"/>
                  <a:gd name="connsiteX11" fmla="*/ 178699 w 369594"/>
                  <a:gd name="connsiteY11" fmla="*/ 103 h 581022"/>
                  <a:gd name="connsiteX12" fmla="*/ 141682 w 369594"/>
                  <a:gd name="connsiteY12" fmla="*/ 5825 h 581022"/>
                  <a:gd name="connsiteX13" fmla="*/ 109797 w 369594"/>
                  <a:gd name="connsiteY13" fmla="*/ 25499 h 581022"/>
                  <a:gd name="connsiteX14" fmla="*/ 79741 w 369594"/>
                  <a:gd name="connsiteY14" fmla="*/ 111125 h 581022"/>
                  <a:gd name="connsiteX15" fmla="*/ 90950 w 369594"/>
                  <a:gd name="connsiteY15" fmla="*/ 172388 h 581022"/>
                  <a:gd name="connsiteX16" fmla="*/ 119619 w 369594"/>
                  <a:gd name="connsiteY16" fmla="*/ 212502 h 581022"/>
                  <a:gd name="connsiteX17" fmla="*/ 126934 w 369594"/>
                  <a:gd name="connsiteY17" fmla="*/ 220407 h 581022"/>
                  <a:gd name="connsiteX18" fmla="*/ 125637 w 369594"/>
                  <a:gd name="connsiteY18" fmla="*/ 246776 h 581022"/>
                  <a:gd name="connsiteX19" fmla="*/ 90478 w 369594"/>
                  <a:gd name="connsiteY19" fmla="*/ 256805 h 581022"/>
                  <a:gd name="connsiteX20" fmla="*/ 82750 w 369594"/>
                  <a:gd name="connsiteY20" fmla="*/ 256805 h 581022"/>
                  <a:gd name="connsiteX21" fmla="*/ 10308 w 369594"/>
                  <a:gd name="connsiteY21" fmla="*/ 290283 h 581022"/>
                  <a:gd name="connsiteX22" fmla="*/ 50393 w 369594"/>
                  <a:gd name="connsiteY22" fmla="*/ 560966 h 581022"/>
                  <a:gd name="connsiteX23" fmla="*/ 75140 w 369594"/>
                  <a:gd name="connsiteY23" fmla="*/ 581023 h 581022"/>
                  <a:gd name="connsiteX24" fmla="*/ 252409 w 369594"/>
                  <a:gd name="connsiteY24" fmla="*/ 581023 h 581022"/>
                  <a:gd name="connsiteX25" fmla="*/ 311843 w 369594"/>
                  <a:gd name="connsiteY25" fmla="*/ 580521 h 581022"/>
                  <a:gd name="connsiteX26" fmla="*/ 323671 w 369594"/>
                  <a:gd name="connsiteY26" fmla="*/ 576244 h 581022"/>
                  <a:gd name="connsiteX27" fmla="*/ 331871 w 369594"/>
                  <a:gd name="connsiteY27" fmla="*/ 566688 h 581022"/>
                  <a:gd name="connsiteX28" fmla="*/ 365231 w 369594"/>
                  <a:gd name="connsiteY28" fmla="*/ 297598 h 581022"/>
                  <a:gd name="connsiteX29" fmla="*/ 335765 w 369594"/>
                  <a:gd name="connsiteY29" fmla="*/ 264828 h 581022"/>
                  <a:gd name="connsiteX30" fmla="*/ 293084 w 369594"/>
                  <a:gd name="connsiteY30" fmla="*/ 253885 h 581022"/>
                  <a:gd name="connsiteX31" fmla="*/ 304499 w 369594"/>
                  <a:gd name="connsiteY31" fmla="*/ 548046 h 581022"/>
                  <a:gd name="connsiteX32" fmla="*/ 134751 w 369594"/>
                  <a:gd name="connsiteY32" fmla="*/ 548046 h 581022"/>
                  <a:gd name="connsiteX33" fmla="*/ 81127 w 369594"/>
                  <a:gd name="connsiteY33" fmla="*/ 548046 h 581022"/>
                  <a:gd name="connsiteX34" fmla="*/ 38447 w 369594"/>
                  <a:gd name="connsiteY34" fmla="*/ 308128 h 581022"/>
                  <a:gd name="connsiteX35" fmla="*/ 83251 w 369594"/>
                  <a:gd name="connsiteY35" fmla="*/ 289693 h 581022"/>
                  <a:gd name="connsiteX36" fmla="*/ 92159 w 369594"/>
                  <a:gd name="connsiteY36" fmla="*/ 289693 h 581022"/>
                  <a:gd name="connsiteX37" fmla="*/ 153776 w 369594"/>
                  <a:gd name="connsiteY37" fmla="*/ 265123 h 581022"/>
                  <a:gd name="connsiteX38" fmla="*/ 155073 w 369594"/>
                  <a:gd name="connsiteY38" fmla="*/ 201854 h 581022"/>
                  <a:gd name="connsiteX39" fmla="*/ 144248 w 369594"/>
                  <a:gd name="connsiteY39" fmla="*/ 189938 h 581022"/>
                  <a:gd name="connsiteX40" fmla="*/ 122097 w 369594"/>
                  <a:gd name="connsiteY40" fmla="*/ 159852 h 581022"/>
                  <a:gd name="connsiteX41" fmla="*/ 113278 w 369594"/>
                  <a:gd name="connsiteY41" fmla="*/ 110417 h 581022"/>
                  <a:gd name="connsiteX42" fmla="*/ 133306 w 369594"/>
                  <a:gd name="connsiteY42" fmla="*/ 48653 h 581022"/>
                  <a:gd name="connsiteX43" fmla="*/ 152448 w 369594"/>
                  <a:gd name="connsiteY43" fmla="*/ 36648 h 581022"/>
                  <a:gd name="connsiteX44" fmla="*/ 174777 w 369594"/>
                  <a:gd name="connsiteY44" fmla="*/ 33197 h 581022"/>
                  <a:gd name="connsiteX45" fmla="*/ 199553 w 369594"/>
                  <a:gd name="connsiteY45" fmla="*/ 38094 h 581022"/>
                  <a:gd name="connsiteX46" fmla="*/ 219758 w 369594"/>
                  <a:gd name="connsiteY46" fmla="*/ 53255 h 581022"/>
                  <a:gd name="connsiteX47" fmla="*/ 234594 w 369594"/>
                  <a:gd name="connsiteY47" fmla="*/ 81276 h 581022"/>
                  <a:gd name="connsiteX48" fmla="*/ 237190 w 369594"/>
                  <a:gd name="connsiteY48" fmla="*/ 112895 h 581022"/>
                  <a:gd name="connsiteX49" fmla="*/ 225981 w 369594"/>
                  <a:gd name="connsiteY49" fmla="*/ 163038 h 581022"/>
                  <a:gd name="connsiteX50" fmla="*/ 215363 w 369594"/>
                  <a:gd name="connsiteY50" fmla="*/ 178789 h 581022"/>
                  <a:gd name="connsiteX51" fmla="*/ 199022 w 369594"/>
                  <a:gd name="connsiteY51" fmla="*/ 204863 h 581022"/>
                  <a:gd name="connsiteX52" fmla="*/ 195925 w 369594"/>
                  <a:gd name="connsiteY52" fmla="*/ 234506 h 581022"/>
                  <a:gd name="connsiteX53" fmla="*/ 206455 w 369594"/>
                  <a:gd name="connsiteY53" fmla="*/ 262409 h 581022"/>
                  <a:gd name="connsiteX54" fmla="*/ 285209 w 369594"/>
                  <a:gd name="connsiteY54" fmla="*/ 287481 h 581022"/>
                  <a:gd name="connsiteX55" fmla="*/ 292435 w 369594"/>
                  <a:gd name="connsiteY55" fmla="*/ 287481 h 581022"/>
                  <a:gd name="connsiteX56" fmla="*/ 317477 w 369594"/>
                  <a:gd name="connsiteY56" fmla="*/ 292878 h 581022"/>
                  <a:gd name="connsiteX57" fmla="*/ 335116 w 369594"/>
                  <a:gd name="connsiteY57" fmla="*/ 311431 h 581022"/>
                  <a:gd name="connsiteX58" fmla="*/ 304440 w 369594"/>
                  <a:gd name="connsiteY58" fmla="*/ 548046 h 58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69594" h="581022">
                    <a:moveTo>
                      <a:pt x="293084" y="253885"/>
                    </a:moveTo>
                    <a:lnTo>
                      <a:pt x="285061" y="253885"/>
                    </a:lnTo>
                    <a:cubicBezTo>
                      <a:pt x="268839" y="253885"/>
                      <a:pt x="241467" y="253885"/>
                      <a:pt x="234152" y="243856"/>
                    </a:cubicBezTo>
                    <a:cubicBezTo>
                      <a:pt x="231438" y="239786"/>
                      <a:pt x="229727" y="235155"/>
                      <a:pt x="229137" y="230318"/>
                    </a:cubicBezTo>
                    <a:cubicBezTo>
                      <a:pt x="228547" y="225480"/>
                      <a:pt x="229078" y="220555"/>
                      <a:pt x="230730" y="215983"/>
                    </a:cubicBezTo>
                    <a:cubicBezTo>
                      <a:pt x="233385" y="210054"/>
                      <a:pt x="237013" y="204597"/>
                      <a:pt x="241467" y="199849"/>
                    </a:cubicBezTo>
                    <a:cubicBezTo>
                      <a:pt x="248192" y="192416"/>
                      <a:pt x="253619" y="183921"/>
                      <a:pt x="257512" y="174689"/>
                    </a:cubicBezTo>
                    <a:cubicBezTo>
                      <a:pt x="263765" y="156372"/>
                      <a:pt x="268101" y="137465"/>
                      <a:pt x="270431" y="118234"/>
                    </a:cubicBezTo>
                    <a:cubicBezTo>
                      <a:pt x="272408" y="102837"/>
                      <a:pt x="271169" y="87204"/>
                      <a:pt x="266774" y="72309"/>
                    </a:cubicBezTo>
                    <a:cubicBezTo>
                      <a:pt x="262409" y="57413"/>
                      <a:pt x="254976" y="43609"/>
                      <a:pt x="244977" y="31723"/>
                    </a:cubicBezTo>
                    <a:cubicBezTo>
                      <a:pt x="236600" y="22284"/>
                      <a:pt x="226424" y="14645"/>
                      <a:pt x="215038" y="9217"/>
                    </a:cubicBezTo>
                    <a:cubicBezTo>
                      <a:pt x="203653" y="3790"/>
                      <a:pt x="191294" y="693"/>
                      <a:pt x="178699" y="103"/>
                    </a:cubicBezTo>
                    <a:cubicBezTo>
                      <a:pt x="166105" y="-487"/>
                      <a:pt x="153510" y="1460"/>
                      <a:pt x="141682" y="5825"/>
                    </a:cubicBezTo>
                    <a:cubicBezTo>
                      <a:pt x="129854" y="10191"/>
                      <a:pt x="119000" y="16886"/>
                      <a:pt x="109797" y="25499"/>
                    </a:cubicBezTo>
                    <a:cubicBezTo>
                      <a:pt x="88826" y="48919"/>
                      <a:pt x="78030" y="79712"/>
                      <a:pt x="79741" y="111125"/>
                    </a:cubicBezTo>
                    <a:cubicBezTo>
                      <a:pt x="79653" y="132067"/>
                      <a:pt x="83458" y="152832"/>
                      <a:pt x="90950" y="172388"/>
                    </a:cubicBezTo>
                    <a:cubicBezTo>
                      <a:pt x="97940" y="187431"/>
                      <a:pt x="107644" y="201028"/>
                      <a:pt x="119619" y="212502"/>
                    </a:cubicBezTo>
                    <a:lnTo>
                      <a:pt x="126934" y="220407"/>
                    </a:lnTo>
                    <a:cubicBezTo>
                      <a:pt x="127937" y="229197"/>
                      <a:pt x="127495" y="238105"/>
                      <a:pt x="125637" y="246776"/>
                    </a:cubicBezTo>
                    <a:cubicBezTo>
                      <a:pt x="119413" y="255183"/>
                      <a:pt x="97675" y="256097"/>
                      <a:pt x="90478" y="256805"/>
                    </a:cubicBezTo>
                    <a:lnTo>
                      <a:pt x="82750" y="256805"/>
                    </a:lnTo>
                    <a:cubicBezTo>
                      <a:pt x="63695" y="256805"/>
                      <a:pt x="31928" y="256805"/>
                      <a:pt x="10308" y="290283"/>
                    </a:cubicBezTo>
                    <a:cubicBezTo>
                      <a:pt x="-21046" y="338508"/>
                      <a:pt x="26944" y="518167"/>
                      <a:pt x="50393" y="560966"/>
                    </a:cubicBezTo>
                    <a:cubicBezTo>
                      <a:pt x="53608" y="566983"/>
                      <a:pt x="61218" y="581023"/>
                      <a:pt x="75140" y="581023"/>
                    </a:cubicBezTo>
                    <a:lnTo>
                      <a:pt x="252409" y="581023"/>
                    </a:lnTo>
                    <a:cubicBezTo>
                      <a:pt x="283881" y="581023"/>
                      <a:pt x="305620" y="581023"/>
                      <a:pt x="311843" y="580521"/>
                    </a:cubicBezTo>
                    <a:cubicBezTo>
                      <a:pt x="316091" y="580138"/>
                      <a:pt x="320161" y="578663"/>
                      <a:pt x="323671" y="576244"/>
                    </a:cubicBezTo>
                    <a:cubicBezTo>
                      <a:pt x="327181" y="573826"/>
                      <a:pt x="330013" y="570522"/>
                      <a:pt x="331871" y="566688"/>
                    </a:cubicBezTo>
                    <a:cubicBezTo>
                      <a:pt x="355232" y="527989"/>
                      <a:pt x="379772" y="328893"/>
                      <a:pt x="365231" y="297598"/>
                    </a:cubicBezTo>
                    <a:cubicBezTo>
                      <a:pt x="358860" y="284000"/>
                      <a:pt x="348595" y="272585"/>
                      <a:pt x="335765" y="264828"/>
                    </a:cubicBezTo>
                    <a:cubicBezTo>
                      <a:pt x="322934" y="257041"/>
                      <a:pt x="308068" y="253236"/>
                      <a:pt x="293084" y="253885"/>
                    </a:cubicBezTo>
                    <a:close/>
                    <a:moveTo>
                      <a:pt x="304499" y="548046"/>
                    </a:moveTo>
                    <a:cubicBezTo>
                      <a:pt x="279841" y="548548"/>
                      <a:pt x="193565" y="548046"/>
                      <a:pt x="134751" y="548046"/>
                    </a:cubicBezTo>
                    <a:lnTo>
                      <a:pt x="81127" y="548046"/>
                    </a:lnTo>
                    <a:cubicBezTo>
                      <a:pt x="59979" y="516781"/>
                      <a:pt x="18301" y="339128"/>
                      <a:pt x="38447" y="308128"/>
                    </a:cubicBezTo>
                    <a:cubicBezTo>
                      <a:pt x="50363" y="289781"/>
                      <a:pt x="65613" y="289781"/>
                      <a:pt x="83251" y="289693"/>
                    </a:cubicBezTo>
                    <a:lnTo>
                      <a:pt x="92159" y="289693"/>
                    </a:lnTo>
                    <a:cubicBezTo>
                      <a:pt x="105992" y="289103"/>
                      <a:pt x="138467" y="287776"/>
                      <a:pt x="153776" y="265123"/>
                    </a:cubicBezTo>
                    <a:cubicBezTo>
                      <a:pt x="162683" y="251879"/>
                      <a:pt x="163804" y="211676"/>
                      <a:pt x="155073" y="201854"/>
                    </a:cubicBezTo>
                    <a:cubicBezTo>
                      <a:pt x="151563" y="197754"/>
                      <a:pt x="147847" y="193743"/>
                      <a:pt x="144248" y="189938"/>
                    </a:cubicBezTo>
                    <a:cubicBezTo>
                      <a:pt x="135134" y="181325"/>
                      <a:pt x="127642" y="171120"/>
                      <a:pt x="122097" y="159852"/>
                    </a:cubicBezTo>
                    <a:cubicBezTo>
                      <a:pt x="116168" y="144072"/>
                      <a:pt x="113160" y="127318"/>
                      <a:pt x="113278" y="110417"/>
                    </a:cubicBezTo>
                    <a:cubicBezTo>
                      <a:pt x="111626" y="88001"/>
                      <a:pt x="118823" y="65820"/>
                      <a:pt x="133306" y="48653"/>
                    </a:cubicBezTo>
                    <a:cubicBezTo>
                      <a:pt x="138821" y="43403"/>
                      <a:pt x="145340" y="39303"/>
                      <a:pt x="152448" y="36648"/>
                    </a:cubicBezTo>
                    <a:cubicBezTo>
                      <a:pt x="159586" y="33994"/>
                      <a:pt x="167167" y="32814"/>
                      <a:pt x="174777" y="33197"/>
                    </a:cubicBezTo>
                    <a:cubicBezTo>
                      <a:pt x="183301" y="32961"/>
                      <a:pt x="191766" y="34613"/>
                      <a:pt x="199553" y="38094"/>
                    </a:cubicBezTo>
                    <a:cubicBezTo>
                      <a:pt x="207340" y="41574"/>
                      <a:pt x="214242" y="46736"/>
                      <a:pt x="219758" y="53255"/>
                    </a:cubicBezTo>
                    <a:cubicBezTo>
                      <a:pt x="226542" y="61484"/>
                      <a:pt x="231615" y="71040"/>
                      <a:pt x="234594" y="81276"/>
                    </a:cubicBezTo>
                    <a:cubicBezTo>
                      <a:pt x="237603" y="91540"/>
                      <a:pt x="238458" y="102277"/>
                      <a:pt x="237190" y="112895"/>
                    </a:cubicBezTo>
                    <a:cubicBezTo>
                      <a:pt x="235213" y="129944"/>
                      <a:pt x="231438" y="146756"/>
                      <a:pt x="225981" y="163038"/>
                    </a:cubicBezTo>
                    <a:cubicBezTo>
                      <a:pt x="223297" y="168819"/>
                      <a:pt x="219699" y="174128"/>
                      <a:pt x="215363" y="178789"/>
                    </a:cubicBezTo>
                    <a:cubicBezTo>
                      <a:pt x="208402" y="186428"/>
                      <a:pt x="202886" y="195247"/>
                      <a:pt x="199022" y="204863"/>
                    </a:cubicBezTo>
                    <a:cubicBezTo>
                      <a:pt x="195689" y="214361"/>
                      <a:pt x="194627" y="224537"/>
                      <a:pt x="195925" y="234506"/>
                    </a:cubicBezTo>
                    <a:cubicBezTo>
                      <a:pt x="197223" y="244505"/>
                      <a:pt x="200821" y="254062"/>
                      <a:pt x="206455" y="262409"/>
                    </a:cubicBezTo>
                    <a:cubicBezTo>
                      <a:pt x="223799" y="288189"/>
                      <a:pt x="260757" y="287687"/>
                      <a:pt x="285209" y="287481"/>
                    </a:cubicBezTo>
                    <a:lnTo>
                      <a:pt x="292435" y="287481"/>
                    </a:lnTo>
                    <a:cubicBezTo>
                      <a:pt x="301137" y="286714"/>
                      <a:pt x="309867" y="288601"/>
                      <a:pt x="317477" y="292878"/>
                    </a:cubicBezTo>
                    <a:cubicBezTo>
                      <a:pt x="325087" y="297155"/>
                      <a:pt x="331252" y="303615"/>
                      <a:pt x="335116" y="311431"/>
                    </a:cubicBezTo>
                    <a:cubicBezTo>
                      <a:pt x="345144" y="337299"/>
                      <a:pt x="320987" y="516751"/>
                      <a:pt x="304440" y="5480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4" name="Полилиния: фигура 1193">
                <a:extLst>
                  <a:ext uri="{FF2B5EF4-FFF2-40B4-BE49-F238E27FC236}">
                    <a16:creationId xmlns:a16="http://schemas.microsoft.com/office/drawing/2014/main" id="{E9B57928-5C2E-460A-953B-9C479702485B}"/>
                  </a:ext>
                </a:extLst>
              </p:cNvPr>
              <p:cNvSpPr/>
              <p:nvPr/>
            </p:nvSpPr>
            <p:spPr>
              <a:xfrm>
                <a:off x="10491629" y="2418533"/>
                <a:ext cx="389206" cy="1132074"/>
              </a:xfrm>
              <a:custGeom>
                <a:avLst/>
                <a:gdLst>
                  <a:gd name="connsiteX0" fmla="*/ 389148 w 389206"/>
                  <a:gd name="connsiteY0" fmla="*/ 396833 h 1132074"/>
                  <a:gd name="connsiteX1" fmla="*/ 387850 w 389206"/>
                  <a:gd name="connsiteY1" fmla="*/ 389695 h 1132074"/>
                  <a:gd name="connsiteX2" fmla="*/ 383662 w 389206"/>
                  <a:gd name="connsiteY2" fmla="*/ 383796 h 1132074"/>
                  <a:gd name="connsiteX3" fmla="*/ 377350 w 389206"/>
                  <a:gd name="connsiteY3" fmla="*/ 380227 h 1132074"/>
                  <a:gd name="connsiteX4" fmla="*/ 370123 w 389206"/>
                  <a:gd name="connsiteY4" fmla="*/ 379696 h 1132074"/>
                  <a:gd name="connsiteX5" fmla="*/ 328446 w 389206"/>
                  <a:gd name="connsiteY5" fmla="*/ 371378 h 1132074"/>
                  <a:gd name="connsiteX6" fmla="*/ 290956 w 389206"/>
                  <a:gd name="connsiteY6" fmla="*/ 323742 h 1132074"/>
                  <a:gd name="connsiteX7" fmla="*/ 290160 w 389206"/>
                  <a:gd name="connsiteY7" fmla="*/ 299969 h 1132074"/>
                  <a:gd name="connsiteX8" fmla="*/ 283730 w 389206"/>
                  <a:gd name="connsiteY8" fmla="*/ 260769 h 1132074"/>
                  <a:gd name="connsiteX9" fmla="*/ 273436 w 389206"/>
                  <a:gd name="connsiteY9" fmla="*/ 253867 h 1132074"/>
                  <a:gd name="connsiteX10" fmla="*/ 261077 w 389206"/>
                  <a:gd name="connsiteY10" fmla="*/ 252834 h 1132074"/>
                  <a:gd name="connsiteX11" fmla="*/ 238041 w 389206"/>
                  <a:gd name="connsiteY11" fmla="*/ 246021 h 1132074"/>
                  <a:gd name="connsiteX12" fmla="*/ 236242 w 389206"/>
                  <a:gd name="connsiteY12" fmla="*/ 229680 h 1132074"/>
                  <a:gd name="connsiteX13" fmla="*/ 287446 w 389206"/>
                  <a:gd name="connsiteY13" fmla="*/ 98748 h 1132074"/>
                  <a:gd name="connsiteX14" fmla="*/ 272993 w 389206"/>
                  <a:gd name="connsiteY14" fmla="*/ 52941 h 1132074"/>
                  <a:gd name="connsiteX15" fmla="*/ 241757 w 389206"/>
                  <a:gd name="connsiteY15" fmla="*/ 16455 h 1132074"/>
                  <a:gd name="connsiteX16" fmla="*/ 141560 w 389206"/>
                  <a:gd name="connsiteY16" fmla="*/ 6426 h 1132074"/>
                  <a:gd name="connsiteX17" fmla="*/ 131738 w 389206"/>
                  <a:gd name="connsiteY17" fmla="*/ 14125 h 1132074"/>
                  <a:gd name="connsiteX18" fmla="*/ 130027 w 389206"/>
                  <a:gd name="connsiteY18" fmla="*/ 26484 h 1132074"/>
                  <a:gd name="connsiteX19" fmla="*/ 131945 w 389206"/>
                  <a:gd name="connsiteY19" fmla="*/ 106683 h 1132074"/>
                  <a:gd name="connsiteX20" fmla="*/ 98467 w 389206"/>
                  <a:gd name="connsiteY20" fmla="*/ 159215 h 1132074"/>
                  <a:gd name="connsiteX21" fmla="*/ 94101 w 389206"/>
                  <a:gd name="connsiteY21" fmla="*/ 167179 h 1132074"/>
                  <a:gd name="connsiteX22" fmla="*/ 94573 w 389206"/>
                  <a:gd name="connsiteY22" fmla="*/ 176263 h 1132074"/>
                  <a:gd name="connsiteX23" fmla="*/ 129349 w 389206"/>
                  <a:gd name="connsiteY23" fmla="*/ 230506 h 1132074"/>
                  <a:gd name="connsiteX24" fmla="*/ 128051 w 389206"/>
                  <a:gd name="connsiteY24" fmla="*/ 244841 h 1132074"/>
                  <a:gd name="connsiteX25" fmla="*/ 82156 w 389206"/>
                  <a:gd name="connsiteY25" fmla="*/ 260267 h 1132074"/>
                  <a:gd name="connsiteX26" fmla="*/ 6706 w 389206"/>
                  <a:gd name="connsiteY26" fmla="*/ 295574 h 1132074"/>
                  <a:gd name="connsiteX27" fmla="*/ 187 w 389206"/>
                  <a:gd name="connsiteY27" fmla="*/ 342590 h 1132074"/>
                  <a:gd name="connsiteX28" fmla="*/ 187 w 389206"/>
                  <a:gd name="connsiteY28" fmla="*/ 354034 h 1132074"/>
                  <a:gd name="connsiteX29" fmla="*/ 2488 w 389206"/>
                  <a:gd name="connsiteY29" fmla="*/ 395624 h 1132074"/>
                  <a:gd name="connsiteX30" fmla="*/ 6676 w 389206"/>
                  <a:gd name="connsiteY30" fmla="*/ 405741 h 1132074"/>
                  <a:gd name="connsiteX31" fmla="*/ 16233 w 389206"/>
                  <a:gd name="connsiteY31" fmla="*/ 411079 h 1132074"/>
                  <a:gd name="connsiteX32" fmla="*/ 55728 w 389206"/>
                  <a:gd name="connsiteY32" fmla="*/ 414088 h 1132074"/>
                  <a:gd name="connsiteX33" fmla="*/ 153123 w 389206"/>
                  <a:gd name="connsiteY33" fmla="*/ 432434 h 1132074"/>
                  <a:gd name="connsiteX34" fmla="*/ 234383 w 389206"/>
                  <a:gd name="connsiteY34" fmla="*/ 731286 h 1132074"/>
                  <a:gd name="connsiteX35" fmla="*/ 235150 w 389206"/>
                  <a:gd name="connsiteY35" fmla="*/ 738129 h 1132074"/>
                  <a:gd name="connsiteX36" fmla="*/ 238631 w 389206"/>
                  <a:gd name="connsiteY36" fmla="*/ 744057 h 1132074"/>
                  <a:gd name="connsiteX37" fmla="*/ 244206 w 389206"/>
                  <a:gd name="connsiteY37" fmla="*/ 748098 h 1132074"/>
                  <a:gd name="connsiteX38" fmla="*/ 250931 w 389206"/>
                  <a:gd name="connsiteY38" fmla="*/ 749514 h 1132074"/>
                  <a:gd name="connsiteX39" fmla="*/ 251727 w 389206"/>
                  <a:gd name="connsiteY39" fmla="*/ 749514 h 1132074"/>
                  <a:gd name="connsiteX40" fmla="*/ 328386 w 389206"/>
                  <a:gd name="connsiteY40" fmla="*/ 734766 h 1132074"/>
                  <a:gd name="connsiteX41" fmla="*/ 271342 w 389206"/>
                  <a:gd name="connsiteY41" fmla="*/ 911475 h 1132074"/>
                  <a:gd name="connsiteX42" fmla="*/ 145808 w 389206"/>
                  <a:gd name="connsiteY42" fmla="*/ 1048277 h 1132074"/>
                  <a:gd name="connsiteX43" fmla="*/ 112330 w 389206"/>
                  <a:gd name="connsiteY43" fmla="*/ 990819 h 1132074"/>
                  <a:gd name="connsiteX44" fmla="*/ 82982 w 389206"/>
                  <a:gd name="connsiteY44" fmla="*/ 1101989 h 1132074"/>
                  <a:gd name="connsiteX45" fmla="*/ 193915 w 389206"/>
                  <a:gd name="connsiteY45" fmla="*/ 1132075 h 1132074"/>
                  <a:gd name="connsiteX46" fmla="*/ 162060 w 389206"/>
                  <a:gd name="connsiteY46" fmla="*/ 1077242 h 1132074"/>
                  <a:gd name="connsiteX47" fmla="*/ 361658 w 389206"/>
                  <a:gd name="connsiteY47" fmla="*/ 678518 h 1132074"/>
                  <a:gd name="connsiteX48" fmla="*/ 366967 w 389206"/>
                  <a:gd name="connsiteY48" fmla="*/ 647754 h 1132074"/>
                  <a:gd name="connsiteX49" fmla="*/ 389207 w 389206"/>
                  <a:gd name="connsiteY49" fmla="*/ 396803 h 1132074"/>
                  <a:gd name="connsiteX50" fmla="*/ 334433 w 389206"/>
                  <a:gd name="connsiteY50" fmla="*/ 642975 h 1132074"/>
                  <a:gd name="connsiteX51" fmla="*/ 330628 w 389206"/>
                  <a:gd name="connsiteY51" fmla="*/ 667634 h 1132074"/>
                  <a:gd name="connsiteX52" fmla="*/ 328711 w 389206"/>
                  <a:gd name="connsiteY52" fmla="*/ 676541 h 1132074"/>
                  <a:gd name="connsiteX53" fmla="*/ 328711 w 389206"/>
                  <a:gd name="connsiteY53" fmla="*/ 677043 h 1132074"/>
                  <a:gd name="connsiteX54" fmla="*/ 268599 w 389206"/>
                  <a:gd name="connsiteY54" fmla="*/ 715240 h 1132074"/>
                  <a:gd name="connsiteX55" fmla="*/ 167104 w 389206"/>
                  <a:gd name="connsiteY55" fmla="*/ 402437 h 1132074"/>
                  <a:gd name="connsiteX56" fmla="*/ 56258 w 389206"/>
                  <a:gd name="connsiteY56" fmla="*/ 379991 h 1132074"/>
                  <a:gd name="connsiteX57" fmla="*/ 34314 w 389206"/>
                  <a:gd name="connsiteY57" fmla="*/ 378988 h 1132074"/>
                  <a:gd name="connsiteX58" fmla="*/ 32809 w 389206"/>
                  <a:gd name="connsiteY58" fmla="*/ 352029 h 1132074"/>
                  <a:gd name="connsiteX59" fmla="*/ 32809 w 389206"/>
                  <a:gd name="connsiteY59" fmla="*/ 340997 h 1132074"/>
                  <a:gd name="connsiteX60" fmla="*/ 35021 w 389206"/>
                  <a:gd name="connsiteY60" fmla="*/ 310912 h 1132074"/>
                  <a:gd name="connsiteX61" fmla="*/ 85135 w 389206"/>
                  <a:gd name="connsiteY61" fmla="*/ 292270 h 1132074"/>
                  <a:gd name="connsiteX62" fmla="*/ 156780 w 389206"/>
                  <a:gd name="connsiteY62" fmla="*/ 259589 h 1132074"/>
                  <a:gd name="connsiteX63" fmla="*/ 152179 w 389206"/>
                  <a:gd name="connsiteY63" fmla="*/ 205553 h 1132074"/>
                  <a:gd name="connsiteX64" fmla="*/ 128936 w 389206"/>
                  <a:gd name="connsiteY64" fmla="*/ 173461 h 1132074"/>
                  <a:gd name="connsiteX65" fmla="*/ 162414 w 389206"/>
                  <a:gd name="connsiteY65" fmla="*/ 117331 h 1132074"/>
                  <a:gd name="connsiteX66" fmla="*/ 164921 w 389206"/>
                  <a:gd name="connsiteY66" fmla="*/ 34418 h 1132074"/>
                  <a:gd name="connsiteX67" fmla="*/ 221051 w 389206"/>
                  <a:gd name="connsiteY67" fmla="*/ 42234 h 1132074"/>
                  <a:gd name="connsiteX68" fmla="*/ 243468 w 389206"/>
                  <a:gd name="connsiteY68" fmla="*/ 68279 h 1132074"/>
                  <a:gd name="connsiteX69" fmla="*/ 254116 w 389206"/>
                  <a:gd name="connsiteY69" fmla="*/ 100961 h 1132074"/>
                  <a:gd name="connsiteX70" fmla="*/ 212439 w 389206"/>
                  <a:gd name="connsiteY70" fmla="*/ 205641 h 1132074"/>
                  <a:gd name="connsiteX71" fmla="*/ 205330 w 389206"/>
                  <a:gd name="connsiteY71" fmla="*/ 252067 h 1132074"/>
                  <a:gd name="connsiteX72" fmla="*/ 256948 w 389206"/>
                  <a:gd name="connsiteY72" fmla="*/ 285663 h 1132074"/>
                  <a:gd name="connsiteX73" fmla="*/ 256948 w 389206"/>
                  <a:gd name="connsiteY73" fmla="*/ 298494 h 1132074"/>
                  <a:gd name="connsiteX74" fmla="*/ 258659 w 389206"/>
                  <a:gd name="connsiteY74" fmla="*/ 330969 h 1132074"/>
                  <a:gd name="connsiteX75" fmla="*/ 314789 w 389206"/>
                  <a:gd name="connsiteY75" fmla="*/ 401139 h 1132074"/>
                  <a:gd name="connsiteX76" fmla="*/ 354874 w 389206"/>
                  <a:gd name="connsiteY76" fmla="*/ 412761 h 1132074"/>
                  <a:gd name="connsiteX77" fmla="*/ 334522 w 389206"/>
                  <a:gd name="connsiteY77" fmla="*/ 642946 h 113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9206" h="1132074">
                    <a:moveTo>
                      <a:pt x="389148" y="396833"/>
                    </a:moveTo>
                    <a:cubicBezTo>
                      <a:pt x="389236" y="394385"/>
                      <a:pt x="388794" y="391966"/>
                      <a:pt x="387850" y="389695"/>
                    </a:cubicBezTo>
                    <a:cubicBezTo>
                      <a:pt x="386906" y="387453"/>
                      <a:pt x="385461" y="385418"/>
                      <a:pt x="383662" y="383796"/>
                    </a:cubicBezTo>
                    <a:cubicBezTo>
                      <a:pt x="381833" y="382144"/>
                      <a:pt x="379680" y="380935"/>
                      <a:pt x="377350" y="380227"/>
                    </a:cubicBezTo>
                    <a:cubicBezTo>
                      <a:pt x="375019" y="379519"/>
                      <a:pt x="372542" y="379342"/>
                      <a:pt x="370123" y="379696"/>
                    </a:cubicBezTo>
                    <a:cubicBezTo>
                      <a:pt x="355700" y="381230"/>
                      <a:pt x="341158" y="378309"/>
                      <a:pt x="328446" y="371378"/>
                    </a:cubicBezTo>
                    <a:cubicBezTo>
                      <a:pt x="302991" y="359845"/>
                      <a:pt x="297268" y="350436"/>
                      <a:pt x="290956" y="323742"/>
                    </a:cubicBezTo>
                    <a:cubicBezTo>
                      <a:pt x="289777" y="315867"/>
                      <a:pt x="289511" y="307903"/>
                      <a:pt x="290160" y="299969"/>
                    </a:cubicBezTo>
                    <a:cubicBezTo>
                      <a:pt x="290661" y="285132"/>
                      <a:pt x="291163" y="271092"/>
                      <a:pt x="283730" y="260769"/>
                    </a:cubicBezTo>
                    <a:cubicBezTo>
                      <a:pt x="280928" y="257642"/>
                      <a:pt x="277388" y="255253"/>
                      <a:pt x="273436" y="253867"/>
                    </a:cubicBezTo>
                    <a:cubicBezTo>
                      <a:pt x="269483" y="252480"/>
                      <a:pt x="265236" y="252126"/>
                      <a:pt x="261077" y="252834"/>
                    </a:cubicBezTo>
                    <a:cubicBezTo>
                      <a:pt x="242642" y="252834"/>
                      <a:pt x="238926" y="250534"/>
                      <a:pt x="238041" y="246021"/>
                    </a:cubicBezTo>
                    <a:cubicBezTo>
                      <a:pt x="236979" y="240623"/>
                      <a:pt x="236389" y="235166"/>
                      <a:pt x="236242" y="229680"/>
                    </a:cubicBezTo>
                    <a:cubicBezTo>
                      <a:pt x="276327" y="198297"/>
                      <a:pt x="290750" y="141960"/>
                      <a:pt x="287446" y="98748"/>
                    </a:cubicBezTo>
                    <a:cubicBezTo>
                      <a:pt x="285765" y="82644"/>
                      <a:pt x="280839" y="67070"/>
                      <a:pt x="272993" y="52941"/>
                    </a:cubicBezTo>
                    <a:cubicBezTo>
                      <a:pt x="265148" y="38783"/>
                      <a:pt x="254529" y="26395"/>
                      <a:pt x="241757" y="16455"/>
                    </a:cubicBezTo>
                    <a:cubicBezTo>
                      <a:pt x="205891" y="-11507"/>
                      <a:pt x="147754" y="4126"/>
                      <a:pt x="141560" y="6426"/>
                    </a:cubicBezTo>
                    <a:cubicBezTo>
                      <a:pt x="137431" y="7636"/>
                      <a:pt x="133891" y="10379"/>
                      <a:pt x="131738" y="14125"/>
                    </a:cubicBezTo>
                    <a:cubicBezTo>
                      <a:pt x="129585" y="17871"/>
                      <a:pt x="128966" y="22295"/>
                      <a:pt x="130027" y="26484"/>
                    </a:cubicBezTo>
                    <a:cubicBezTo>
                      <a:pt x="135248" y="47426"/>
                      <a:pt x="138935" y="87953"/>
                      <a:pt x="131945" y="106683"/>
                    </a:cubicBezTo>
                    <a:cubicBezTo>
                      <a:pt x="124630" y="126356"/>
                      <a:pt x="113215" y="144260"/>
                      <a:pt x="98467" y="159215"/>
                    </a:cubicBezTo>
                    <a:cubicBezTo>
                      <a:pt x="96314" y="161427"/>
                      <a:pt x="94780" y="164170"/>
                      <a:pt x="94101" y="167179"/>
                    </a:cubicBezTo>
                    <a:cubicBezTo>
                      <a:pt x="93423" y="170187"/>
                      <a:pt x="93571" y="173343"/>
                      <a:pt x="94573" y="176263"/>
                    </a:cubicBezTo>
                    <a:cubicBezTo>
                      <a:pt x="101063" y="197146"/>
                      <a:pt x="113067" y="215876"/>
                      <a:pt x="129349" y="230506"/>
                    </a:cubicBezTo>
                    <a:cubicBezTo>
                      <a:pt x="129555" y="235314"/>
                      <a:pt x="129113" y="240151"/>
                      <a:pt x="128051" y="244841"/>
                    </a:cubicBezTo>
                    <a:cubicBezTo>
                      <a:pt x="121326" y="255459"/>
                      <a:pt x="106106" y="257878"/>
                      <a:pt x="82156" y="260267"/>
                    </a:cubicBezTo>
                    <a:cubicBezTo>
                      <a:pt x="55905" y="262981"/>
                      <a:pt x="23223" y="266373"/>
                      <a:pt x="6706" y="295574"/>
                    </a:cubicBezTo>
                    <a:cubicBezTo>
                      <a:pt x="-609" y="308493"/>
                      <a:pt x="-226" y="327341"/>
                      <a:pt x="187" y="342590"/>
                    </a:cubicBezTo>
                    <a:lnTo>
                      <a:pt x="187" y="354034"/>
                    </a:lnTo>
                    <a:lnTo>
                      <a:pt x="2488" y="395624"/>
                    </a:lnTo>
                    <a:cubicBezTo>
                      <a:pt x="2694" y="399369"/>
                      <a:pt x="4169" y="402938"/>
                      <a:pt x="6676" y="405741"/>
                    </a:cubicBezTo>
                    <a:cubicBezTo>
                      <a:pt x="9183" y="408543"/>
                      <a:pt x="12546" y="410430"/>
                      <a:pt x="16233" y="411079"/>
                    </a:cubicBezTo>
                    <a:cubicBezTo>
                      <a:pt x="29299" y="412967"/>
                      <a:pt x="42513" y="413970"/>
                      <a:pt x="55728" y="414088"/>
                    </a:cubicBezTo>
                    <a:cubicBezTo>
                      <a:pt x="89146" y="412908"/>
                      <a:pt x="122417" y="419191"/>
                      <a:pt x="153123" y="432434"/>
                    </a:cubicBezTo>
                    <a:cubicBezTo>
                      <a:pt x="240312" y="474436"/>
                      <a:pt x="245415" y="618199"/>
                      <a:pt x="234383" y="731286"/>
                    </a:cubicBezTo>
                    <a:cubicBezTo>
                      <a:pt x="234148" y="733586"/>
                      <a:pt x="234413" y="735917"/>
                      <a:pt x="235150" y="738129"/>
                    </a:cubicBezTo>
                    <a:cubicBezTo>
                      <a:pt x="235888" y="740341"/>
                      <a:pt x="237068" y="742347"/>
                      <a:pt x="238631" y="744057"/>
                    </a:cubicBezTo>
                    <a:cubicBezTo>
                      <a:pt x="240194" y="745768"/>
                      <a:pt x="242082" y="747154"/>
                      <a:pt x="244206" y="748098"/>
                    </a:cubicBezTo>
                    <a:cubicBezTo>
                      <a:pt x="246329" y="749042"/>
                      <a:pt x="248600" y="749514"/>
                      <a:pt x="250931" y="749514"/>
                    </a:cubicBezTo>
                    <a:lnTo>
                      <a:pt x="251727" y="749514"/>
                    </a:lnTo>
                    <a:cubicBezTo>
                      <a:pt x="287712" y="747803"/>
                      <a:pt x="311839" y="744205"/>
                      <a:pt x="328386" y="734766"/>
                    </a:cubicBezTo>
                    <a:cubicBezTo>
                      <a:pt x="322310" y="797091"/>
                      <a:pt x="302843" y="857380"/>
                      <a:pt x="271342" y="911475"/>
                    </a:cubicBezTo>
                    <a:cubicBezTo>
                      <a:pt x="239840" y="965571"/>
                      <a:pt x="197012" y="1012233"/>
                      <a:pt x="145808" y="1048277"/>
                    </a:cubicBezTo>
                    <a:lnTo>
                      <a:pt x="112330" y="990819"/>
                    </a:lnTo>
                    <a:lnTo>
                      <a:pt x="82982" y="1101989"/>
                    </a:lnTo>
                    <a:lnTo>
                      <a:pt x="193915" y="1132075"/>
                    </a:lnTo>
                    <a:lnTo>
                      <a:pt x="162060" y="1077242"/>
                    </a:lnTo>
                    <a:cubicBezTo>
                      <a:pt x="291723" y="987811"/>
                      <a:pt x="370801" y="831099"/>
                      <a:pt x="361658" y="678518"/>
                    </a:cubicBezTo>
                    <a:cubicBezTo>
                      <a:pt x="363663" y="669492"/>
                      <a:pt x="365374" y="659257"/>
                      <a:pt x="366967" y="647754"/>
                    </a:cubicBezTo>
                    <a:cubicBezTo>
                      <a:pt x="378205" y="568941"/>
                      <a:pt x="385520" y="484347"/>
                      <a:pt x="389207" y="396803"/>
                    </a:cubicBezTo>
                    <a:close/>
                    <a:moveTo>
                      <a:pt x="334433" y="642975"/>
                    </a:moveTo>
                    <a:cubicBezTo>
                      <a:pt x="333135" y="652502"/>
                      <a:pt x="331926" y="660525"/>
                      <a:pt x="330628" y="667634"/>
                    </a:cubicBezTo>
                    <a:cubicBezTo>
                      <a:pt x="329153" y="670377"/>
                      <a:pt x="328505" y="673474"/>
                      <a:pt x="328711" y="676541"/>
                    </a:cubicBezTo>
                    <a:lnTo>
                      <a:pt x="328711" y="677043"/>
                    </a:lnTo>
                    <a:cubicBezTo>
                      <a:pt x="321809" y="707129"/>
                      <a:pt x="310276" y="712644"/>
                      <a:pt x="268599" y="715240"/>
                    </a:cubicBezTo>
                    <a:cubicBezTo>
                      <a:pt x="281931" y="546613"/>
                      <a:pt x="247863" y="441430"/>
                      <a:pt x="167104" y="402437"/>
                    </a:cubicBezTo>
                    <a:cubicBezTo>
                      <a:pt x="132269" y="386804"/>
                      <a:pt x="94426" y="379135"/>
                      <a:pt x="56258" y="379991"/>
                    </a:cubicBezTo>
                    <a:cubicBezTo>
                      <a:pt x="48649" y="379991"/>
                      <a:pt x="41216" y="379991"/>
                      <a:pt x="34314" y="378988"/>
                    </a:cubicBezTo>
                    <a:lnTo>
                      <a:pt x="32809" y="352029"/>
                    </a:lnTo>
                    <a:lnTo>
                      <a:pt x="32809" y="340997"/>
                    </a:lnTo>
                    <a:cubicBezTo>
                      <a:pt x="31865" y="330910"/>
                      <a:pt x="32603" y="320763"/>
                      <a:pt x="35021" y="310912"/>
                    </a:cubicBezTo>
                    <a:cubicBezTo>
                      <a:pt x="42543" y="297579"/>
                      <a:pt x="58972" y="294984"/>
                      <a:pt x="85135" y="292270"/>
                    </a:cubicBezTo>
                    <a:cubicBezTo>
                      <a:pt x="111298" y="289557"/>
                      <a:pt x="141354" y="286460"/>
                      <a:pt x="156780" y="259589"/>
                    </a:cubicBezTo>
                    <a:cubicBezTo>
                      <a:pt x="160673" y="252864"/>
                      <a:pt x="168814" y="218177"/>
                      <a:pt x="152179" y="205553"/>
                    </a:cubicBezTo>
                    <a:cubicBezTo>
                      <a:pt x="141855" y="196969"/>
                      <a:pt x="133862" y="185938"/>
                      <a:pt x="128936" y="173461"/>
                    </a:cubicBezTo>
                    <a:cubicBezTo>
                      <a:pt x="143389" y="156914"/>
                      <a:pt x="154715" y="137889"/>
                      <a:pt x="162414" y="117331"/>
                    </a:cubicBezTo>
                    <a:cubicBezTo>
                      <a:pt x="171440" y="93469"/>
                      <a:pt x="168519" y="57189"/>
                      <a:pt x="164921" y="34418"/>
                    </a:cubicBezTo>
                    <a:cubicBezTo>
                      <a:pt x="182147" y="31822"/>
                      <a:pt x="206923" y="31203"/>
                      <a:pt x="221051" y="42234"/>
                    </a:cubicBezTo>
                    <a:cubicBezTo>
                      <a:pt x="230166" y="49343"/>
                      <a:pt x="237805" y="58192"/>
                      <a:pt x="243468" y="68279"/>
                    </a:cubicBezTo>
                    <a:cubicBezTo>
                      <a:pt x="249131" y="78367"/>
                      <a:pt x="252759" y="89487"/>
                      <a:pt x="254116" y="100961"/>
                    </a:cubicBezTo>
                    <a:cubicBezTo>
                      <a:pt x="256712" y="135235"/>
                      <a:pt x="244796" y="182664"/>
                      <a:pt x="212439" y="205641"/>
                    </a:cubicBezTo>
                    <a:cubicBezTo>
                      <a:pt x="208221" y="208650"/>
                      <a:pt x="198222" y="215670"/>
                      <a:pt x="205330" y="252067"/>
                    </a:cubicBezTo>
                    <a:cubicBezTo>
                      <a:pt x="211347" y="282832"/>
                      <a:pt x="241403" y="285545"/>
                      <a:pt x="256948" y="285663"/>
                    </a:cubicBezTo>
                    <a:lnTo>
                      <a:pt x="256948" y="298494"/>
                    </a:lnTo>
                    <a:cubicBezTo>
                      <a:pt x="256122" y="309348"/>
                      <a:pt x="256682" y="320262"/>
                      <a:pt x="258659" y="330969"/>
                    </a:cubicBezTo>
                    <a:cubicBezTo>
                      <a:pt x="266563" y="364358"/>
                      <a:pt x="277388" y="384297"/>
                      <a:pt x="314789" y="401139"/>
                    </a:cubicBezTo>
                    <a:cubicBezTo>
                      <a:pt x="327384" y="407304"/>
                      <a:pt x="340952" y="411227"/>
                      <a:pt x="354874" y="412761"/>
                    </a:cubicBezTo>
                    <a:cubicBezTo>
                      <a:pt x="351452" y="493668"/>
                      <a:pt x="344462" y="570858"/>
                      <a:pt x="334522" y="6429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5" name="Полилиния: фигура 1194">
                <a:extLst>
                  <a:ext uri="{FF2B5EF4-FFF2-40B4-BE49-F238E27FC236}">
                    <a16:creationId xmlns:a16="http://schemas.microsoft.com/office/drawing/2014/main" id="{91B8B889-595D-4C09-95B9-8B62B268FC5A}"/>
                  </a:ext>
                </a:extLst>
              </p:cNvPr>
              <p:cNvSpPr/>
              <p:nvPr/>
            </p:nvSpPr>
            <p:spPr>
              <a:xfrm>
                <a:off x="9410517" y="2575586"/>
                <a:ext cx="369442" cy="1013749"/>
              </a:xfrm>
              <a:custGeom>
                <a:avLst/>
                <a:gdLst>
                  <a:gd name="connsiteX0" fmla="*/ 292935 w 369442"/>
                  <a:gd name="connsiteY0" fmla="*/ 253525 h 1013749"/>
                  <a:gd name="connsiteX1" fmla="*/ 285207 w 369442"/>
                  <a:gd name="connsiteY1" fmla="*/ 253525 h 1013749"/>
                  <a:gd name="connsiteX2" fmla="*/ 234298 w 369442"/>
                  <a:gd name="connsiteY2" fmla="*/ 243497 h 1013749"/>
                  <a:gd name="connsiteX3" fmla="*/ 229136 w 369442"/>
                  <a:gd name="connsiteY3" fmla="*/ 229988 h 1013749"/>
                  <a:gd name="connsiteX4" fmla="*/ 230581 w 369442"/>
                  <a:gd name="connsiteY4" fmla="*/ 215623 h 1013749"/>
                  <a:gd name="connsiteX5" fmla="*/ 241288 w 369442"/>
                  <a:gd name="connsiteY5" fmla="*/ 199489 h 1013749"/>
                  <a:gd name="connsiteX6" fmla="*/ 257334 w 369442"/>
                  <a:gd name="connsiteY6" fmla="*/ 174329 h 1013749"/>
                  <a:gd name="connsiteX7" fmla="*/ 270253 w 369442"/>
                  <a:gd name="connsiteY7" fmla="*/ 117874 h 1013749"/>
                  <a:gd name="connsiteX8" fmla="*/ 266655 w 369442"/>
                  <a:gd name="connsiteY8" fmla="*/ 72185 h 1013749"/>
                  <a:gd name="connsiteX9" fmla="*/ 245093 w 369442"/>
                  <a:gd name="connsiteY9" fmla="*/ 31746 h 1013749"/>
                  <a:gd name="connsiteX10" fmla="*/ 213562 w 369442"/>
                  <a:gd name="connsiteY10" fmla="*/ 8032 h 1013749"/>
                  <a:gd name="connsiteX11" fmla="*/ 174952 w 369442"/>
                  <a:gd name="connsiteY11" fmla="*/ 38 h 1013749"/>
                  <a:gd name="connsiteX12" fmla="*/ 139646 w 369442"/>
                  <a:gd name="connsiteY12" fmla="*/ 6203 h 1013749"/>
                  <a:gd name="connsiteX13" fmla="*/ 109619 w 369442"/>
                  <a:gd name="connsiteY13" fmla="*/ 25788 h 1013749"/>
                  <a:gd name="connsiteX14" fmla="*/ 79563 w 369442"/>
                  <a:gd name="connsiteY14" fmla="*/ 111415 h 1013749"/>
                  <a:gd name="connsiteX15" fmla="*/ 90801 w 369442"/>
                  <a:gd name="connsiteY15" fmla="*/ 172677 h 1013749"/>
                  <a:gd name="connsiteX16" fmla="*/ 119471 w 369442"/>
                  <a:gd name="connsiteY16" fmla="*/ 212792 h 1013749"/>
                  <a:gd name="connsiteX17" fmla="*/ 126786 w 369442"/>
                  <a:gd name="connsiteY17" fmla="*/ 220726 h 1013749"/>
                  <a:gd name="connsiteX18" fmla="*/ 125488 w 369442"/>
                  <a:gd name="connsiteY18" fmla="*/ 247095 h 1013749"/>
                  <a:gd name="connsiteX19" fmla="*/ 90329 w 369442"/>
                  <a:gd name="connsiteY19" fmla="*/ 257124 h 1013749"/>
                  <a:gd name="connsiteX20" fmla="*/ 82601 w 369442"/>
                  <a:gd name="connsiteY20" fmla="*/ 257124 h 1013749"/>
                  <a:gd name="connsiteX21" fmla="*/ 10159 w 369442"/>
                  <a:gd name="connsiteY21" fmla="*/ 290601 h 1013749"/>
                  <a:gd name="connsiteX22" fmla="*/ 48032 w 369442"/>
                  <a:gd name="connsiteY22" fmla="*/ 557391 h 1013749"/>
                  <a:gd name="connsiteX23" fmla="*/ 247836 w 369442"/>
                  <a:gd name="connsiteY23" fmla="*/ 958917 h 1013749"/>
                  <a:gd name="connsiteX24" fmla="*/ 215981 w 369442"/>
                  <a:gd name="connsiteY24" fmla="*/ 1013750 h 1013749"/>
                  <a:gd name="connsiteX25" fmla="*/ 326914 w 369442"/>
                  <a:gd name="connsiteY25" fmla="*/ 983664 h 1013749"/>
                  <a:gd name="connsiteX26" fmla="*/ 298068 w 369442"/>
                  <a:gd name="connsiteY26" fmla="*/ 872495 h 1013749"/>
                  <a:gd name="connsiteX27" fmla="*/ 264590 w 369442"/>
                  <a:gd name="connsiteY27" fmla="*/ 929952 h 1013749"/>
                  <a:gd name="connsiteX28" fmla="*/ 80713 w 369442"/>
                  <a:gd name="connsiteY28" fmla="*/ 580752 h 1013749"/>
                  <a:gd name="connsiteX29" fmla="*/ 252674 w 369442"/>
                  <a:gd name="connsiteY29" fmla="*/ 580752 h 1013749"/>
                  <a:gd name="connsiteX30" fmla="*/ 312108 w 369442"/>
                  <a:gd name="connsiteY30" fmla="*/ 580250 h 1013749"/>
                  <a:gd name="connsiteX31" fmla="*/ 323935 w 369442"/>
                  <a:gd name="connsiteY31" fmla="*/ 575973 h 1013749"/>
                  <a:gd name="connsiteX32" fmla="*/ 332135 w 369442"/>
                  <a:gd name="connsiteY32" fmla="*/ 566417 h 1013749"/>
                  <a:gd name="connsiteX33" fmla="*/ 365112 w 369442"/>
                  <a:gd name="connsiteY33" fmla="*/ 297238 h 1013749"/>
                  <a:gd name="connsiteX34" fmla="*/ 335645 w 369442"/>
                  <a:gd name="connsiteY34" fmla="*/ 264468 h 1013749"/>
                  <a:gd name="connsiteX35" fmla="*/ 292965 w 369442"/>
                  <a:gd name="connsiteY35" fmla="*/ 253525 h 1013749"/>
                  <a:gd name="connsiteX36" fmla="*/ 304350 w 369442"/>
                  <a:gd name="connsiteY36" fmla="*/ 547864 h 1013749"/>
                  <a:gd name="connsiteX37" fmla="*/ 134602 w 369442"/>
                  <a:gd name="connsiteY37" fmla="*/ 547864 h 1013749"/>
                  <a:gd name="connsiteX38" fmla="*/ 80979 w 369442"/>
                  <a:gd name="connsiteY38" fmla="*/ 547864 h 1013749"/>
                  <a:gd name="connsiteX39" fmla="*/ 38298 w 369442"/>
                  <a:gd name="connsiteY39" fmla="*/ 308152 h 1013749"/>
                  <a:gd name="connsiteX40" fmla="*/ 83102 w 369442"/>
                  <a:gd name="connsiteY40" fmla="*/ 289717 h 1013749"/>
                  <a:gd name="connsiteX41" fmla="*/ 91833 w 369442"/>
                  <a:gd name="connsiteY41" fmla="*/ 289717 h 1013749"/>
                  <a:gd name="connsiteX42" fmla="*/ 153450 w 369442"/>
                  <a:gd name="connsiteY42" fmla="*/ 265147 h 1013749"/>
                  <a:gd name="connsiteX43" fmla="*/ 154748 w 369442"/>
                  <a:gd name="connsiteY43" fmla="*/ 201878 h 1013749"/>
                  <a:gd name="connsiteX44" fmla="*/ 143923 w 369442"/>
                  <a:gd name="connsiteY44" fmla="*/ 189932 h 1013749"/>
                  <a:gd name="connsiteX45" fmla="*/ 121771 w 369442"/>
                  <a:gd name="connsiteY45" fmla="*/ 159847 h 1013749"/>
                  <a:gd name="connsiteX46" fmla="*/ 112952 w 369442"/>
                  <a:gd name="connsiteY46" fmla="*/ 110412 h 1013749"/>
                  <a:gd name="connsiteX47" fmla="*/ 132980 w 369442"/>
                  <a:gd name="connsiteY47" fmla="*/ 48648 h 1013749"/>
                  <a:gd name="connsiteX48" fmla="*/ 152181 w 369442"/>
                  <a:gd name="connsiteY48" fmla="*/ 36377 h 1013749"/>
                  <a:gd name="connsiteX49" fmla="*/ 174657 w 369442"/>
                  <a:gd name="connsiteY49" fmla="*/ 32808 h 1013749"/>
                  <a:gd name="connsiteX50" fmla="*/ 199434 w 369442"/>
                  <a:gd name="connsiteY50" fmla="*/ 37705 h 1013749"/>
                  <a:gd name="connsiteX51" fmla="*/ 219638 w 369442"/>
                  <a:gd name="connsiteY51" fmla="*/ 52865 h 1013749"/>
                  <a:gd name="connsiteX52" fmla="*/ 234475 w 369442"/>
                  <a:gd name="connsiteY52" fmla="*/ 80857 h 1013749"/>
                  <a:gd name="connsiteX53" fmla="*/ 237070 w 369442"/>
                  <a:gd name="connsiteY53" fmla="*/ 112417 h 1013749"/>
                  <a:gd name="connsiteX54" fmla="*/ 225862 w 369442"/>
                  <a:gd name="connsiteY54" fmla="*/ 162531 h 1013749"/>
                  <a:gd name="connsiteX55" fmla="*/ 215243 w 369442"/>
                  <a:gd name="connsiteY55" fmla="*/ 178282 h 1013749"/>
                  <a:gd name="connsiteX56" fmla="*/ 198903 w 369442"/>
                  <a:gd name="connsiteY56" fmla="*/ 204356 h 1013749"/>
                  <a:gd name="connsiteX57" fmla="*/ 195806 w 369442"/>
                  <a:gd name="connsiteY57" fmla="*/ 233999 h 1013749"/>
                  <a:gd name="connsiteX58" fmla="*/ 206336 w 369442"/>
                  <a:gd name="connsiteY58" fmla="*/ 261902 h 1013749"/>
                  <a:gd name="connsiteX59" fmla="*/ 285591 w 369442"/>
                  <a:gd name="connsiteY59" fmla="*/ 287180 h 1013749"/>
                  <a:gd name="connsiteX60" fmla="*/ 292817 w 369442"/>
                  <a:gd name="connsiteY60" fmla="*/ 287180 h 1013749"/>
                  <a:gd name="connsiteX61" fmla="*/ 317594 w 369442"/>
                  <a:gd name="connsiteY61" fmla="*/ 292932 h 1013749"/>
                  <a:gd name="connsiteX62" fmla="*/ 334908 w 369442"/>
                  <a:gd name="connsiteY62" fmla="*/ 311544 h 1013749"/>
                  <a:gd name="connsiteX63" fmla="*/ 304350 w 369442"/>
                  <a:gd name="connsiteY63" fmla="*/ 547834 h 101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9442" h="1013749">
                    <a:moveTo>
                      <a:pt x="292935" y="253525"/>
                    </a:moveTo>
                    <a:lnTo>
                      <a:pt x="285207" y="253525"/>
                    </a:lnTo>
                    <a:cubicBezTo>
                      <a:pt x="268867" y="253525"/>
                      <a:pt x="241613" y="253525"/>
                      <a:pt x="234298" y="243497"/>
                    </a:cubicBezTo>
                    <a:cubicBezTo>
                      <a:pt x="231555" y="239456"/>
                      <a:pt x="229785" y="234825"/>
                      <a:pt x="229136" y="229988"/>
                    </a:cubicBezTo>
                    <a:cubicBezTo>
                      <a:pt x="228487" y="225150"/>
                      <a:pt x="228988" y="220225"/>
                      <a:pt x="230581" y="215623"/>
                    </a:cubicBezTo>
                    <a:cubicBezTo>
                      <a:pt x="233236" y="209695"/>
                      <a:pt x="236864" y="204238"/>
                      <a:pt x="241288" y="199489"/>
                    </a:cubicBezTo>
                    <a:cubicBezTo>
                      <a:pt x="248013" y="192086"/>
                      <a:pt x="253440" y="183561"/>
                      <a:pt x="257334" y="174329"/>
                    </a:cubicBezTo>
                    <a:cubicBezTo>
                      <a:pt x="263617" y="156012"/>
                      <a:pt x="267952" y="137105"/>
                      <a:pt x="270253" y="117874"/>
                    </a:cubicBezTo>
                    <a:cubicBezTo>
                      <a:pt x="272200" y="102566"/>
                      <a:pt x="270990" y="86992"/>
                      <a:pt x="266655" y="72185"/>
                    </a:cubicBezTo>
                    <a:cubicBezTo>
                      <a:pt x="262319" y="57378"/>
                      <a:pt x="254974" y="43604"/>
                      <a:pt x="245093" y="31746"/>
                    </a:cubicBezTo>
                    <a:cubicBezTo>
                      <a:pt x="236451" y="21629"/>
                      <a:pt x="225685" y="13518"/>
                      <a:pt x="213562" y="8032"/>
                    </a:cubicBezTo>
                    <a:cubicBezTo>
                      <a:pt x="201439" y="2546"/>
                      <a:pt x="188255" y="-168"/>
                      <a:pt x="174952" y="38"/>
                    </a:cubicBezTo>
                    <a:cubicBezTo>
                      <a:pt x="162888" y="-316"/>
                      <a:pt x="150884" y="1779"/>
                      <a:pt x="139646" y="6203"/>
                    </a:cubicBezTo>
                    <a:cubicBezTo>
                      <a:pt x="128408" y="10627"/>
                      <a:pt x="118202" y="17293"/>
                      <a:pt x="109619" y="25788"/>
                    </a:cubicBezTo>
                    <a:cubicBezTo>
                      <a:pt x="88648" y="49208"/>
                      <a:pt x="77852" y="80002"/>
                      <a:pt x="79563" y="111415"/>
                    </a:cubicBezTo>
                    <a:cubicBezTo>
                      <a:pt x="79504" y="132357"/>
                      <a:pt x="83309" y="153122"/>
                      <a:pt x="90801" y="172677"/>
                    </a:cubicBezTo>
                    <a:cubicBezTo>
                      <a:pt x="97791" y="187720"/>
                      <a:pt x="107495" y="201318"/>
                      <a:pt x="119471" y="212792"/>
                    </a:cubicBezTo>
                    <a:lnTo>
                      <a:pt x="126786" y="220726"/>
                    </a:lnTo>
                    <a:cubicBezTo>
                      <a:pt x="127788" y="229516"/>
                      <a:pt x="127346" y="238423"/>
                      <a:pt x="125488" y="247095"/>
                    </a:cubicBezTo>
                    <a:cubicBezTo>
                      <a:pt x="119382" y="255531"/>
                      <a:pt x="97526" y="256416"/>
                      <a:pt x="90329" y="257124"/>
                    </a:cubicBezTo>
                    <a:lnTo>
                      <a:pt x="82601" y="257124"/>
                    </a:lnTo>
                    <a:cubicBezTo>
                      <a:pt x="63547" y="257124"/>
                      <a:pt x="31809" y="257124"/>
                      <a:pt x="10159" y="290601"/>
                    </a:cubicBezTo>
                    <a:cubicBezTo>
                      <a:pt x="-19897" y="337323"/>
                      <a:pt x="23993" y="507750"/>
                      <a:pt x="48032" y="557391"/>
                    </a:cubicBezTo>
                    <a:cubicBezTo>
                      <a:pt x="37797" y="710091"/>
                      <a:pt x="117288" y="868690"/>
                      <a:pt x="247836" y="958917"/>
                    </a:cubicBezTo>
                    <a:lnTo>
                      <a:pt x="215981" y="1013750"/>
                    </a:lnTo>
                    <a:lnTo>
                      <a:pt x="326914" y="983664"/>
                    </a:lnTo>
                    <a:lnTo>
                      <a:pt x="298068" y="872495"/>
                    </a:lnTo>
                    <a:lnTo>
                      <a:pt x="264590" y="929952"/>
                    </a:lnTo>
                    <a:cubicBezTo>
                      <a:pt x="150766" y="850461"/>
                      <a:pt x="79504" y="715105"/>
                      <a:pt x="80713" y="580752"/>
                    </a:cubicBezTo>
                    <a:lnTo>
                      <a:pt x="252674" y="580752"/>
                    </a:lnTo>
                    <a:cubicBezTo>
                      <a:pt x="284146" y="580752"/>
                      <a:pt x="305884" y="580752"/>
                      <a:pt x="312108" y="580250"/>
                    </a:cubicBezTo>
                    <a:cubicBezTo>
                      <a:pt x="316355" y="579867"/>
                      <a:pt x="320425" y="578392"/>
                      <a:pt x="323935" y="575973"/>
                    </a:cubicBezTo>
                    <a:cubicBezTo>
                      <a:pt x="327445" y="573555"/>
                      <a:pt x="330277" y="570251"/>
                      <a:pt x="332135" y="566417"/>
                    </a:cubicBezTo>
                    <a:cubicBezTo>
                      <a:pt x="354876" y="527807"/>
                      <a:pt x="379623" y="328622"/>
                      <a:pt x="365112" y="297238"/>
                    </a:cubicBezTo>
                    <a:cubicBezTo>
                      <a:pt x="358740" y="283641"/>
                      <a:pt x="348476" y="272226"/>
                      <a:pt x="335645" y="264468"/>
                    </a:cubicBezTo>
                    <a:cubicBezTo>
                      <a:pt x="322815" y="256681"/>
                      <a:pt x="307949" y="252876"/>
                      <a:pt x="292965" y="253525"/>
                    </a:cubicBezTo>
                    <a:close/>
                    <a:moveTo>
                      <a:pt x="304350" y="547864"/>
                    </a:moveTo>
                    <a:cubicBezTo>
                      <a:pt x="279692" y="548365"/>
                      <a:pt x="193417" y="547864"/>
                      <a:pt x="134602" y="547864"/>
                    </a:cubicBezTo>
                    <a:lnTo>
                      <a:pt x="80979" y="547864"/>
                    </a:lnTo>
                    <a:cubicBezTo>
                      <a:pt x="59830" y="516893"/>
                      <a:pt x="18153" y="339122"/>
                      <a:pt x="38298" y="308152"/>
                    </a:cubicBezTo>
                    <a:cubicBezTo>
                      <a:pt x="50215" y="289894"/>
                      <a:pt x="65464" y="289805"/>
                      <a:pt x="83102" y="289717"/>
                    </a:cubicBezTo>
                    <a:lnTo>
                      <a:pt x="91833" y="289717"/>
                    </a:lnTo>
                    <a:cubicBezTo>
                      <a:pt x="105667" y="289127"/>
                      <a:pt x="138141" y="287799"/>
                      <a:pt x="153450" y="265147"/>
                    </a:cubicBezTo>
                    <a:cubicBezTo>
                      <a:pt x="162358" y="251903"/>
                      <a:pt x="163478" y="211700"/>
                      <a:pt x="154748" y="201878"/>
                    </a:cubicBezTo>
                    <a:cubicBezTo>
                      <a:pt x="151238" y="197778"/>
                      <a:pt x="147521" y="193767"/>
                      <a:pt x="143923" y="189932"/>
                    </a:cubicBezTo>
                    <a:cubicBezTo>
                      <a:pt x="134808" y="181320"/>
                      <a:pt x="127317" y="171114"/>
                      <a:pt x="121771" y="159847"/>
                    </a:cubicBezTo>
                    <a:cubicBezTo>
                      <a:pt x="115843" y="144066"/>
                      <a:pt x="112834" y="127283"/>
                      <a:pt x="112952" y="110412"/>
                    </a:cubicBezTo>
                    <a:cubicBezTo>
                      <a:pt x="111300" y="87995"/>
                      <a:pt x="118497" y="65814"/>
                      <a:pt x="132980" y="48648"/>
                    </a:cubicBezTo>
                    <a:cubicBezTo>
                      <a:pt x="138466" y="43279"/>
                      <a:pt x="145014" y="39120"/>
                      <a:pt x="152181" y="36377"/>
                    </a:cubicBezTo>
                    <a:cubicBezTo>
                      <a:pt x="159349" y="33664"/>
                      <a:pt x="167018" y="32425"/>
                      <a:pt x="174657" y="32808"/>
                    </a:cubicBezTo>
                    <a:cubicBezTo>
                      <a:pt x="183182" y="32572"/>
                      <a:pt x="191647" y="34224"/>
                      <a:pt x="199434" y="37705"/>
                    </a:cubicBezTo>
                    <a:cubicBezTo>
                      <a:pt x="207221" y="41185"/>
                      <a:pt x="214123" y="46347"/>
                      <a:pt x="219638" y="52865"/>
                    </a:cubicBezTo>
                    <a:cubicBezTo>
                      <a:pt x="226422" y="61095"/>
                      <a:pt x="231466" y="70622"/>
                      <a:pt x="234475" y="80857"/>
                    </a:cubicBezTo>
                    <a:cubicBezTo>
                      <a:pt x="237483" y="91092"/>
                      <a:pt x="238368" y="101828"/>
                      <a:pt x="237070" y="112417"/>
                    </a:cubicBezTo>
                    <a:cubicBezTo>
                      <a:pt x="235094" y="129466"/>
                      <a:pt x="231348" y="146279"/>
                      <a:pt x="225862" y="162531"/>
                    </a:cubicBezTo>
                    <a:cubicBezTo>
                      <a:pt x="223178" y="168312"/>
                      <a:pt x="219579" y="173621"/>
                      <a:pt x="215243" y="178282"/>
                    </a:cubicBezTo>
                    <a:cubicBezTo>
                      <a:pt x="208282" y="185921"/>
                      <a:pt x="202767" y="194740"/>
                      <a:pt x="198903" y="204356"/>
                    </a:cubicBezTo>
                    <a:cubicBezTo>
                      <a:pt x="195570" y="213853"/>
                      <a:pt x="194508" y="224029"/>
                      <a:pt x="195806" y="233999"/>
                    </a:cubicBezTo>
                    <a:cubicBezTo>
                      <a:pt x="197104" y="243998"/>
                      <a:pt x="200702" y="253555"/>
                      <a:pt x="206336" y="261902"/>
                    </a:cubicBezTo>
                    <a:cubicBezTo>
                      <a:pt x="224181" y="287180"/>
                      <a:pt x="261139" y="287180"/>
                      <a:pt x="285591" y="287180"/>
                    </a:cubicBezTo>
                    <a:lnTo>
                      <a:pt x="292817" y="287180"/>
                    </a:lnTo>
                    <a:cubicBezTo>
                      <a:pt x="301460" y="286590"/>
                      <a:pt x="310072" y="288596"/>
                      <a:pt x="317594" y="292932"/>
                    </a:cubicBezTo>
                    <a:cubicBezTo>
                      <a:pt x="325086" y="297268"/>
                      <a:pt x="331132" y="303757"/>
                      <a:pt x="334908" y="311544"/>
                    </a:cubicBezTo>
                    <a:cubicBezTo>
                      <a:pt x="344730" y="337293"/>
                      <a:pt x="320868" y="516274"/>
                      <a:pt x="304350" y="5478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6" name="Полилиния: фигура 1195">
                <a:extLst>
                  <a:ext uri="{FF2B5EF4-FFF2-40B4-BE49-F238E27FC236}">
                    <a16:creationId xmlns:a16="http://schemas.microsoft.com/office/drawing/2014/main" id="{6DB8F65C-4F45-41E2-AA0A-7E8B00558408}"/>
                  </a:ext>
                </a:extLst>
              </p:cNvPr>
              <p:cNvSpPr/>
              <p:nvPr/>
            </p:nvSpPr>
            <p:spPr>
              <a:xfrm>
                <a:off x="9141588" y="2080803"/>
                <a:ext cx="2020578" cy="2005124"/>
              </a:xfrm>
              <a:custGeom>
                <a:avLst/>
                <a:gdLst>
                  <a:gd name="connsiteX0" fmla="*/ 1010289 w 2020578"/>
                  <a:gd name="connsiteY0" fmla="*/ 0 h 2005124"/>
                  <a:gd name="connsiteX1" fmla="*/ 0 w 2020578"/>
                  <a:gd name="connsiteY1" fmla="*/ 1002562 h 2005124"/>
                  <a:gd name="connsiteX2" fmla="*/ 1010289 w 2020578"/>
                  <a:gd name="connsiteY2" fmla="*/ 2005124 h 2005124"/>
                  <a:gd name="connsiteX3" fmla="*/ 2020579 w 2020578"/>
                  <a:gd name="connsiteY3" fmla="*/ 1002562 h 2005124"/>
                  <a:gd name="connsiteX4" fmla="*/ 1010289 w 2020578"/>
                  <a:gd name="connsiteY4" fmla="*/ 0 h 2005124"/>
                  <a:gd name="connsiteX5" fmla="*/ 1212513 w 2020578"/>
                  <a:gd name="connsiteY5" fmla="*/ 1827854 h 2005124"/>
                  <a:gd name="connsiteX6" fmla="*/ 1204283 w 2020578"/>
                  <a:gd name="connsiteY6" fmla="*/ 1953182 h 2005124"/>
                  <a:gd name="connsiteX7" fmla="*/ 843550 w 2020578"/>
                  <a:gd name="connsiteY7" fmla="*/ 1958403 h 2005124"/>
                  <a:gd name="connsiteX8" fmla="*/ 829923 w 2020578"/>
                  <a:gd name="connsiteY8" fmla="*/ 1827382 h 2005124"/>
                  <a:gd name="connsiteX9" fmla="*/ 819894 w 2020578"/>
                  <a:gd name="connsiteY9" fmla="*/ 1441401 h 2005124"/>
                  <a:gd name="connsiteX10" fmla="*/ 883428 w 2020578"/>
                  <a:gd name="connsiteY10" fmla="*/ 1414736 h 2005124"/>
                  <a:gd name="connsiteX11" fmla="*/ 895050 w 2020578"/>
                  <a:gd name="connsiteY11" fmla="*/ 1414736 h 2005124"/>
                  <a:gd name="connsiteX12" fmla="*/ 972210 w 2020578"/>
                  <a:gd name="connsiteY12" fmla="*/ 1384651 h 2005124"/>
                  <a:gd name="connsiteX13" fmla="*/ 974305 w 2020578"/>
                  <a:gd name="connsiteY13" fmla="*/ 1307549 h 2005124"/>
                  <a:gd name="connsiteX14" fmla="*/ 960176 w 2020578"/>
                  <a:gd name="connsiteY14" fmla="*/ 1292004 h 2005124"/>
                  <a:gd name="connsiteX15" fmla="*/ 930120 w 2020578"/>
                  <a:gd name="connsiteY15" fmla="*/ 1251212 h 2005124"/>
                  <a:gd name="connsiteX16" fmla="*/ 918086 w 2020578"/>
                  <a:gd name="connsiteY16" fmla="*/ 1184138 h 2005124"/>
                  <a:gd name="connsiteX17" fmla="*/ 946254 w 2020578"/>
                  <a:gd name="connsiteY17" fmla="*/ 1098807 h 2005124"/>
                  <a:gd name="connsiteX18" fmla="*/ 973331 w 2020578"/>
                  <a:gd name="connsiteY18" fmla="*/ 1081404 h 2005124"/>
                  <a:gd name="connsiteX19" fmla="*/ 1005098 w 2020578"/>
                  <a:gd name="connsiteY19" fmla="*/ 1076243 h 2005124"/>
                  <a:gd name="connsiteX20" fmla="*/ 1039962 w 2020578"/>
                  <a:gd name="connsiteY20" fmla="*/ 1083351 h 2005124"/>
                  <a:gd name="connsiteX21" fmla="*/ 1068426 w 2020578"/>
                  <a:gd name="connsiteY21" fmla="*/ 1104706 h 2005124"/>
                  <a:gd name="connsiteX22" fmla="*/ 1089250 w 2020578"/>
                  <a:gd name="connsiteY22" fmla="*/ 1143611 h 2005124"/>
                  <a:gd name="connsiteX23" fmla="*/ 1092789 w 2020578"/>
                  <a:gd name="connsiteY23" fmla="*/ 1187619 h 2005124"/>
                  <a:gd name="connsiteX24" fmla="*/ 1077658 w 2020578"/>
                  <a:gd name="connsiteY24" fmla="*/ 1254279 h 2005124"/>
                  <a:gd name="connsiteX25" fmla="*/ 1062822 w 2020578"/>
                  <a:gd name="connsiteY25" fmla="*/ 1276549 h 2005124"/>
                  <a:gd name="connsiteX26" fmla="*/ 1042174 w 2020578"/>
                  <a:gd name="connsiteY26" fmla="*/ 1309348 h 2005124"/>
                  <a:gd name="connsiteX27" fmla="*/ 1038370 w 2020578"/>
                  <a:gd name="connsiteY27" fmla="*/ 1346070 h 2005124"/>
                  <a:gd name="connsiteX28" fmla="*/ 1051407 w 2020578"/>
                  <a:gd name="connsiteY28" fmla="*/ 1380610 h 2005124"/>
                  <a:gd name="connsiteX29" fmla="*/ 1151014 w 2020578"/>
                  <a:gd name="connsiteY29" fmla="*/ 1411285 h 2005124"/>
                  <a:gd name="connsiteX30" fmla="*/ 1161043 w 2020578"/>
                  <a:gd name="connsiteY30" fmla="*/ 1411285 h 2005124"/>
                  <a:gd name="connsiteX31" fmla="*/ 1196408 w 2020578"/>
                  <a:gd name="connsiteY31" fmla="*/ 1419633 h 2005124"/>
                  <a:gd name="connsiteX32" fmla="*/ 1221155 w 2020578"/>
                  <a:gd name="connsiteY32" fmla="*/ 1446267 h 2005124"/>
                  <a:gd name="connsiteX33" fmla="*/ 1212542 w 2020578"/>
                  <a:gd name="connsiteY33" fmla="*/ 1827854 h 2005124"/>
                  <a:gd name="connsiteX34" fmla="*/ 1238174 w 2020578"/>
                  <a:gd name="connsiteY34" fmla="*/ 1945749 h 2005124"/>
                  <a:gd name="connsiteX35" fmla="*/ 1245990 w 2020578"/>
                  <a:gd name="connsiteY35" fmla="*/ 1824934 h 2005124"/>
                  <a:gd name="connsiteX36" fmla="*/ 1251388 w 2020578"/>
                  <a:gd name="connsiteY36" fmla="*/ 1432522 h 2005124"/>
                  <a:gd name="connsiteX37" fmla="*/ 1161190 w 2020578"/>
                  <a:gd name="connsiteY37" fmla="*/ 1377896 h 2005124"/>
                  <a:gd name="connsiteX38" fmla="*/ 1151161 w 2020578"/>
                  <a:gd name="connsiteY38" fmla="*/ 1377896 h 2005124"/>
                  <a:gd name="connsiteX39" fmla="*/ 1079428 w 2020578"/>
                  <a:gd name="connsiteY39" fmla="*/ 1361762 h 2005124"/>
                  <a:gd name="connsiteX40" fmla="*/ 1071788 w 2020578"/>
                  <a:gd name="connsiteY40" fmla="*/ 1341587 h 2005124"/>
                  <a:gd name="connsiteX41" fmla="*/ 1074030 w 2020578"/>
                  <a:gd name="connsiteY41" fmla="*/ 1320143 h 2005124"/>
                  <a:gd name="connsiteX42" fmla="*/ 1089073 w 2020578"/>
                  <a:gd name="connsiteY42" fmla="*/ 1297284 h 2005124"/>
                  <a:gd name="connsiteX43" fmla="*/ 1109100 w 2020578"/>
                  <a:gd name="connsiteY43" fmla="*/ 1265606 h 2005124"/>
                  <a:gd name="connsiteX44" fmla="*/ 1125943 w 2020578"/>
                  <a:gd name="connsiteY44" fmla="*/ 1192132 h 2005124"/>
                  <a:gd name="connsiteX45" fmla="*/ 1121312 w 2020578"/>
                  <a:gd name="connsiteY45" fmla="*/ 1134054 h 2005124"/>
                  <a:gd name="connsiteX46" fmla="*/ 1093881 w 2020578"/>
                  <a:gd name="connsiteY46" fmla="*/ 1082673 h 2005124"/>
                  <a:gd name="connsiteX47" fmla="*/ 1055949 w 2020578"/>
                  <a:gd name="connsiteY47" fmla="*/ 1054239 h 2005124"/>
                  <a:gd name="connsiteX48" fmla="*/ 1009936 w 2020578"/>
                  <a:gd name="connsiteY48" fmla="*/ 1042794 h 2005124"/>
                  <a:gd name="connsiteX49" fmla="*/ 963096 w 2020578"/>
                  <a:gd name="connsiteY49" fmla="*/ 1050168 h 2005124"/>
                  <a:gd name="connsiteX50" fmla="*/ 922805 w 2020578"/>
                  <a:gd name="connsiteY50" fmla="*/ 1075181 h 2005124"/>
                  <a:gd name="connsiteX51" fmla="*/ 885227 w 2020578"/>
                  <a:gd name="connsiteY51" fmla="*/ 1184463 h 2005124"/>
                  <a:gd name="connsiteX52" fmla="*/ 899857 w 2020578"/>
                  <a:gd name="connsiteY52" fmla="*/ 1263275 h 2005124"/>
                  <a:gd name="connsiteX53" fmla="*/ 936639 w 2020578"/>
                  <a:gd name="connsiteY53" fmla="*/ 1314215 h 2005124"/>
                  <a:gd name="connsiteX54" fmla="*/ 947464 w 2020578"/>
                  <a:gd name="connsiteY54" fmla="*/ 1325954 h 2005124"/>
                  <a:gd name="connsiteX55" fmla="*/ 945369 w 2020578"/>
                  <a:gd name="connsiteY55" fmla="*/ 1366068 h 2005124"/>
                  <a:gd name="connsiteX56" fmla="*/ 894371 w 2020578"/>
                  <a:gd name="connsiteY56" fmla="*/ 1381495 h 2005124"/>
                  <a:gd name="connsiteX57" fmla="*/ 884343 w 2020578"/>
                  <a:gd name="connsiteY57" fmla="*/ 1381495 h 2005124"/>
                  <a:gd name="connsiteX58" fmla="*/ 793053 w 2020578"/>
                  <a:gd name="connsiteY58" fmla="*/ 1423290 h 2005124"/>
                  <a:gd name="connsiteX59" fmla="*/ 797359 w 2020578"/>
                  <a:gd name="connsiteY59" fmla="*/ 1827530 h 2005124"/>
                  <a:gd name="connsiteX60" fmla="*/ 810190 w 2020578"/>
                  <a:gd name="connsiteY60" fmla="*/ 1952061 h 2005124"/>
                  <a:gd name="connsiteX61" fmla="*/ 33183 w 2020578"/>
                  <a:gd name="connsiteY61" fmla="*/ 1002562 h 2005124"/>
                  <a:gd name="connsiteX62" fmla="*/ 1010172 w 2020578"/>
                  <a:gd name="connsiteY62" fmla="*/ 32888 h 2005124"/>
                  <a:gd name="connsiteX63" fmla="*/ 1987190 w 2020578"/>
                  <a:gd name="connsiteY63" fmla="*/ 1002562 h 2005124"/>
                  <a:gd name="connsiteX64" fmla="*/ 1238439 w 2020578"/>
                  <a:gd name="connsiteY64" fmla="*/ 1945779 h 2005124"/>
                  <a:gd name="connsiteX65" fmla="*/ 1238144 w 2020578"/>
                  <a:gd name="connsiteY65" fmla="*/ 1945779 h 200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20578" h="2005124">
                    <a:moveTo>
                      <a:pt x="1010289" y="0"/>
                    </a:moveTo>
                    <a:cubicBezTo>
                      <a:pt x="453232" y="0"/>
                      <a:pt x="0" y="449840"/>
                      <a:pt x="0" y="1002562"/>
                    </a:cubicBezTo>
                    <a:cubicBezTo>
                      <a:pt x="0" y="1555284"/>
                      <a:pt x="453232" y="2005124"/>
                      <a:pt x="1010289" y="2005124"/>
                    </a:cubicBezTo>
                    <a:cubicBezTo>
                      <a:pt x="1567347" y="2005124"/>
                      <a:pt x="2020579" y="1555284"/>
                      <a:pt x="2020579" y="1002562"/>
                    </a:cubicBezTo>
                    <a:cubicBezTo>
                      <a:pt x="2020579" y="449840"/>
                      <a:pt x="1567317" y="0"/>
                      <a:pt x="1010289" y="0"/>
                    </a:cubicBezTo>
                    <a:close/>
                    <a:moveTo>
                      <a:pt x="1212513" y="1827854"/>
                    </a:moveTo>
                    <a:cubicBezTo>
                      <a:pt x="1209829" y="1873838"/>
                      <a:pt x="1207085" y="1915604"/>
                      <a:pt x="1204283" y="1953182"/>
                    </a:cubicBezTo>
                    <a:cubicBezTo>
                      <a:pt x="1085386" y="1977044"/>
                      <a:pt x="963096" y="1978814"/>
                      <a:pt x="843550" y="1958403"/>
                    </a:cubicBezTo>
                    <a:cubicBezTo>
                      <a:pt x="838831" y="1917699"/>
                      <a:pt x="834229" y="1873573"/>
                      <a:pt x="829923" y="1827382"/>
                    </a:cubicBezTo>
                    <a:cubicBezTo>
                      <a:pt x="807477" y="1586756"/>
                      <a:pt x="809069" y="1458538"/>
                      <a:pt x="819894" y="1441401"/>
                    </a:cubicBezTo>
                    <a:cubicBezTo>
                      <a:pt x="837238" y="1414825"/>
                      <a:pt x="859979" y="1414736"/>
                      <a:pt x="883428" y="1414736"/>
                    </a:cubicBezTo>
                    <a:lnTo>
                      <a:pt x="895050" y="1414736"/>
                    </a:lnTo>
                    <a:cubicBezTo>
                      <a:pt x="912599" y="1414028"/>
                      <a:pt x="953569" y="1412318"/>
                      <a:pt x="972210" y="1384651"/>
                    </a:cubicBezTo>
                    <a:cubicBezTo>
                      <a:pt x="983330" y="1368103"/>
                      <a:pt x="983242" y="1317990"/>
                      <a:pt x="974305" y="1307549"/>
                    </a:cubicBezTo>
                    <a:cubicBezTo>
                      <a:pt x="969703" y="1302239"/>
                      <a:pt x="964896" y="1297019"/>
                      <a:pt x="960176" y="1292004"/>
                    </a:cubicBezTo>
                    <a:cubicBezTo>
                      <a:pt x="947817" y="1280294"/>
                      <a:pt x="937612" y="1266490"/>
                      <a:pt x="930120" y="1251212"/>
                    </a:cubicBezTo>
                    <a:cubicBezTo>
                      <a:pt x="922038" y="1229768"/>
                      <a:pt x="917968" y="1207056"/>
                      <a:pt x="918086" y="1184138"/>
                    </a:cubicBezTo>
                    <a:cubicBezTo>
                      <a:pt x="917378" y="1148861"/>
                      <a:pt x="928114" y="1117773"/>
                      <a:pt x="946254" y="1098807"/>
                    </a:cubicBezTo>
                    <a:cubicBezTo>
                      <a:pt x="953982" y="1091197"/>
                      <a:pt x="963185" y="1085298"/>
                      <a:pt x="973331" y="1081404"/>
                    </a:cubicBezTo>
                    <a:cubicBezTo>
                      <a:pt x="983448" y="1077511"/>
                      <a:pt x="994273" y="1075771"/>
                      <a:pt x="1005098" y="1076243"/>
                    </a:cubicBezTo>
                    <a:cubicBezTo>
                      <a:pt x="1017103" y="1076007"/>
                      <a:pt x="1029019" y="1078425"/>
                      <a:pt x="1039962" y="1083351"/>
                    </a:cubicBezTo>
                    <a:cubicBezTo>
                      <a:pt x="1050905" y="1088277"/>
                      <a:pt x="1060639" y="1095562"/>
                      <a:pt x="1068426" y="1104706"/>
                    </a:cubicBezTo>
                    <a:cubicBezTo>
                      <a:pt x="1077953" y="1116091"/>
                      <a:pt x="1085061" y="1129365"/>
                      <a:pt x="1089250" y="1143611"/>
                    </a:cubicBezTo>
                    <a:cubicBezTo>
                      <a:pt x="1093438" y="1157887"/>
                      <a:pt x="1094647" y="1172871"/>
                      <a:pt x="1092789" y="1187619"/>
                    </a:cubicBezTo>
                    <a:cubicBezTo>
                      <a:pt x="1090076" y="1210301"/>
                      <a:pt x="1085002" y="1232659"/>
                      <a:pt x="1077658" y="1254279"/>
                    </a:cubicBezTo>
                    <a:cubicBezTo>
                      <a:pt x="1073912" y="1262450"/>
                      <a:pt x="1068927" y="1269941"/>
                      <a:pt x="1062822" y="1276549"/>
                    </a:cubicBezTo>
                    <a:cubicBezTo>
                      <a:pt x="1054061" y="1286164"/>
                      <a:pt x="1047071" y="1297284"/>
                      <a:pt x="1042174" y="1309348"/>
                    </a:cubicBezTo>
                    <a:cubicBezTo>
                      <a:pt x="1038075" y="1321117"/>
                      <a:pt x="1036747" y="1333711"/>
                      <a:pt x="1038370" y="1346070"/>
                    </a:cubicBezTo>
                    <a:cubicBezTo>
                      <a:pt x="1039962" y="1358458"/>
                      <a:pt x="1044446" y="1370286"/>
                      <a:pt x="1051407" y="1380610"/>
                    </a:cubicBezTo>
                    <a:cubicBezTo>
                      <a:pt x="1072762" y="1412200"/>
                      <a:pt x="1119837" y="1411698"/>
                      <a:pt x="1151014" y="1411285"/>
                    </a:cubicBezTo>
                    <a:lnTo>
                      <a:pt x="1161043" y="1411285"/>
                    </a:lnTo>
                    <a:cubicBezTo>
                      <a:pt x="1173401" y="1410518"/>
                      <a:pt x="1185701" y="1413409"/>
                      <a:pt x="1196408" y="1419633"/>
                    </a:cubicBezTo>
                    <a:cubicBezTo>
                      <a:pt x="1207115" y="1425856"/>
                      <a:pt x="1215728" y="1435118"/>
                      <a:pt x="1221155" y="1446267"/>
                    </a:cubicBezTo>
                    <a:cubicBezTo>
                      <a:pt x="1226877" y="1464614"/>
                      <a:pt x="1225166" y="1615308"/>
                      <a:pt x="1212542" y="1827854"/>
                    </a:cubicBezTo>
                    <a:close/>
                    <a:moveTo>
                      <a:pt x="1238174" y="1945749"/>
                    </a:moveTo>
                    <a:cubicBezTo>
                      <a:pt x="1241477" y="1899146"/>
                      <a:pt x="1244191" y="1855522"/>
                      <a:pt x="1245990" y="1824934"/>
                    </a:cubicBezTo>
                    <a:cubicBezTo>
                      <a:pt x="1248085" y="1788153"/>
                      <a:pt x="1266018" y="1464614"/>
                      <a:pt x="1251388" y="1432522"/>
                    </a:cubicBezTo>
                    <a:cubicBezTo>
                      <a:pt x="1235165" y="1397422"/>
                      <a:pt x="1202986" y="1378073"/>
                      <a:pt x="1161190" y="1377896"/>
                    </a:cubicBezTo>
                    <a:lnTo>
                      <a:pt x="1151161" y="1377896"/>
                    </a:lnTo>
                    <a:cubicBezTo>
                      <a:pt x="1127122" y="1377896"/>
                      <a:pt x="1091049" y="1378604"/>
                      <a:pt x="1079428" y="1361762"/>
                    </a:cubicBezTo>
                    <a:cubicBezTo>
                      <a:pt x="1075357" y="1355715"/>
                      <a:pt x="1072732" y="1348813"/>
                      <a:pt x="1071788" y="1341587"/>
                    </a:cubicBezTo>
                    <a:cubicBezTo>
                      <a:pt x="1070844" y="1334360"/>
                      <a:pt x="1071611" y="1327016"/>
                      <a:pt x="1074030" y="1320143"/>
                    </a:cubicBezTo>
                    <a:cubicBezTo>
                      <a:pt x="1077717" y="1311737"/>
                      <a:pt x="1082820" y="1304009"/>
                      <a:pt x="1089073" y="1297284"/>
                    </a:cubicBezTo>
                    <a:cubicBezTo>
                      <a:pt x="1097479" y="1287934"/>
                      <a:pt x="1104263" y="1277197"/>
                      <a:pt x="1109100" y="1265606"/>
                    </a:cubicBezTo>
                    <a:cubicBezTo>
                      <a:pt x="1117271" y="1241773"/>
                      <a:pt x="1122904" y="1217144"/>
                      <a:pt x="1125943" y="1192132"/>
                    </a:cubicBezTo>
                    <a:cubicBezTo>
                      <a:pt x="1128420" y="1172664"/>
                      <a:pt x="1126857" y="1152873"/>
                      <a:pt x="1121312" y="1134054"/>
                    </a:cubicBezTo>
                    <a:cubicBezTo>
                      <a:pt x="1115796" y="1115207"/>
                      <a:pt x="1106446" y="1097716"/>
                      <a:pt x="1093881" y="1082673"/>
                    </a:cubicBezTo>
                    <a:cubicBezTo>
                      <a:pt x="1083262" y="1070756"/>
                      <a:pt x="1070373" y="1061082"/>
                      <a:pt x="1055949" y="1054239"/>
                    </a:cubicBezTo>
                    <a:cubicBezTo>
                      <a:pt x="1041526" y="1047396"/>
                      <a:pt x="1025893" y="1043502"/>
                      <a:pt x="1009936" y="1042794"/>
                    </a:cubicBezTo>
                    <a:cubicBezTo>
                      <a:pt x="993978" y="1042086"/>
                      <a:pt x="978080" y="1044594"/>
                      <a:pt x="963096" y="1050168"/>
                    </a:cubicBezTo>
                    <a:cubicBezTo>
                      <a:pt x="948142" y="1055714"/>
                      <a:pt x="934426" y="1064238"/>
                      <a:pt x="922805" y="1075181"/>
                    </a:cubicBezTo>
                    <a:cubicBezTo>
                      <a:pt x="898058" y="1100459"/>
                      <a:pt x="884313" y="1140248"/>
                      <a:pt x="885227" y="1184463"/>
                    </a:cubicBezTo>
                    <a:cubicBezTo>
                      <a:pt x="885227" y="1211392"/>
                      <a:pt x="890183" y="1238116"/>
                      <a:pt x="899857" y="1263275"/>
                    </a:cubicBezTo>
                    <a:cubicBezTo>
                      <a:pt x="908824" y="1282389"/>
                      <a:pt x="921301" y="1299673"/>
                      <a:pt x="936639" y="1314215"/>
                    </a:cubicBezTo>
                    <a:cubicBezTo>
                      <a:pt x="940444" y="1318226"/>
                      <a:pt x="944042" y="1322149"/>
                      <a:pt x="947464" y="1325954"/>
                    </a:cubicBezTo>
                    <a:cubicBezTo>
                      <a:pt x="949322" y="1339345"/>
                      <a:pt x="948614" y="1352943"/>
                      <a:pt x="945369" y="1366068"/>
                    </a:cubicBezTo>
                    <a:cubicBezTo>
                      <a:pt x="936167" y="1379813"/>
                      <a:pt x="905786" y="1381023"/>
                      <a:pt x="894371" y="1381495"/>
                    </a:cubicBezTo>
                    <a:lnTo>
                      <a:pt x="884343" y="1381495"/>
                    </a:lnTo>
                    <a:cubicBezTo>
                      <a:pt x="858799" y="1381495"/>
                      <a:pt x="820219" y="1381495"/>
                      <a:pt x="793053" y="1423290"/>
                    </a:cubicBezTo>
                    <a:cubicBezTo>
                      <a:pt x="767805" y="1461989"/>
                      <a:pt x="784942" y="1693177"/>
                      <a:pt x="797359" y="1827530"/>
                    </a:cubicBezTo>
                    <a:cubicBezTo>
                      <a:pt x="800869" y="1864931"/>
                      <a:pt x="805264" y="1907729"/>
                      <a:pt x="810190" y="1952061"/>
                    </a:cubicBezTo>
                    <a:cubicBezTo>
                      <a:pt x="366957" y="1860034"/>
                      <a:pt x="33183" y="1469451"/>
                      <a:pt x="33183" y="1002562"/>
                    </a:cubicBezTo>
                    <a:cubicBezTo>
                      <a:pt x="33183" y="467892"/>
                      <a:pt x="471461" y="32888"/>
                      <a:pt x="1010172" y="32888"/>
                    </a:cubicBezTo>
                    <a:cubicBezTo>
                      <a:pt x="1548883" y="32888"/>
                      <a:pt x="1987190" y="467892"/>
                      <a:pt x="1987190" y="1002562"/>
                    </a:cubicBezTo>
                    <a:cubicBezTo>
                      <a:pt x="1987278" y="1459629"/>
                      <a:pt x="1667426" y="1843517"/>
                      <a:pt x="1238439" y="1945779"/>
                    </a:cubicBezTo>
                    <a:lnTo>
                      <a:pt x="1238144" y="1945779"/>
                    </a:ln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7" name="Полилиния: фигура 1196">
                <a:extLst>
                  <a:ext uri="{FF2B5EF4-FFF2-40B4-BE49-F238E27FC236}">
                    <a16:creationId xmlns:a16="http://schemas.microsoft.com/office/drawing/2014/main" id="{7B1560B7-B26C-4BC6-B396-DA9F3418E365}"/>
                  </a:ext>
                </a:extLst>
              </p:cNvPr>
              <p:cNvSpPr/>
              <p:nvPr/>
            </p:nvSpPr>
            <p:spPr>
              <a:xfrm>
                <a:off x="9675491" y="2958774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8" name="Полилиния: фигура 1197">
                <a:extLst>
                  <a:ext uri="{FF2B5EF4-FFF2-40B4-BE49-F238E27FC236}">
                    <a16:creationId xmlns:a16="http://schemas.microsoft.com/office/drawing/2014/main" id="{1BB8D6D2-EB06-4F05-A116-68D916289AD1}"/>
                  </a:ext>
                </a:extLst>
              </p:cNvPr>
              <p:cNvSpPr/>
              <p:nvPr/>
            </p:nvSpPr>
            <p:spPr>
              <a:xfrm>
                <a:off x="10029322" y="2652667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9" name="Полилиния: фигура 1198">
                <a:extLst>
                  <a:ext uri="{FF2B5EF4-FFF2-40B4-BE49-F238E27FC236}">
                    <a16:creationId xmlns:a16="http://schemas.microsoft.com/office/drawing/2014/main" id="{89E524B1-0A93-41C6-8F57-1A91594E6D7F}"/>
                  </a:ext>
                </a:extLst>
              </p:cNvPr>
              <p:cNvSpPr/>
              <p:nvPr/>
            </p:nvSpPr>
            <p:spPr>
              <a:xfrm>
                <a:off x="10364807" y="2361249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00" name="Рисунок 899">
            <a:extLst>
              <a:ext uri="{FF2B5EF4-FFF2-40B4-BE49-F238E27FC236}">
                <a16:creationId xmlns:a16="http://schemas.microsoft.com/office/drawing/2014/main" id="{82181A66-53F9-4CBE-A96F-07E8CD0B90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3223777" y="2773669"/>
            <a:ext cx="403341" cy="708306"/>
          </a:xfrm>
          <a:prstGeom prst="rect">
            <a:avLst/>
          </a:prstGeom>
        </p:spPr>
      </p:pic>
      <p:pic>
        <p:nvPicPr>
          <p:cNvPr id="901" name="Рисунок 900">
            <a:extLst>
              <a:ext uri="{FF2B5EF4-FFF2-40B4-BE49-F238E27FC236}">
                <a16:creationId xmlns:a16="http://schemas.microsoft.com/office/drawing/2014/main" id="{7DDED61A-545C-4B28-9860-FC66456BA3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4070164" y="2282184"/>
            <a:ext cx="403341" cy="70830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C423239C-745F-4F41-94AF-7AA121574017}"/>
              </a:ext>
            </a:extLst>
          </p:cNvPr>
          <p:cNvGrpSpPr/>
          <p:nvPr/>
        </p:nvGrpSpPr>
        <p:grpSpPr>
          <a:xfrm>
            <a:off x="645681" y="1709164"/>
            <a:ext cx="2180820" cy="1967091"/>
            <a:chOff x="560675" y="1697684"/>
            <a:chExt cx="2180820" cy="1967091"/>
          </a:xfrm>
        </p:grpSpPr>
        <p:sp>
          <p:nvSpPr>
            <p:cNvPr id="804" name="Shape_фон">
              <a:extLst>
                <a:ext uri="{FF2B5EF4-FFF2-40B4-BE49-F238E27FC236}">
                  <a16:creationId xmlns:a16="http://schemas.microsoft.com/office/drawing/2014/main" id="{443F5A86-B67A-49B1-B298-D959C89FFE48}"/>
                </a:ext>
              </a:extLst>
            </p:cNvPr>
            <p:cNvSpPr/>
            <p:nvPr/>
          </p:nvSpPr>
          <p:spPr>
            <a:xfrm>
              <a:off x="560675" y="1697684"/>
              <a:ext cx="2180820" cy="196709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05" name="Описание">
              <a:extLst>
                <a:ext uri="{FF2B5EF4-FFF2-40B4-BE49-F238E27FC236}">
                  <a16:creationId xmlns:a16="http://schemas.microsoft.com/office/drawing/2014/main" id="{8745EE7A-E259-46A8-B862-AF1694C8BF0F}"/>
                </a:ext>
              </a:extLst>
            </p:cNvPr>
            <p:cNvSpPr txBox="1"/>
            <p:nvPr/>
          </p:nvSpPr>
          <p:spPr>
            <a:xfrm>
              <a:off x="1099493" y="1883318"/>
              <a:ext cx="11031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онвейер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8" name="Рисунок 6">
              <a:extLst>
                <a:ext uri="{FF2B5EF4-FFF2-40B4-BE49-F238E27FC236}">
                  <a16:creationId xmlns:a16="http://schemas.microsoft.com/office/drawing/2014/main" id="{B25C3714-DE2C-4472-A7D3-F8EB3A96CB7E}"/>
                </a:ext>
              </a:extLst>
            </p:cNvPr>
            <p:cNvGrpSpPr/>
            <p:nvPr/>
          </p:nvGrpSpPr>
          <p:grpSpPr>
            <a:xfrm>
              <a:off x="1014252" y="2392035"/>
              <a:ext cx="1273665" cy="885089"/>
              <a:chOff x="5707636" y="4677377"/>
              <a:chExt cx="1459283" cy="1014078"/>
            </a:xfrm>
          </p:grpSpPr>
          <p:sp>
            <p:nvSpPr>
              <p:cNvPr id="9" name="Полилиния: фигура 8">
                <a:extLst>
                  <a:ext uri="{FF2B5EF4-FFF2-40B4-BE49-F238E27FC236}">
                    <a16:creationId xmlns:a16="http://schemas.microsoft.com/office/drawing/2014/main" id="{E4ADD3D5-956B-43BA-BCE1-8E720F183389}"/>
                  </a:ext>
                </a:extLst>
              </p:cNvPr>
              <p:cNvSpPr/>
              <p:nvPr/>
            </p:nvSpPr>
            <p:spPr>
              <a:xfrm>
                <a:off x="6054524" y="4677377"/>
                <a:ext cx="766123" cy="648638"/>
              </a:xfrm>
              <a:custGeom>
                <a:avLst/>
                <a:gdLst>
                  <a:gd name="connsiteX0" fmla="*/ 61216 w 766123"/>
                  <a:gd name="connsiteY0" fmla="*/ 648639 h 648638"/>
                  <a:gd name="connsiteX1" fmla="*/ 515077 w 766123"/>
                  <a:gd name="connsiteY1" fmla="*/ 648639 h 648638"/>
                  <a:gd name="connsiteX2" fmla="*/ 530536 w 766123"/>
                  <a:gd name="connsiteY2" fmla="*/ 633180 h 648638"/>
                  <a:gd name="connsiteX3" fmla="*/ 530536 w 766123"/>
                  <a:gd name="connsiteY3" fmla="*/ 446442 h 648638"/>
                  <a:gd name="connsiteX4" fmla="*/ 515077 w 766123"/>
                  <a:gd name="connsiteY4" fmla="*/ 430983 h 648638"/>
                  <a:gd name="connsiteX5" fmla="*/ 484160 w 766123"/>
                  <a:gd name="connsiteY5" fmla="*/ 430983 h 648638"/>
                  <a:gd name="connsiteX6" fmla="*/ 546613 w 766123"/>
                  <a:gd name="connsiteY6" fmla="*/ 347507 h 648638"/>
                  <a:gd name="connsiteX7" fmla="*/ 611539 w 766123"/>
                  <a:gd name="connsiteY7" fmla="*/ 430983 h 648638"/>
                  <a:gd name="connsiteX8" fmla="*/ 578148 w 766123"/>
                  <a:gd name="connsiteY8" fmla="*/ 430983 h 648638"/>
                  <a:gd name="connsiteX9" fmla="*/ 562690 w 766123"/>
                  <a:gd name="connsiteY9" fmla="*/ 446442 h 648638"/>
                  <a:gd name="connsiteX10" fmla="*/ 562690 w 766123"/>
                  <a:gd name="connsiteY10" fmla="*/ 633180 h 648638"/>
                  <a:gd name="connsiteX11" fmla="*/ 578148 w 766123"/>
                  <a:gd name="connsiteY11" fmla="*/ 648639 h 648638"/>
                  <a:gd name="connsiteX12" fmla="*/ 722840 w 766123"/>
                  <a:gd name="connsiteY12" fmla="*/ 648639 h 648638"/>
                  <a:gd name="connsiteX13" fmla="*/ 766124 w 766123"/>
                  <a:gd name="connsiteY13" fmla="*/ 605355 h 648638"/>
                  <a:gd name="connsiteX14" fmla="*/ 766124 w 766123"/>
                  <a:gd name="connsiteY14" fmla="*/ 46376 h 648638"/>
                  <a:gd name="connsiteX15" fmla="*/ 750665 w 766123"/>
                  <a:gd name="connsiteY15" fmla="*/ 30917 h 648638"/>
                  <a:gd name="connsiteX16" fmla="*/ 735207 w 766123"/>
                  <a:gd name="connsiteY16" fmla="*/ 46376 h 648638"/>
                  <a:gd name="connsiteX17" fmla="*/ 735207 w 766123"/>
                  <a:gd name="connsiteY17" fmla="*/ 605973 h 648638"/>
                  <a:gd name="connsiteX18" fmla="*/ 723458 w 766123"/>
                  <a:gd name="connsiteY18" fmla="*/ 617722 h 648638"/>
                  <a:gd name="connsiteX19" fmla="*/ 593607 w 766123"/>
                  <a:gd name="connsiteY19" fmla="*/ 617722 h 648638"/>
                  <a:gd name="connsiteX20" fmla="*/ 593607 w 766123"/>
                  <a:gd name="connsiteY20" fmla="*/ 461900 h 648638"/>
                  <a:gd name="connsiteX21" fmla="*/ 637509 w 766123"/>
                  <a:gd name="connsiteY21" fmla="*/ 461900 h 648638"/>
                  <a:gd name="connsiteX22" fmla="*/ 654822 w 766123"/>
                  <a:gd name="connsiteY22" fmla="*/ 452007 h 648638"/>
                  <a:gd name="connsiteX23" fmla="*/ 652349 w 766123"/>
                  <a:gd name="connsiteY23" fmla="*/ 432220 h 648638"/>
                  <a:gd name="connsiteX24" fmla="*/ 562071 w 766123"/>
                  <a:gd name="connsiteY24" fmla="*/ 317209 h 648638"/>
                  <a:gd name="connsiteX25" fmla="*/ 545994 w 766123"/>
                  <a:gd name="connsiteY25" fmla="*/ 309170 h 648638"/>
                  <a:gd name="connsiteX26" fmla="*/ 545994 w 766123"/>
                  <a:gd name="connsiteY26" fmla="*/ 309170 h 648638"/>
                  <a:gd name="connsiteX27" fmla="*/ 529918 w 766123"/>
                  <a:gd name="connsiteY27" fmla="*/ 317209 h 648638"/>
                  <a:gd name="connsiteX28" fmla="*/ 443968 w 766123"/>
                  <a:gd name="connsiteY28" fmla="*/ 431602 h 648638"/>
                  <a:gd name="connsiteX29" fmla="*/ 441495 w 766123"/>
                  <a:gd name="connsiteY29" fmla="*/ 451388 h 648638"/>
                  <a:gd name="connsiteX30" fmla="*/ 458809 w 766123"/>
                  <a:gd name="connsiteY30" fmla="*/ 461282 h 648638"/>
                  <a:gd name="connsiteX31" fmla="*/ 499619 w 766123"/>
                  <a:gd name="connsiteY31" fmla="*/ 461282 h 648638"/>
                  <a:gd name="connsiteX32" fmla="*/ 499619 w 766123"/>
                  <a:gd name="connsiteY32" fmla="*/ 617104 h 648638"/>
                  <a:gd name="connsiteX33" fmla="*/ 61216 w 766123"/>
                  <a:gd name="connsiteY33" fmla="*/ 617104 h 648638"/>
                  <a:gd name="connsiteX34" fmla="*/ 30917 w 766123"/>
                  <a:gd name="connsiteY34" fmla="*/ 586805 h 648638"/>
                  <a:gd name="connsiteX35" fmla="*/ 30917 w 766123"/>
                  <a:gd name="connsiteY35" fmla="*/ 61216 h 648638"/>
                  <a:gd name="connsiteX36" fmla="*/ 61216 w 766123"/>
                  <a:gd name="connsiteY36" fmla="*/ 30917 h 648638"/>
                  <a:gd name="connsiteX37" fmla="*/ 617722 w 766123"/>
                  <a:gd name="connsiteY37" fmla="*/ 30917 h 648638"/>
                  <a:gd name="connsiteX38" fmla="*/ 633180 w 766123"/>
                  <a:gd name="connsiteY38" fmla="*/ 15459 h 648638"/>
                  <a:gd name="connsiteX39" fmla="*/ 617722 w 766123"/>
                  <a:gd name="connsiteY39" fmla="*/ 0 h 648638"/>
                  <a:gd name="connsiteX40" fmla="*/ 61216 w 766123"/>
                  <a:gd name="connsiteY40" fmla="*/ 0 h 648638"/>
                  <a:gd name="connsiteX41" fmla="*/ 0 w 766123"/>
                  <a:gd name="connsiteY41" fmla="*/ 61216 h 648638"/>
                  <a:gd name="connsiteX42" fmla="*/ 0 w 766123"/>
                  <a:gd name="connsiteY42" fmla="*/ 586805 h 648638"/>
                  <a:gd name="connsiteX43" fmla="*/ 61216 w 766123"/>
                  <a:gd name="connsiteY43" fmla="*/ 648639 h 648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766123" h="648638">
                    <a:moveTo>
                      <a:pt x="61216" y="648639"/>
                    </a:moveTo>
                    <a:lnTo>
                      <a:pt x="515077" y="648639"/>
                    </a:lnTo>
                    <a:cubicBezTo>
                      <a:pt x="523734" y="648639"/>
                      <a:pt x="530536" y="641837"/>
                      <a:pt x="530536" y="633180"/>
                    </a:cubicBezTo>
                    <a:lnTo>
                      <a:pt x="530536" y="446442"/>
                    </a:lnTo>
                    <a:cubicBezTo>
                      <a:pt x="530536" y="437785"/>
                      <a:pt x="523734" y="430983"/>
                      <a:pt x="515077" y="430983"/>
                    </a:cubicBezTo>
                    <a:lnTo>
                      <a:pt x="484160" y="430983"/>
                    </a:lnTo>
                    <a:lnTo>
                      <a:pt x="546613" y="347507"/>
                    </a:lnTo>
                    <a:lnTo>
                      <a:pt x="611539" y="430983"/>
                    </a:lnTo>
                    <a:lnTo>
                      <a:pt x="578148" y="430983"/>
                    </a:lnTo>
                    <a:cubicBezTo>
                      <a:pt x="569491" y="430983"/>
                      <a:pt x="562690" y="437785"/>
                      <a:pt x="562690" y="446442"/>
                    </a:cubicBezTo>
                    <a:lnTo>
                      <a:pt x="562690" y="633180"/>
                    </a:lnTo>
                    <a:cubicBezTo>
                      <a:pt x="562690" y="641837"/>
                      <a:pt x="569491" y="648639"/>
                      <a:pt x="578148" y="648639"/>
                    </a:cubicBezTo>
                    <a:lnTo>
                      <a:pt x="722840" y="648639"/>
                    </a:lnTo>
                    <a:cubicBezTo>
                      <a:pt x="746955" y="648639"/>
                      <a:pt x="766124" y="629470"/>
                      <a:pt x="766124" y="605355"/>
                    </a:cubicBezTo>
                    <a:lnTo>
                      <a:pt x="766124" y="46376"/>
                    </a:lnTo>
                    <a:cubicBezTo>
                      <a:pt x="766124" y="37719"/>
                      <a:pt x="759322" y="30917"/>
                      <a:pt x="750665" y="30917"/>
                    </a:cubicBezTo>
                    <a:cubicBezTo>
                      <a:pt x="742008" y="30917"/>
                      <a:pt x="735207" y="37719"/>
                      <a:pt x="735207" y="46376"/>
                    </a:cubicBezTo>
                    <a:lnTo>
                      <a:pt x="735207" y="605973"/>
                    </a:lnTo>
                    <a:cubicBezTo>
                      <a:pt x="735207" y="612775"/>
                      <a:pt x="729642" y="617722"/>
                      <a:pt x="723458" y="617722"/>
                    </a:cubicBezTo>
                    <a:lnTo>
                      <a:pt x="593607" y="617722"/>
                    </a:lnTo>
                    <a:lnTo>
                      <a:pt x="593607" y="461900"/>
                    </a:lnTo>
                    <a:lnTo>
                      <a:pt x="637509" y="461900"/>
                    </a:lnTo>
                    <a:cubicBezTo>
                      <a:pt x="645547" y="461900"/>
                      <a:pt x="651731" y="458190"/>
                      <a:pt x="654822" y="452007"/>
                    </a:cubicBezTo>
                    <a:cubicBezTo>
                      <a:pt x="657914" y="445823"/>
                      <a:pt x="657296" y="438403"/>
                      <a:pt x="652349" y="432220"/>
                    </a:cubicBezTo>
                    <a:lnTo>
                      <a:pt x="562071" y="317209"/>
                    </a:lnTo>
                    <a:cubicBezTo>
                      <a:pt x="557743" y="312262"/>
                      <a:pt x="552178" y="309170"/>
                      <a:pt x="545994" y="309170"/>
                    </a:cubicBezTo>
                    <a:lnTo>
                      <a:pt x="545994" y="309170"/>
                    </a:lnTo>
                    <a:cubicBezTo>
                      <a:pt x="539811" y="309170"/>
                      <a:pt x="533628" y="312262"/>
                      <a:pt x="529918" y="317209"/>
                    </a:cubicBezTo>
                    <a:lnTo>
                      <a:pt x="443968" y="431602"/>
                    </a:lnTo>
                    <a:cubicBezTo>
                      <a:pt x="439640" y="437785"/>
                      <a:pt x="438403" y="445205"/>
                      <a:pt x="441495" y="451388"/>
                    </a:cubicBezTo>
                    <a:cubicBezTo>
                      <a:pt x="444587" y="457572"/>
                      <a:pt x="450770" y="461282"/>
                      <a:pt x="458809" y="461282"/>
                    </a:cubicBezTo>
                    <a:lnTo>
                      <a:pt x="499619" y="461282"/>
                    </a:lnTo>
                    <a:lnTo>
                      <a:pt x="499619" y="617104"/>
                    </a:lnTo>
                    <a:lnTo>
                      <a:pt x="61216" y="617104"/>
                    </a:lnTo>
                    <a:cubicBezTo>
                      <a:pt x="44521" y="617104"/>
                      <a:pt x="30917" y="603500"/>
                      <a:pt x="30917" y="586805"/>
                    </a:cubicBezTo>
                    <a:lnTo>
                      <a:pt x="30917" y="61216"/>
                    </a:lnTo>
                    <a:cubicBezTo>
                      <a:pt x="30917" y="44520"/>
                      <a:pt x="44521" y="30917"/>
                      <a:pt x="61216" y="30917"/>
                    </a:cubicBezTo>
                    <a:lnTo>
                      <a:pt x="617722" y="30917"/>
                    </a:lnTo>
                    <a:cubicBezTo>
                      <a:pt x="626379" y="30917"/>
                      <a:pt x="633180" y="24115"/>
                      <a:pt x="633180" y="15459"/>
                    </a:cubicBezTo>
                    <a:cubicBezTo>
                      <a:pt x="633180" y="6802"/>
                      <a:pt x="626379" y="0"/>
                      <a:pt x="617722" y="0"/>
                    </a:cubicBezTo>
                    <a:lnTo>
                      <a:pt x="61216" y="0"/>
                    </a:lnTo>
                    <a:cubicBezTo>
                      <a:pt x="27207" y="0"/>
                      <a:pt x="0" y="27825"/>
                      <a:pt x="0" y="61216"/>
                    </a:cubicBezTo>
                    <a:lnTo>
                      <a:pt x="0" y="586805"/>
                    </a:lnTo>
                    <a:cubicBezTo>
                      <a:pt x="0" y="621432"/>
                      <a:pt x="27207" y="648639"/>
                      <a:pt x="61216" y="648639"/>
                    </a:cubicBezTo>
                    <a:close/>
                  </a:path>
                </a:pathLst>
              </a:custGeom>
              <a:solidFill>
                <a:srgbClr val="000000"/>
              </a:solidFill>
              <a:ln w="6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0" name="Полилиния: фигура 9">
                <a:extLst>
                  <a:ext uri="{FF2B5EF4-FFF2-40B4-BE49-F238E27FC236}">
                    <a16:creationId xmlns:a16="http://schemas.microsoft.com/office/drawing/2014/main" id="{2E9BC23B-04D6-49F6-BB64-29D6DE192E70}"/>
                  </a:ext>
                </a:extLst>
              </p:cNvPr>
              <p:cNvSpPr/>
              <p:nvPr/>
            </p:nvSpPr>
            <p:spPr>
              <a:xfrm>
                <a:off x="5707636" y="5425568"/>
                <a:ext cx="1459283" cy="267741"/>
              </a:xfrm>
              <a:custGeom>
                <a:avLst/>
                <a:gdLst>
                  <a:gd name="connsiteX0" fmla="*/ 1359112 w 1459283"/>
                  <a:gd name="connsiteY0" fmla="*/ 0 h 267741"/>
                  <a:gd name="connsiteX1" fmla="*/ 1266361 w 1459283"/>
                  <a:gd name="connsiteY1" fmla="*/ 0 h 267741"/>
                  <a:gd name="connsiteX2" fmla="*/ 1250902 w 1459283"/>
                  <a:gd name="connsiteY2" fmla="*/ 15459 h 267741"/>
                  <a:gd name="connsiteX3" fmla="*/ 1266361 w 1459283"/>
                  <a:gd name="connsiteY3" fmla="*/ 30917 h 267741"/>
                  <a:gd name="connsiteX4" fmla="*/ 1359112 w 1459283"/>
                  <a:gd name="connsiteY4" fmla="*/ 30917 h 267741"/>
                  <a:gd name="connsiteX5" fmla="*/ 1428366 w 1459283"/>
                  <a:gd name="connsiteY5" fmla="*/ 107591 h 267741"/>
                  <a:gd name="connsiteX6" fmla="*/ 1428366 w 1459283"/>
                  <a:gd name="connsiteY6" fmla="*/ 160150 h 267741"/>
                  <a:gd name="connsiteX7" fmla="*/ 1359112 w 1459283"/>
                  <a:gd name="connsiteY7" fmla="*/ 236824 h 267741"/>
                  <a:gd name="connsiteX8" fmla="*/ 100171 w 1459283"/>
                  <a:gd name="connsiteY8" fmla="*/ 236824 h 267741"/>
                  <a:gd name="connsiteX9" fmla="*/ 30917 w 1459283"/>
                  <a:gd name="connsiteY9" fmla="*/ 160150 h 267741"/>
                  <a:gd name="connsiteX10" fmla="*/ 30917 w 1459283"/>
                  <a:gd name="connsiteY10" fmla="*/ 107591 h 267741"/>
                  <a:gd name="connsiteX11" fmla="*/ 100171 w 1459283"/>
                  <a:gd name="connsiteY11" fmla="*/ 30917 h 267741"/>
                  <a:gd name="connsiteX12" fmla="*/ 184265 w 1459283"/>
                  <a:gd name="connsiteY12" fmla="*/ 30917 h 267741"/>
                  <a:gd name="connsiteX13" fmla="*/ 199724 w 1459283"/>
                  <a:gd name="connsiteY13" fmla="*/ 15459 h 267741"/>
                  <a:gd name="connsiteX14" fmla="*/ 184265 w 1459283"/>
                  <a:gd name="connsiteY14" fmla="*/ 0 h 267741"/>
                  <a:gd name="connsiteX15" fmla="*/ 100171 w 1459283"/>
                  <a:gd name="connsiteY15" fmla="*/ 0 h 267741"/>
                  <a:gd name="connsiteX16" fmla="*/ 0 w 1459283"/>
                  <a:gd name="connsiteY16" fmla="*/ 107591 h 267741"/>
                  <a:gd name="connsiteX17" fmla="*/ 0 w 1459283"/>
                  <a:gd name="connsiteY17" fmla="*/ 160150 h 267741"/>
                  <a:gd name="connsiteX18" fmla="*/ 100171 w 1459283"/>
                  <a:gd name="connsiteY18" fmla="*/ 267741 h 267741"/>
                  <a:gd name="connsiteX19" fmla="*/ 1359112 w 1459283"/>
                  <a:gd name="connsiteY19" fmla="*/ 267741 h 267741"/>
                  <a:gd name="connsiteX20" fmla="*/ 1459283 w 1459283"/>
                  <a:gd name="connsiteY20" fmla="*/ 160150 h 267741"/>
                  <a:gd name="connsiteX21" fmla="*/ 1459283 w 1459283"/>
                  <a:gd name="connsiteY21" fmla="*/ 107591 h 267741"/>
                  <a:gd name="connsiteX22" fmla="*/ 1359112 w 1459283"/>
                  <a:gd name="connsiteY22" fmla="*/ 0 h 267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59283" h="267741">
                    <a:moveTo>
                      <a:pt x="1359112" y="0"/>
                    </a:moveTo>
                    <a:lnTo>
                      <a:pt x="1266361" y="0"/>
                    </a:lnTo>
                    <a:cubicBezTo>
                      <a:pt x="1257704" y="0"/>
                      <a:pt x="1250902" y="6802"/>
                      <a:pt x="1250902" y="15459"/>
                    </a:cubicBezTo>
                    <a:cubicBezTo>
                      <a:pt x="1250902" y="24115"/>
                      <a:pt x="1257704" y="30917"/>
                      <a:pt x="1266361" y="30917"/>
                    </a:cubicBezTo>
                    <a:lnTo>
                      <a:pt x="1359112" y="30917"/>
                    </a:lnTo>
                    <a:cubicBezTo>
                      <a:pt x="1397449" y="30917"/>
                      <a:pt x="1428366" y="64926"/>
                      <a:pt x="1428366" y="107591"/>
                    </a:cubicBezTo>
                    <a:lnTo>
                      <a:pt x="1428366" y="160150"/>
                    </a:lnTo>
                    <a:cubicBezTo>
                      <a:pt x="1428366" y="202197"/>
                      <a:pt x="1397449" y="236824"/>
                      <a:pt x="1359112" y="236824"/>
                    </a:cubicBezTo>
                    <a:lnTo>
                      <a:pt x="100171" y="236824"/>
                    </a:lnTo>
                    <a:cubicBezTo>
                      <a:pt x="61834" y="236824"/>
                      <a:pt x="30917" y="202816"/>
                      <a:pt x="30917" y="160150"/>
                    </a:cubicBezTo>
                    <a:lnTo>
                      <a:pt x="30917" y="107591"/>
                    </a:lnTo>
                    <a:cubicBezTo>
                      <a:pt x="30917" y="65544"/>
                      <a:pt x="61834" y="30917"/>
                      <a:pt x="100171" y="30917"/>
                    </a:cubicBezTo>
                    <a:lnTo>
                      <a:pt x="184265" y="30917"/>
                    </a:lnTo>
                    <a:cubicBezTo>
                      <a:pt x="192922" y="30917"/>
                      <a:pt x="199724" y="24115"/>
                      <a:pt x="199724" y="15459"/>
                    </a:cubicBezTo>
                    <a:cubicBezTo>
                      <a:pt x="199724" y="6802"/>
                      <a:pt x="192922" y="0"/>
                      <a:pt x="184265" y="0"/>
                    </a:cubicBezTo>
                    <a:lnTo>
                      <a:pt x="100171" y="0"/>
                    </a:lnTo>
                    <a:cubicBezTo>
                      <a:pt x="45139" y="0"/>
                      <a:pt x="0" y="48231"/>
                      <a:pt x="0" y="107591"/>
                    </a:cubicBezTo>
                    <a:lnTo>
                      <a:pt x="0" y="160150"/>
                    </a:lnTo>
                    <a:cubicBezTo>
                      <a:pt x="0" y="219511"/>
                      <a:pt x="45139" y="267741"/>
                      <a:pt x="100171" y="267741"/>
                    </a:cubicBezTo>
                    <a:lnTo>
                      <a:pt x="1359112" y="267741"/>
                    </a:lnTo>
                    <a:cubicBezTo>
                      <a:pt x="1414144" y="267741"/>
                      <a:pt x="1459283" y="219511"/>
                      <a:pt x="1459283" y="160150"/>
                    </a:cubicBezTo>
                    <a:lnTo>
                      <a:pt x="1459283" y="107591"/>
                    </a:lnTo>
                    <a:cubicBezTo>
                      <a:pt x="1459283" y="48231"/>
                      <a:pt x="1414144" y="0"/>
                      <a:pt x="135911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6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" name="Полилиния: фигура 10">
                <a:extLst>
                  <a:ext uri="{FF2B5EF4-FFF2-40B4-BE49-F238E27FC236}">
                    <a16:creationId xmlns:a16="http://schemas.microsoft.com/office/drawing/2014/main" id="{C4F6671B-2F90-4558-A024-4F62DD9A17B0}"/>
                  </a:ext>
                </a:extLst>
              </p:cNvPr>
              <p:cNvSpPr/>
              <p:nvPr/>
            </p:nvSpPr>
            <p:spPr>
              <a:xfrm>
                <a:off x="5976113" y="5424950"/>
                <a:ext cx="412197" cy="147783"/>
              </a:xfrm>
              <a:custGeom>
                <a:avLst/>
                <a:gdLst>
                  <a:gd name="connsiteX0" fmla="*/ 83977 w 412197"/>
                  <a:gd name="connsiteY0" fmla="*/ 147783 h 147783"/>
                  <a:gd name="connsiteX1" fmla="*/ 164361 w 412197"/>
                  <a:gd name="connsiteY1" fmla="*/ 67399 h 147783"/>
                  <a:gd name="connsiteX2" fmla="*/ 148903 w 412197"/>
                  <a:gd name="connsiteY2" fmla="*/ 51941 h 147783"/>
                  <a:gd name="connsiteX3" fmla="*/ 133444 w 412197"/>
                  <a:gd name="connsiteY3" fmla="*/ 67399 h 147783"/>
                  <a:gd name="connsiteX4" fmla="*/ 84595 w 412197"/>
                  <a:gd name="connsiteY4" fmla="*/ 116248 h 147783"/>
                  <a:gd name="connsiteX5" fmla="*/ 44403 w 412197"/>
                  <a:gd name="connsiteY5" fmla="*/ 101408 h 147783"/>
                  <a:gd name="connsiteX6" fmla="*/ 31418 w 412197"/>
                  <a:gd name="connsiteY6" fmla="*/ 50704 h 147783"/>
                  <a:gd name="connsiteX7" fmla="*/ 53678 w 412197"/>
                  <a:gd name="connsiteY7" fmla="*/ 30917 h 147783"/>
                  <a:gd name="connsiteX8" fmla="*/ 357902 w 412197"/>
                  <a:gd name="connsiteY8" fmla="*/ 30917 h 147783"/>
                  <a:gd name="connsiteX9" fmla="*/ 380162 w 412197"/>
                  <a:gd name="connsiteY9" fmla="*/ 50704 h 147783"/>
                  <a:gd name="connsiteX10" fmla="*/ 367177 w 412197"/>
                  <a:gd name="connsiteY10" fmla="*/ 101408 h 147783"/>
                  <a:gd name="connsiteX11" fmla="*/ 326985 w 412197"/>
                  <a:gd name="connsiteY11" fmla="*/ 116248 h 147783"/>
                  <a:gd name="connsiteX12" fmla="*/ 278136 w 412197"/>
                  <a:gd name="connsiteY12" fmla="*/ 67399 h 147783"/>
                  <a:gd name="connsiteX13" fmla="*/ 262677 w 412197"/>
                  <a:gd name="connsiteY13" fmla="*/ 51941 h 147783"/>
                  <a:gd name="connsiteX14" fmla="*/ 247219 w 412197"/>
                  <a:gd name="connsiteY14" fmla="*/ 67399 h 147783"/>
                  <a:gd name="connsiteX15" fmla="*/ 327603 w 412197"/>
                  <a:gd name="connsiteY15" fmla="*/ 147783 h 147783"/>
                  <a:gd name="connsiteX16" fmla="*/ 391292 w 412197"/>
                  <a:gd name="connsiteY16" fmla="*/ 122431 h 147783"/>
                  <a:gd name="connsiteX17" fmla="*/ 411697 w 412197"/>
                  <a:gd name="connsiteY17" fmla="*/ 46994 h 147783"/>
                  <a:gd name="connsiteX18" fmla="*/ 358520 w 412197"/>
                  <a:gd name="connsiteY18" fmla="*/ 0 h 147783"/>
                  <a:gd name="connsiteX19" fmla="*/ 53678 w 412197"/>
                  <a:gd name="connsiteY19" fmla="*/ 0 h 147783"/>
                  <a:gd name="connsiteX20" fmla="*/ 501 w 412197"/>
                  <a:gd name="connsiteY20" fmla="*/ 46994 h 147783"/>
                  <a:gd name="connsiteX21" fmla="*/ 20906 w 412197"/>
                  <a:gd name="connsiteY21" fmla="*/ 122431 h 147783"/>
                  <a:gd name="connsiteX22" fmla="*/ 83977 w 412197"/>
                  <a:gd name="connsiteY22" fmla="*/ 147783 h 147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12197" h="147783">
                    <a:moveTo>
                      <a:pt x="83977" y="147783"/>
                    </a:moveTo>
                    <a:cubicBezTo>
                      <a:pt x="128497" y="147783"/>
                      <a:pt x="164361" y="111920"/>
                      <a:pt x="164361" y="67399"/>
                    </a:cubicBezTo>
                    <a:cubicBezTo>
                      <a:pt x="164361" y="58742"/>
                      <a:pt x="157559" y="51941"/>
                      <a:pt x="148903" y="51941"/>
                    </a:cubicBezTo>
                    <a:cubicBezTo>
                      <a:pt x="140246" y="51941"/>
                      <a:pt x="133444" y="58742"/>
                      <a:pt x="133444" y="67399"/>
                    </a:cubicBezTo>
                    <a:cubicBezTo>
                      <a:pt x="133444" y="94606"/>
                      <a:pt x="111184" y="116248"/>
                      <a:pt x="84595" y="116248"/>
                    </a:cubicBezTo>
                    <a:cubicBezTo>
                      <a:pt x="66663" y="116248"/>
                      <a:pt x="53678" y="111301"/>
                      <a:pt x="44403" y="101408"/>
                    </a:cubicBezTo>
                    <a:cubicBezTo>
                      <a:pt x="27708" y="82858"/>
                      <a:pt x="31418" y="50704"/>
                      <a:pt x="31418" y="50704"/>
                    </a:cubicBezTo>
                    <a:cubicBezTo>
                      <a:pt x="32655" y="40192"/>
                      <a:pt x="43166" y="30917"/>
                      <a:pt x="53678" y="30917"/>
                    </a:cubicBezTo>
                    <a:lnTo>
                      <a:pt x="357902" y="30917"/>
                    </a:lnTo>
                    <a:cubicBezTo>
                      <a:pt x="368413" y="30917"/>
                      <a:pt x="378925" y="40192"/>
                      <a:pt x="380162" y="50704"/>
                    </a:cubicBezTo>
                    <a:cubicBezTo>
                      <a:pt x="380162" y="50704"/>
                      <a:pt x="383872" y="82858"/>
                      <a:pt x="367177" y="101408"/>
                    </a:cubicBezTo>
                    <a:cubicBezTo>
                      <a:pt x="358520" y="111301"/>
                      <a:pt x="345535" y="116248"/>
                      <a:pt x="326985" y="116248"/>
                    </a:cubicBezTo>
                    <a:cubicBezTo>
                      <a:pt x="299778" y="116248"/>
                      <a:pt x="278136" y="93988"/>
                      <a:pt x="278136" y="67399"/>
                    </a:cubicBezTo>
                    <a:cubicBezTo>
                      <a:pt x="278136" y="58742"/>
                      <a:pt x="271334" y="51941"/>
                      <a:pt x="262677" y="51941"/>
                    </a:cubicBezTo>
                    <a:cubicBezTo>
                      <a:pt x="254020" y="51941"/>
                      <a:pt x="247219" y="58742"/>
                      <a:pt x="247219" y="67399"/>
                    </a:cubicBezTo>
                    <a:cubicBezTo>
                      <a:pt x="247219" y="111920"/>
                      <a:pt x="283082" y="147783"/>
                      <a:pt x="327603" y="147783"/>
                    </a:cubicBezTo>
                    <a:cubicBezTo>
                      <a:pt x="354810" y="147783"/>
                      <a:pt x="376452" y="139127"/>
                      <a:pt x="391292" y="122431"/>
                    </a:cubicBezTo>
                    <a:cubicBezTo>
                      <a:pt x="417262" y="92751"/>
                      <a:pt x="411697" y="49467"/>
                      <a:pt x="411697" y="46994"/>
                    </a:cubicBezTo>
                    <a:cubicBezTo>
                      <a:pt x="407987" y="21024"/>
                      <a:pt x="385108" y="0"/>
                      <a:pt x="358520" y="0"/>
                    </a:cubicBezTo>
                    <a:lnTo>
                      <a:pt x="53678" y="0"/>
                    </a:lnTo>
                    <a:cubicBezTo>
                      <a:pt x="27089" y="0"/>
                      <a:pt x="3593" y="20405"/>
                      <a:pt x="501" y="46994"/>
                    </a:cubicBezTo>
                    <a:cubicBezTo>
                      <a:pt x="501" y="48849"/>
                      <a:pt x="-5064" y="92751"/>
                      <a:pt x="20906" y="122431"/>
                    </a:cubicBezTo>
                    <a:cubicBezTo>
                      <a:pt x="35746" y="139127"/>
                      <a:pt x="56770" y="147783"/>
                      <a:pt x="83977" y="14778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6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Полилиния: фигура 11">
                <a:extLst>
                  <a:ext uri="{FF2B5EF4-FFF2-40B4-BE49-F238E27FC236}">
                    <a16:creationId xmlns:a16="http://schemas.microsoft.com/office/drawing/2014/main" id="{63E611F4-183C-4F50-A98F-F559B8E64B4D}"/>
                  </a:ext>
                </a:extLst>
              </p:cNvPr>
              <p:cNvSpPr/>
              <p:nvPr/>
            </p:nvSpPr>
            <p:spPr>
              <a:xfrm>
                <a:off x="6486862" y="5424950"/>
                <a:ext cx="412816" cy="147783"/>
              </a:xfrm>
              <a:custGeom>
                <a:avLst/>
                <a:gdLst>
                  <a:gd name="connsiteX0" fmla="*/ 501 w 412816"/>
                  <a:gd name="connsiteY0" fmla="*/ 46994 h 147783"/>
                  <a:gd name="connsiteX1" fmla="*/ 20906 w 412816"/>
                  <a:gd name="connsiteY1" fmla="*/ 122431 h 147783"/>
                  <a:gd name="connsiteX2" fmla="*/ 84595 w 412816"/>
                  <a:gd name="connsiteY2" fmla="*/ 147783 h 147783"/>
                  <a:gd name="connsiteX3" fmla="*/ 164979 w 412816"/>
                  <a:gd name="connsiteY3" fmla="*/ 67399 h 147783"/>
                  <a:gd name="connsiteX4" fmla="*/ 149521 w 412816"/>
                  <a:gd name="connsiteY4" fmla="*/ 51941 h 147783"/>
                  <a:gd name="connsiteX5" fmla="*/ 134062 w 412816"/>
                  <a:gd name="connsiteY5" fmla="*/ 67399 h 147783"/>
                  <a:gd name="connsiteX6" fmla="*/ 85214 w 412816"/>
                  <a:gd name="connsiteY6" fmla="*/ 116248 h 147783"/>
                  <a:gd name="connsiteX7" fmla="*/ 45021 w 412816"/>
                  <a:gd name="connsiteY7" fmla="*/ 101408 h 147783"/>
                  <a:gd name="connsiteX8" fmla="*/ 32036 w 412816"/>
                  <a:gd name="connsiteY8" fmla="*/ 50704 h 147783"/>
                  <a:gd name="connsiteX9" fmla="*/ 54296 w 412816"/>
                  <a:gd name="connsiteY9" fmla="*/ 30917 h 147783"/>
                  <a:gd name="connsiteX10" fmla="*/ 358520 w 412816"/>
                  <a:gd name="connsiteY10" fmla="*/ 30917 h 147783"/>
                  <a:gd name="connsiteX11" fmla="*/ 380780 w 412816"/>
                  <a:gd name="connsiteY11" fmla="*/ 50704 h 147783"/>
                  <a:gd name="connsiteX12" fmla="*/ 367795 w 412816"/>
                  <a:gd name="connsiteY12" fmla="*/ 101408 h 147783"/>
                  <a:gd name="connsiteX13" fmla="*/ 327603 w 412816"/>
                  <a:gd name="connsiteY13" fmla="*/ 116248 h 147783"/>
                  <a:gd name="connsiteX14" fmla="*/ 278754 w 412816"/>
                  <a:gd name="connsiteY14" fmla="*/ 67399 h 147783"/>
                  <a:gd name="connsiteX15" fmla="*/ 263296 w 412816"/>
                  <a:gd name="connsiteY15" fmla="*/ 51941 h 147783"/>
                  <a:gd name="connsiteX16" fmla="*/ 247837 w 412816"/>
                  <a:gd name="connsiteY16" fmla="*/ 67399 h 147783"/>
                  <a:gd name="connsiteX17" fmla="*/ 328221 w 412816"/>
                  <a:gd name="connsiteY17" fmla="*/ 147783 h 147783"/>
                  <a:gd name="connsiteX18" fmla="*/ 391910 w 412816"/>
                  <a:gd name="connsiteY18" fmla="*/ 122431 h 147783"/>
                  <a:gd name="connsiteX19" fmla="*/ 412315 w 412816"/>
                  <a:gd name="connsiteY19" fmla="*/ 46994 h 147783"/>
                  <a:gd name="connsiteX20" fmla="*/ 359138 w 412816"/>
                  <a:gd name="connsiteY20" fmla="*/ 0 h 147783"/>
                  <a:gd name="connsiteX21" fmla="*/ 54915 w 412816"/>
                  <a:gd name="connsiteY21" fmla="*/ 0 h 147783"/>
                  <a:gd name="connsiteX22" fmla="*/ 501 w 412816"/>
                  <a:gd name="connsiteY22" fmla="*/ 46994 h 147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12816" h="147783">
                    <a:moveTo>
                      <a:pt x="501" y="46994"/>
                    </a:moveTo>
                    <a:cubicBezTo>
                      <a:pt x="501" y="48849"/>
                      <a:pt x="-5064" y="92751"/>
                      <a:pt x="20906" y="122431"/>
                    </a:cubicBezTo>
                    <a:cubicBezTo>
                      <a:pt x="35746" y="139127"/>
                      <a:pt x="57388" y="147783"/>
                      <a:pt x="84595" y="147783"/>
                    </a:cubicBezTo>
                    <a:cubicBezTo>
                      <a:pt x="129116" y="147783"/>
                      <a:pt x="164979" y="111920"/>
                      <a:pt x="164979" y="67399"/>
                    </a:cubicBezTo>
                    <a:cubicBezTo>
                      <a:pt x="164979" y="58742"/>
                      <a:pt x="158178" y="51941"/>
                      <a:pt x="149521" y="51941"/>
                    </a:cubicBezTo>
                    <a:cubicBezTo>
                      <a:pt x="140864" y="51941"/>
                      <a:pt x="134062" y="58742"/>
                      <a:pt x="134062" y="67399"/>
                    </a:cubicBezTo>
                    <a:cubicBezTo>
                      <a:pt x="134062" y="94606"/>
                      <a:pt x="111802" y="116248"/>
                      <a:pt x="85214" y="116248"/>
                    </a:cubicBezTo>
                    <a:cubicBezTo>
                      <a:pt x="67282" y="116248"/>
                      <a:pt x="54296" y="111301"/>
                      <a:pt x="45021" y="101408"/>
                    </a:cubicBezTo>
                    <a:cubicBezTo>
                      <a:pt x="28326" y="82858"/>
                      <a:pt x="32036" y="50704"/>
                      <a:pt x="32036" y="50704"/>
                    </a:cubicBezTo>
                    <a:cubicBezTo>
                      <a:pt x="33273" y="40192"/>
                      <a:pt x="43785" y="30917"/>
                      <a:pt x="54296" y="30917"/>
                    </a:cubicBezTo>
                    <a:lnTo>
                      <a:pt x="358520" y="30917"/>
                    </a:lnTo>
                    <a:cubicBezTo>
                      <a:pt x="369032" y="30917"/>
                      <a:pt x="379543" y="40192"/>
                      <a:pt x="380780" y="50704"/>
                    </a:cubicBezTo>
                    <a:cubicBezTo>
                      <a:pt x="380780" y="50704"/>
                      <a:pt x="384490" y="82858"/>
                      <a:pt x="367795" y="101408"/>
                    </a:cubicBezTo>
                    <a:cubicBezTo>
                      <a:pt x="359138" y="111301"/>
                      <a:pt x="346153" y="116248"/>
                      <a:pt x="327603" y="116248"/>
                    </a:cubicBezTo>
                    <a:cubicBezTo>
                      <a:pt x="300396" y="116248"/>
                      <a:pt x="278754" y="93988"/>
                      <a:pt x="278754" y="67399"/>
                    </a:cubicBezTo>
                    <a:cubicBezTo>
                      <a:pt x="278754" y="58742"/>
                      <a:pt x="271952" y="51941"/>
                      <a:pt x="263296" y="51941"/>
                    </a:cubicBezTo>
                    <a:cubicBezTo>
                      <a:pt x="254639" y="51941"/>
                      <a:pt x="247837" y="58742"/>
                      <a:pt x="247837" y="67399"/>
                    </a:cubicBezTo>
                    <a:cubicBezTo>
                      <a:pt x="247837" y="111920"/>
                      <a:pt x="283701" y="147783"/>
                      <a:pt x="328221" y="147783"/>
                    </a:cubicBezTo>
                    <a:cubicBezTo>
                      <a:pt x="355428" y="147783"/>
                      <a:pt x="376452" y="139127"/>
                      <a:pt x="391910" y="122431"/>
                    </a:cubicBezTo>
                    <a:cubicBezTo>
                      <a:pt x="417881" y="92751"/>
                      <a:pt x="412315" y="49467"/>
                      <a:pt x="412315" y="46994"/>
                    </a:cubicBezTo>
                    <a:cubicBezTo>
                      <a:pt x="408605" y="21024"/>
                      <a:pt x="385727" y="0"/>
                      <a:pt x="359138" y="0"/>
                    </a:cubicBezTo>
                    <a:lnTo>
                      <a:pt x="54915" y="0"/>
                    </a:lnTo>
                    <a:cubicBezTo>
                      <a:pt x="27089" y="618"/>
                      <a:pt x="3593" y="21024"/>
                      <a:pt x="501" y="4699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61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pic>
        <p:nvPicPr>
          <p:cNvPr id="903" name="Рисунок 902">
            <a:extLst>
              <a:ext uri="{FF2B5EF4-FFF2-40B4-BE49-F238E27FC236}">
                <a16:creationId xmlns:a16="http://schemas.microsoft.com/office/drawing/2014/main" id="{372D6084-2063-4FAF-8C86-65B253AB04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8100000">
            <a:off x="1713036" y="3824574"/>
            <a:ext cx="403341" cy="708306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CF332FB-6882-44C7-902D-1CF059C5F4E1}"/>
              </a:ext>
            </a:extLst>
          </p:cNvPr>
          <p:cNvGrpSpPr/>
          <p:nvPr/>
        </p:nvGrpSpPr>
        <p:grpSpPr>
          <a:xfrm>
            <a:off x="2927183" y="1874848"/>
            <a:ext cx="1912863" cy="435504"/>
            <a:chOff x="2645496" y="7794708"/>
            <a:chExt cx="1912863" cy="435504"/>
          </a:xfrm>
        </p:grpSpPr>
        <p:sp>
          <p:nvSpPr>
            <p:cNvPr id="906" name="Rounded Rectangle">
              <a:extLst>
                <a:ext uri="{FF2B5EF4-FFF2-40B4-BE49-F238E27FC236}">
                  <a16:creationId xmlns:a16="http://schemas.microsoft.com/office/drawing/2014/main" id="{70B994B5-86DC-4DCF-AD41-9C628A9041AA}"/>
                </a:ext>
              </a:extLst>
            </p:cNvPr>
            <p:cNvSpPr/>
            <p:nvPr/>
          </p:nvSpPr>
          <p:spPr>
            <a:xfrm>
              <a:off x="2645496" y="7794708"/>
              <a:ext cx="1912863" cy="4355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07" name="Motion design">
              <a:extLst>
                <a:ext uri="{FF2B5EF4-FFF2-40B4-BE49-F238E27FC236}">
                  <a16:creationId xmlns:a16="http://schemas.microsoft.com/office/drawing/2014/main" id="{58B3F5EA-6645-4E3D-98E0-30011B5E880F}"/>
                </a:ext>
              </a:extLst>
            </p:cNvPr>
            <p:cNvSpPr txBox="1"/>
            <p:nvPr/>
          </p:nvSpPr>
          <p:spPr>
            <a:xfrm>
              <a:off x="3156431" y="7898414"/>
              <a:ext cx="1262222" cy="20031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1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Поискали клиента</a:t>
              </a:r>
            </a:p>
          </p:txBody>
        </p:sp>
        <p:sp>
          <p:nvSpPr>
            <p:cNvPr id="908" name="Circle">
              <a:extLst>
                <a:ext uri="{FF2B5EF4-FFF2-40B4-BE49-F238E27FC236}">
                  <a16:creationId xmlns:a16="http://schemas.microsoft.com/office/drawing/2014/main" id="{B166BC3A-8D1A-475E-8F55-E0DBDFC33F0E}"/>
                </a:ext>
              </a:extLst>
            </p:cNvPr>
            <p:cNvSpPr/>
            <p:nvPr/>
          </p:nvSpPr>
          <p:spPr>
            <a:xfrm>
              <a:off x="2755391" y="7857466"/>
              <a:ext cx="305953" cy="305953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909" name="Рисунок 908">
              <a:extLst>
                <a:ext uri="{FF2B5EF4-FFF2-40B4-BE49-F238E27FC236}">
                  <a16:creationId xmlns:a16="http://schemas.microsoft.com/office/drawing/2014/main" id="{72895195-F05A-4749-AA58-ED48C9C89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815549" y="7912399"/>
              <a:ext cx="186326" cy="186326"/>
            </a:xfrm>
            <a:prstGeom prst="rect">
              <a:avLst/>
            </a:prstGeom>
          </p:spPr>
        </p:pic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9D494369-BB65-4A44-98B0-4B29BD5F28DC}"/>
              </a:ext>
            </a:extLst>
          </p:cNvPr>
          <p:cNvGrpSpPr/>
          <p:nvPr/>
        </p:nvGrpSpPr>
        <p:grpSpPr>
          <a:xfrm>
            <a:off x="7361456" y="2580398"/>
            <a:ext cx="5051622" cy="847113"/>
            <a:chOff x="7361456" y="2580398"/>
            <a:chExt cx="5051622" cy="847113"/>
          </a:xfrm>
        </p:grpSpPr>
        <p:sp>
          <p:nvSpPr>
            <p:cNvPr id="404" name="Rounded Rectangle">
              <a:extLst>
                <a:ext uri="{FF2B5EF4-FFF2-40B4-BE49-F238E27FC236}">
                  <a16:creationId xmlns:a16="http://schemas.microsoft.com/office/drawing/2014/main" id="{79ADD436-86F6-4D4E-9FA0-D55CF9AABC8B}"/>
                </a:ext>
              </a:extLst>
            </p:cNvPr>
            <p:cNvSpPr/>
            <p:nvPr/>
          </p:nvSpPr>
          <p:spPr>
            <a:xfrm>
              <a:off x="7361456" y="2580398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05" name="Motion design">
              <a:extLst>
                <a:ext uri="{FF2B5EF4-FFF2-40B4-BE49-F238E27FC236}">
                  <a16:creationId xmlns:a16="http://schemas.microsoft.com/office/drawing/2014/main" id="{98953A88-211F-43CF-9429-7F1D10BC04F9}"/>
                </a:ext>
              </a:extLst>
            </p:cNvPr>
            <p:cNvSpPr txBox="1"/>
            <p:nvPr/>
          </p:nvSpPr>
          <p:spPr>
            <a:xfrm>
              <a:off x="8285818" y="2725857"/>
              <a:ext cx="3275999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на 4,5% больше найденных клиентов (по статистике одного из конвейеров) </a:t>
              </a:r>
            </a:p>
          </p:txBody>
        </p:sp>
        <p:sp>
          <p:nvSpPr>
            <p:cNvPr id="406" name="Circle">
              <a:extLst>
                <a:ext uri="{FF2B5EF4-FFF2-40B4-BE49-F238E27FC236}">
                  <a16:creationId xmlns:a16="http://schemas.microsoft.com/office/drawing/2014/main" id="{4E38D675-9D70-462C-BDFB-1192EE121E48}"/>
                </a:ext>
              </a:extLst>
            </p:cNvPr>
            <p:cNvSpPr/>
            <p:nvPr/>
          </p:nvSpPr>
          <p:spPr>
            <a:xfrm>
              <a:off x="7487640" y="268628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916" name="Рисунок 915">
              <a:extLst>
                <a:ext uri="{FF2B5EF4-FFF2-40B4-BE49-F238E27FC236}">
                  <a16:creationId xmlns:a16="http://schemas.microsoft.com/office/drawing/2014/main" id="{2522CFCD-52C6-4957-870A-AD502C22F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50416" y="2872297"/>
              <a:ext cx="309781" cy="263314"/>
            </a:xfrm>
            <a:prstGeom prst="rect">
              <a:avLst/>
            </a:prstGeom>
          </p:spPr>
        </p:pic>
      </p:grp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FD88C36-3EFA-4A09-8F8F-14D458FE4A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77465" y="3408730"/>
            <a:ext cx="114300" cy="190500"/>
          </a:xfrm>
          <a:prstGeom prst="rect">
            <a:avLst/>
          </a:prstGeom>
        </p:spPr>
      </p:pic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7D41FAB-881C-4511-9DDA-0122A087BF9D}"/>
              </a:ext>
            </a:extLst>
          </p:cNvPr>
          <p:cNvGrpSpPr/>
          <p:nvPr/>
        </p:nvGrpSpPr>
        <p:grpSpPr>
          <a:xfrm>
            <a:off x="7361456" y="3605574"/>
            <a:ext cx="5051622" cy="847113"/>
            <a:chOff x="7361456" y="3605574"/>
            <a:chExt cx="5051622" cy="847113"/>
          </a:xfrm>
        </p:grpSpPr>
        <p:sp>
          <p:nvSpPr>
            <p:cNvPr id="409" name="Rounded Rectangle">
              <a:extLst>
                <a:ext uri="{FF2B5EF4-FFF2-40B4-BE49-F238E27FC236}">
                  <a16:creationId xmlns:a16="http://schemas.microsoft.com/office/drawing/2014/main" id="{9CD4CFCB-9EC3-482E-B0BF-56AA1EAD669E}"/>
                </a:ext>
              </a:extLst>
            </p:cNvPr>
            <p:cNvSpPr/>
            <p:nvPr/>
          </p:nvSpPr>
          <p:spPr>
            <a:xfrm>
              <a:off x="7361456" y="3605574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0" name="Motion design">
              <a:extLst>
                <a:ext uri="{FF2B5EF4-FFF2-40B4-BE49-F238E27FC236}">
                  <a16:creationId xmlns:a16="http://schemas.microsoft.com/office/drawing/2014/main" id="{F5A3C6AD-C8A9-448F-BC73-2A8CF593703A}"/>
                </a:ext>
              </a:extLst>
            </p:cNvPr>
            <p:cNvSpPr txBox="1"/>
            <p:nvPr/>
          </p:nvSpPr>
          <p:spPr>
            <a:xfrm>
              <a:off x="8285820" y="3891070"/>
              <a:ext cx="3229618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 телефоном - на 12% больше</a:t>
              </a:r>
            </a:p>
          </p:txBody>
        </p:sp>
        <p:sp>
          <p:nvSpPr>
            <p:cNvPr id="411" name="Circle">
              <a:extLst>
                <a:ext uri="{FF2B5EF4-FFF2-40B4-BE49-F238E27FC236}">
                  <a16:creationId xmlns:a16="http://schemas.microsoft.com/office/drawing/2014/main" id="{9906B38A-8C48-4B7C-8AC0-94762A78DE0A}"/>
                </a:ext>
              </a:extLst>
            </p:cNvPr>
            <p:cNvSpPr/>
            <p:nvPr/>
          </p:nvSpPr>
          <p:spPr>
            <a:xfrm>
              <a:off x="7487640" y="3711463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668EDE94-AAD5-46AF-9971-AC12DDA60E02}"/>
                </a:ext>
              </a:extLst>
            </p:cNvPr>
            <p:cNvGrpSpPr/>
            <p:nvPr/>
          </p:nvGrpSpPr>
          <p:grpSpPr>
            <a:xfrm>
              <a:off x="7702917" y="3863646"/>
              <a:ext cx="204778" cy="341296"/>
              <a:chOff x="7702917" y="3863646"/>
              <a:chExt cx="204778" cy="341296"/>
            </a:xfrm>
          </p:grpSpPr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F5CAA7A5-03CA-49DF-A112-D50E0C6725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702917" y="3863646"/>
                <a:ext cx="204778" cy="341296"/>
              </a:xfrm>
              <a:prstGeom prst="rect">
                <a:avLst/>
              </a:prstGeom>
            </p:spPr>
          </p:pic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08F5E452-83D4-4B10-AB2D-679D080F7C1E}"/>
                  </a:ext>
                </a:extLst>
              </p:cNvPr>
              <p:cNvSpPr/>
              <p:nvPr/>
            </p:nvSpPr>
            <p:spPr>
              <a:xfrm>
                <a:off x="7782446" y="4098272"/>
                <a:ext cx="45719" cy="45719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pic>
        <p:nvPicPr>
          <p:cNvPr id="133" name="ОТП_Logo">
            <a:extLst>
              <a:ext uri="{FF2B5EF4-FFF2-40B4-BE49-F238E27FC236}">
                <a16:creationId xmlns:a16="http://schemas.microsoft.com/office/drawing/2014/main" id="{CD65DEF7-48CF-4438-A738-94C7348E2F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70530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6047278" y="1748939"/>
            <a:ext cx="6917265" cy="2794252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6450278" y="2258086"/>
            <a:ext cx="53477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Проблема: </a:t>
            </a:r>
            <a:br>
              <a:rPr lang="ru-RU" sz="36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</a:br>
            <a:r>
              <a:rPr lang="ru-RU" sz="36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выравнивание данных по ландшафту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85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965691" y="903792"/>
            <a:ext cx="3691216" cy="2942486"/>
            <a:chOff x="965691" y="903792"/>
            <a:chExt cx="3691216" cy="2942486"/>
          </a:xfrm>
        </p:grpSpPr>
        <p:sp>
          <p:nvSpPr>
            <p:cNvPr id="1286" name="Полилиния: фигура 1285">
              <a:extLst>
                <a:ext uri="{FF2B5EF4-FFF2-40B4-BE49-F238E27FC236}">
                  <a16:creationId xmlns:a16="http://schemas.microsoft.com/office/drawing/2014/main" id="{07A95C90-8EE5-4210-9504-28C82D0EFA09}"/>
                </a:ext>
              </a:extLst>
            </p:cNvPr>
            <p:cNvSpPr/>
            <p:nvPr/>
          </p:nvSpPr>
          <p:spPr>
            <a:xfrm>
              <a:off x="965691" y="903792"/>
              <a:ext cx="3691216" cy="2942486"/>
            </a:xfrm>
            <a:custGeom>
              <a:avLst/>
              <a:gdLst>
                <a:gd name="connsiteX0" fmla="*/ 3479654 w 3691216"/>
                <a:gd name="connsiteY0" fmla="*/ 486463 h 2942486"/>
                <a:gd name="connsiteX1" fmla="*/ 2700449 w 3691216"/>
                <a:gd name="connsiteY1" fmla="*/ 958 h 2942486"/>
                <a:gd name="connsiteX2" fmla="*/ 1593034 w 3691216"/>
                <a:gd name="connsiteY2" fmla="*/ 728141 h 2942486"/>
                <a:gd name="connsiteX3" fmla="*/ 764469 w 3691216"/>
                <a:gd name="connsiteY3" fmla="*/ 716978 h 2942486"/>
                <a:gd name="connsiteX4" fmla="*/ 124024 w 3691216"/>
                <a:gd name="connsiteY4" fmla="*/ 2328742 h 2942486"/>
                <a:gd name="connsiteX5" fmla="*/ 1496465 w 3691216"/>
                <a:gd name="connsiteY5" fmla="*/ 2942459 h 2942486"/>
                <a:gd name="connsiteX6" fmla="*/ 3231935 w 3691216"/>
                <a:gd name="connsiteY6" fmla="*/ 2478152 h 2942486"/>
                <a:gd name="connsiteX7" fmla="*/ 3479859 w 3691216"/>
                <a:gd name="connsiteY7" fmla="*/ 486463 h 294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1216" h="2942486">
                  <a:moveTo>
                    <a:pt x="3479654" y="486463"/>
                  </a:moveTo>
                  <a:cubicBezTo>
                    <a:pt x="3479654" y="486463"/>
                    <a:pt x="3231730" y="27788"/>
                    <a:pt x="2700449" y="958"/>
                  </a:cubicBezTo>
                  <a:cubicBezTo>
                    <a:pt x="2169168" y="-25873"/>
                    <a:pt x="1980128" y="518209"/>
                    <a:pt x="1593034" y="728141"/>
                  </a:cubicBezTo>
                  <a:cubicBezTo>
                    <a:pt x="1390373" y="838124"/>
                    <a:pt x="980648" y="653897"/>
                    <a:pt x="764469" y="716978"/>
                  </a:cubicBezTo>
                  <a:cubicBezTo>
                    <a:pt x="73333" y="918513"/>
                    <a:pt x="-173362" y="1841188"/>
                    <a:pt x="124024" y="2328742"/>
                  </a:cubicBezTo>
                  <a:cubicBezTo>
                    <a:pt x="381370" y="2751268"/>
                    <a:pt x="825298" y="2945122"/>
                    <a:pt x="1496465" y="2942459"/>
                  </a:cubicBezTo>
                  <a:cubicBezTo>
                    <a:pt x="2167632" y="2939797"/>
                    <a:pt x="2638699" y="2962633"/>
                    <a:pt x="3231935" y="2478152"/>
                  </a:cubicBezTo>
                  <a:cubicBezTo>
                    <a:pt x="3825069" y="1993670"/>
                    <a:pt x="3770179" y="1092603"/>
                    <a:pt x="3479859" y="486463"/>
                  </a:cubicBezTo>
                  <a:close/>
                </a:path>
              </a:pathLst>
            </a:custGeom>
            <a:solidFill>
              <a:srgbClr val="92E3A9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7" name="Полилиния: фигура 1286">
              <a:extLst>
                <a:ext uri="{FF2B5EF4-FFF2-40B4-BE49-F238E27FC236}">
                  <a16:creationId xmlns:a16="http://schemas.microsoft.com/office/drawing/2014/main" id="{17F08261-3E96-4191-8BB4-76A45DBC4C19}"/>
                </a:ext>
              </a:extLst>
            </p:cNvPr>
            <p:cNvSpPr/>
            <p:nvPr/>
          </p:nvSpPr>
          <p:spPr>
            <a:xfrm>
              <a:off x="965691" y="903792"/>
              <a:ext cx="3691216" cy="2942486"/>
            </a:xfrm>
            <a:custGeom>
              <a:avLst/>
              <a:gdLst>
                <a:gd name="connsiteX0" fmla="*/ 3479654 w 3691216"/>
                <a:gd name="connsiteY0" fmla="*/ 486463 h 2942486"/>
                <a:gd name="connsiteX1" fmla="*/ 2700449 w 3691216"/>
                <a:gd name="connsiteY1" fmla="*/ 958 h 2942486"/>
                <a:gd name="connsiteX2" fmla="*/ 1593034 w 3691216"/>
                <a:gd name="connsiteY2" fmla="*/ 728141 h 2942486"/>
                <a:gd name="connsiteX3" fmla="*/ 764469 w 3691216"/>
                <a:gd name="connsiteY3" fmla="*/ 716978 h 2942486"/>
                <a:gd name="connsiteX4" fmla="*/ 124024 w 3691216"/>
                <a:gd name="connsiteY4" fmla="*/ 2328742 h 2942486"/>
                <a:gd name="connsiteX5" fmla="*/ 1496465 w 3691216"/>
                <a:gd name="connsiteY5" fmla="*/ 2942459 h 2942486"/>
                <a:gd name="connsiteX6" fmla="*/ 3231935 w 3691216"/>
                <a:gd name="connsiteY6" fmla="*/ 2478152 h 2942486"/>
                <a:gd name="connsiteX7" fmla="*/ 3479859 w 3691216"/>
                <a:gd name="connsiteY7" fmla="*/ 486463 h 294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1216" h="2942486">
                  <a:moveTo>
                    <a:pt x="3479654" y="486463"/>
                  </a:moveTo>
                  <a:cubicBezTo>
                    <a:pt x="3479654" y="486463"/>
                    <a:pt x="3231730" y="27788"/>
                    <a:pt x="2700449" y="958"/>
                  </a:cubicBezTo>
                  <a:cubicBezTo>
                    <a:pt x="2169168" y="-25873"/>
                    <a:pt x="1980128" y="518209"/>
                    <a:pt x="1593034" y="728141"/>
                  </a:cubicBezTo>
                  <a:cubicBezTo>
                    <a:pt x="1390373" y="838124"/>
                    <a:pt x="980648" y="653897"/>
                    <a:pt x="764469" y="716978"/>
                  </a:cubicBezTo>
                  <a:cubicBezTo>
                    <a:pt x="73333" y="918513"/>
                    <a:pt x="-173362" y="1841188"/>
                    <a:pt x="124024" y="2328742"/>
                  </a:cubicBezTo>
                  <a:cubicBezTo>
                    <a:pt x="381370" y="2751268"/>
                    <a:pt x="825298" y="2945122"/>
                    <a:pt x="1496465" y="2942459"/>
                  </a:cubicBezTo>
                  <a:cubicBezTo>
                    <a:pt x="2167632" y="2939797"/>
                    <a:pt x="2638699" y="2962633"/>
                    <a:pt x="3231935" y="2478152"/>
                  </a:cubicBezTo>
                  <a:cubicBezTo>
                    <a:pt x="3825069" y="1993670"/>
                    <a:pt x="3770179" y="1092603"/>
                    <a:pt x="3479859" y="486463"/>
                  </a:cubicBez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288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2135687" y="1338950"/>
            <a:ext cx="1428047" cy="1218218"/>
            <a:chOff x="2135687" y="1338950"/>
            <a:chExt cx="1428047" cy="1218218"/>
          </a:xfrm>
        </p:grpSpPr>
        <p:grpSp>
          <p:nvGrpSpPr>
            <p:cNvPr id="1289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2779819" y="1470132"/>
              <a:ext cx="289910" cy="259700"/>
              <a:chOff x="2779819" y="1470132"/>
              <a:chExt cx="289910" cy="259700"/>
            </a:xfrm>
          </p:grpSpPr>
          <p:grpSp>
            <p:nvGrpSpPr>
              <p:cNvPr id="1290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2779819" y="1470132"/>
                <a:ext cx="289910" cy="259700"/>
                <a:chOff x="2779819" y="1470132"/>
                <a:chExt cx="289910" cy="259700"/>
              </a:xfrm>
              <a:solidFill>
                <a:srgbClr val="92E3A9"/>
              </a:solidFill>
            </p:grpSpPr>
            <p:sp>
              <p:nvSpPr>
                <p:cNvPr id="1291" name="Полилиния: фигура 1290">
                  <a:extLst>
                    <a:ext uri="{FF2B5EF4-FFF2-40B4-BE49-F238E27FC236}">
                      <a16:creationId xmlns:a16="http://schemas.microsoft.com/office/drawing/2014/main" id="{BAA2DA95-1C8F-4418-9976-DDCA65D11A3A}"/>
                    </a:ext>
                  </a:extLst>
                </p:cNvPr>
                <p:cNvSpPr/>
                <p:nvPr/>
              </p:nvSpPr>
              <p:spPr>
                <a:xfrm>
                  <a:off x="2779819" y="1470132"/>
                  <a:ext cx="289910" cy="66768"/>
                </a:xfrm>
                <a:custGeom>
                  <a:avLst/>
                  <a:gdLst>
                    <a:gd name="connsiteX0" fmla="*/ 0 w 289910"/>
                    <a:gd name="connsiteY0" fmla="*/ 0 h 66768"/>
                    <a:gd name="connsiteX1" fmla="*/ 289911 w 289910"/>
                    <a:gd name="connsiteY1" fmla="*/ 0 h 66768"/>
                    <a:gd name="connsiteX2" fmla="*/ 289911 w 289910"/>
                    <a:gd name="connsiteY2" fmla="*/ 66769 h 66768"/>
                    <a:gd name="connsiteX3" fmla="*/ 0 w 289910"/>
                    <a:gd name="connsiteY3" fmla="*/ 66769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9910" h="66768">
                      <a:moveTo>
                        <a:pt x="0" y="0"/>
                      </a:moveTo>
                      <a:lnTo>
                        <a:pt x="289911" y="0"/>
                      </a:lnTo>
                      <a:lnTo>
                        <a:pt x="289911" y="66769"/>
                      </a:lnTo>
                      <a:lnTo>
                        <a:pt x="0" y="66769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292" name="Полилиния: фигура 1291">
                  <a:extLst>
                    <a:ext uri="{FF2B5EF4-FFF2-40B4-BE49-F238E27FC236}">
                      <a16:creationId xmlns:a16="http://schemas.microsoft.com/office/drawing/2014/main" id="{75F7E860-693C-4182-8E76-91E83DD4A604}"/>
                    </a:ext>
                  </a:extLst>
                </p:cNvPr>
                <p:cNvSpPr/>
                <p:nvPr/>
              </p:nvSpPr>
              <p:spPr>
                <a:xfrm>
                  <a:off x="2779819" y="1566598"/>
                  <a:ext cx="190474" cy="66768"/>
                </a:xfrm>
                <a:custGeom>
                  <a:avLst/>
                  <a:gdLst>
                    <a:gd name="connsiteX0" fmla="*/ 0 w 190474"/>
                    <a:gd name="connsiteY0" fmla="*/ 0 h 66768"/>
                    <a:gd name="connsiteX1" fmla="*/ 190475 w 190474"/>
                    <a:gd name="connsiteY1" fmla="*/ 0 h 66768"/>
                    <a:gd name="connsiteX2" fmla="*/ 190475 w 190474"/>
                    <a:gd name="connsiteY2" fmla="*/ 66768 h 66768"/>
                    <a:gd name="connsiteX3" fmla="*/ 0 w 190474"/>
                    <a:gd name="connsiteY3" fmla="*/ 66768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474" h="66768">
                      <a:moveTo>
                        <a:pt x="0" y="0"/>
                      </a:moveTo>
                      <a:lnTo>
                        <a:pt x="190475" y="0"/>
                      </a:lnTo>
                      <a:lnTo>
                        <a:pt x="190475" y="66768"/>
                      </a:lnTo>
                      <a:lnTo>
                        <a:pt x="0" y="66768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293" name="Полилиния: фигура 1292">
                  <a:extLst>
                    <a:ext uri="{FF2B5EF4-FFF2-40B4-BE49-F238E27FC236}">
                      <a16:creationId xmlns:a16="http://schemas.microsoft.com/office/drawing/2014/main" id="{A917987F-3E20-4D74-B2F6-453216171D19}"/>
                    </a:ext>
                  </a:extLst>
                </p:cNvPr>
                <p:cNvSpPr/>
                <p:nvPr/>
              </p:nvSpPr>
              <p:spPr>
                <a:xfrm>
                  <a:off x="2779819" y="1663064"/>
                  <a:ext cx="109676" cy="66768"/>
                </a:xfrm>
                <a:custGeom>
                  <a:avLst/>
                  <a:gdLst>
                    <a:gd name="connsiteX0" fmla="*/ 0 w 109676"/>
                    <a:gd name="connsiteY0" fmla="*/ 0 h 66768"/>
                    <a:gd name="connsiteX1" fmla="*/ 109677 w 109676"/>
                    <a:gd name="connsiteY1" fmla="*/ 0 h 66768"/>
                    <a:gd name="connsiteX2" fmla="*/ 109677 w 109676"/>
                    <a:gd name="connsiteY2" fmla="*/ 66768 h 66768"/>
                    <a:gd name="connsiteX3" fmla="*/ 0 w 109676"/>
                    <a:gd name="connsiteY3" fmla="*/ 66768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676" h="66768">
                      <a:moveTo>
                        <a:pt x="0" y="0"/>
                      </a:moveTo>
                      <a:lnTo>
                        <a:pt x="109677" y="0"/>
                      </a:lnTo>
                      <a:lnTo>
                        <a:pt x="109677" y="66768"/>
                      </a:lnTo>
                      <a:lnTo>
                        <a:pt x="0" y="66768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294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2779819" y="1470132"/>
                <a:ext cx="289910" cy="259700"/>
                <a:chOff x="2779819" y="1470132"/>
                <a:chExt cx="289910" cy="259700"/>
              </a:xfrm>
              <a:solidFill>
                <a:srgbClr val="006D39"/>
              </a:solidFill>
            </p:grpSpPr>
            <p:sp>
              <p:nvSpPr>
                <p:cNvPr id="1295" name="Полилиния: фигура 1294">
                  <a:extLst>
                    <a:ext uri="{FF2B5EF4-FFF2-40B4-BE49-F238E27FC236}">
                      <a16:creationId xmlns:a16="http://schemas.microsoft.com/office/drawing/2014/main" id="{89D14360-723D-4503-846D-9EA9A52A173B}"/>
                    </a:ext>
                  </a:extLst>
                </p:cNvPr>
                <p:cNvSpPr/>
                <p:nvPr/>
              </p:nvSpPr>
              <p:spPr>
                <a:xfrm>
                  <a:off x="2779819" y="1470132"/>
                  <a:ext cx="289910" cy="66768"/>
                </a:xfrm>
                <a:custGeom>
                  <a:avLst/>
                  <a:gdLst>
                    <a:gd name="connsiteX0" fmla="*/ 0 w 289910"/>
                    <a:gd name="connsiteY0" fmla="*/ 0 h 66768"/>
                    <a:gd name="connsiteX1" fmla="*/ 289911 w 289910"/>
                    <a:gd name="connsiteY1" fmla="*/ 0 h 66768"/>
                    <a:gd name="connsiteX2" fmla="*/ 289911 w 289910"/>
                    <a:gd name="connsiteY2" fmla="*/ 66769 h 66768"/>
                    <a:gd name="connsiteX3" fmla="*/ 0 w 289910"/>
                    <a:gd name="connsiteY3" fmla="*/ 66769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9910" h="66768">
                      <a:moveTo>
                        <a:pt x="0" y="0"/>
                      </a:moveTo>
                      <a:lnTo>
                        <a:pt x="289911" y="0"/>
                      </a:lnTo>
                      <a:lnTo>
                        <a:pt x="289911" y="66769"/>
                      </a:lnTo>
                      <a:lnTo>
                        <a:pt x="0" y="66769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296" name="Полилиния: фигура 1295">
                  <a:extLst>
                    <a:ext uri="{FF2B5EF4-FFF2-40B4-BE49-F238E27FC236}">
                      <a16:creationId xmlns:a16="http://schemas.microsoft.com/office/drawing/2014/main" id="{5C727CC0-F9CE-4C3B-A7FD-CE8E30DBA7F8}"/>
                    </a:ext>
                  </a:extLst>
                </p:cNvPr>
                <p:cNvSpPr/>
                <p:nvPr/>
              </p:nvSpPr>
              <p:spPr>
                <a:xfrm>
                  <a:off x="2779819" y="1566598"/>
                  <a:ext cx="190474" cy="66768"/>
                </a:xfrm>
                <a:custGeom>
                  <a:avLst/>
                  <a:gdLst>
                    <a:gd name="connsiteX0" fmla="*/ 0 w 190474"/>
                    <a:gd name="connsiteY0" fmla="*/ 0 h 66768"/>
                    <a:gd name="connsiteX1" fmla="*/ 190475 w 190474"/>
                    <a:gd name="connsiteY1" fmla="*/ 0 h 66768"/>
                    <a:gd name="connsiteX2" fmla="*/ 190475 w 190474"/>
                    <a:gd name="connsiteY2" fmla="*/ 66768 h 66768"/>
                    <a:gd name="connsiteX3" fmla="*/ 0 w 190474"/>
                    <a:gd name="connsiteY3" fmla="*/ 66768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474" h="66768">
                      <a:moveTo>
                        <a:pt x="0" y="0"/>
                      </a:moveTo>
                      <a:lnTo>
                        <a:pt x="190475" y="0"/>
                      </a:lnTo>
                      <a:lnTo>
                        <a:pt x="190475" y="66768"/>
                      </a:lnTo>
                      <a:lnTo>
                        <a:pt x="0" y="66768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297" name="Полилиния: фигура 1296">
                  <a:extLst>
                    <a:ext uri="{FF2B5EF4-FFF2-40B4-BE49-F238E27FC236}">
                      <a16:creationId xmlns:a16="http://schemas.microsoft.com/office/drawing/2014/main" id="{3A224292-367D-4968-A004-5184F4909E91}"/>
                    </a:ext>
                  </a:extLst>
                </p:cNvPr>
                <p:cNvSpPr/>
                <p:nvPr/>
              </p:nvSpPr>
              <p:spPr>
                <a:xfrm>
                  <a:off x="2779819" y="1663064"/>
                  <a:ext cx="109676" cy="66768"/>
                </a:xfrm>
                <a:custGeom>
                  <a:avLst/>
                  <a:gdLst>
                    <a:gd name="connsiteX0" fmla="*/ 0 w 109676"/>
                    <a:gd name="connsiteY0" fmla="*/ 0 h 66768"/>
                    <a:gd name="connsiteX1" fmla="*/ 109677 w 109676"/>
                    <a:gd name="connsiteY1" fmla="*/ 0 h 66768"/>
                    <a:gd name="connsiteX2" fmla="*/ 109677 w 109676"/>
                    <a:gd name="connsiteY2" fmla="*/ 66768 h 66768"/>
                    <a:gd name="connsiteX3" fmla="*/ 0 w 109676"/>
                    <a:gd name="connsiteY3" fmla="*/ 66768 h 66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9676" h="66768">
                      <a:moveTo>
                        <a:pt x="0" y="0"/>
                      </a:moveTo>
                      <a:lnTo>
                        <a:pt x="109677" y="0"/>
                      </a:lnTo>
                      <a:lnTo>
                        <a:pt x="109677" y="66768"/>
                      </a:lnTo>
                      <a:lnTo>
                        <a:pt x="0" y="66768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1298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2276393" y="2209501"/>
              <a:ext cx="382485" cy="201022"/>
              <a:chOff x="2276393" y="2209501"/>
              <a:chExt cx="382485" cy="201022"/>
            </a:xfrm>
          </p:grpSpPr>
          <p:grpSp>
            <p:nvGrpSpPr>
              <p:cNvPr id="1299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2276393" y="2209501"/>
                <a:ext cx="382485" cy="201022"/>
                <a:chOff x="2276393" y="2209501"/>
                <a:chExt cx="382485" cy="201022"/>
              </a:xfrm>
              <a:solidFill>
                <a:srgbClr val="92E3A9"/>
              </a:solidFill>
            </p:grpSpPr>
            <p:sp>
              <p:nvSpPr>
                <p:cNvPr id="1300" name="Полилиния: фигура 1299">
                  <a:extLst>
                    <a:ext uri="{FF2B5EF4-FFF2-40B4-BE49-F238E27FC236}">
                      <a16:creationId xmlns:a16="http://schemas.microsoft.com/office/drawing/2014/main" id="{10FAF9F7-A6C2-44E5-B347-74A274A5CB19}"/>
                    </a:ext>
                  </a:extLst>
                </p:cNvPr>
                <p:cNvSpPr/>
                <p:nvPr/>
              </p:nvSpPr>
              <p:spPr>
                <a:xfrm rot="-5400000">
                  <a:off x="2225036" y="2260858"/>
                  <a:ext cx="201022" cy="98309"/>
                </a:xfrm>
                <a:custGeom>
                  <a:avLst/>
                  <a:gdLst>
                    <a:gd name="connsiteX0" fmla="*/ 0 w 201022"/>
                    <a:gd name="connsiteY0" fmla="*/ 0 h 98309"/>
                    <a:gd name="connsiteX1" fmla="*/ 201022 w 201022"/>
                    <a:gd name="connsiteY1" fmla="*/ 0 h 98309"/>
                    <a:gd name="connsiteX2" fmla="*/ 201022 w 201022"/>
                    <a:gd name="connsiteY2" fmla="*/ 98309 h 98309"/>
                    <a:gd name="connsiteX3" fmla="*/ 0 w 201022"/>
                    <a:gd name="connsiteY3" fmla="*/ 98309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1022" h="98309">
                      <a:moveTo>
                        <a:pt x="0" y="0"/>
                      </a:moveTo>
                      <a:lnTo>
                        <a:pt x="201022" y="0"/>
                      </a:lnTo>
                      <a:lnTo>
                        <a:pt x="201022" y="98309"/>
                      </a:lnTo>
                      <a:lnTo>
                        <a:pt x="0" y="98309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01" name="Полилиния: фигура 1300">
                  <a:extLst>
                    <a:ext uri="{FF2B5EF4-FFF2-40B4-BE49-F238E27FC236}">
                      <a16:creationId xmlns:a16="http://schemas.microsoft.com/office/drawing/2014/main" id="{CDCDB65A-F9C4-454C-9FFE-EA6DABA5FDA5}"/>
                    </a:ext>
                  </a:extLst>
                </p:cNvPr>
                <p:cNvSpPr/>
                <p:nvPr/>
              </p:nvSpPr>
              <p:spPr>
                <a:xfrm rot="-5400000">
                  <a:off x="2401584" y="2295368"/>
                  <a:ext cx="132000" cy="98309"/>
                </a:xfrm>
                <a:custGeom>
                  <a:avLst/>
                  <a:gdLst>
                    <a:gd name="connsiteX0" fmla="*/ 0 w 132000"/>
                    <a:gd name="connsiteY0" fmla="*/ 0 h 98309"/>
                    <a:gd name="connsiteX1" fmla="*/ 132001 w 132000"/>
                    <a:gd name="connsiteY1" fmla="*/ 0 h 98309"/>
                    <a:gd name="connsiteX2" fmla="*/ 132001 w 132000"/>
                    <a:gd name="connsiteY2" fmla="*/ 98310 h 98309"/>
                    <a:gd name="connsiteX3" fmla="*/ 0 w 132000"/>
                    <a:gd name="connsiteY3" fmla="*/ 98310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2000" h="98309">
                      <a:moveTo>
                        <a:pt x="0" y="0"/>
                      </a:moveTo>
                      <a:lnTo>
                        <a:pt x="132001" y="0"/>
                      </a:lnTo>
                      <a:lnTo>
                        <a:pt x="132001" y="98310"/>
                      </a:lnTo>
                      <a:lnTo>
                        <a:pt x="0" y="98310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02" name="Полилиния: фигура 1301">
                  <a:extLst>
                    <a:ext uri="{FF2B5EF4-FFF2-40B4-BE49-F238E27FC236}">
                      <a16:creationId xmlns:a16="http://schemas.microsoft.com/office/drawing/2014/main" id="{49560A63-31BF-4719-9FD4-CDE329C0E2C7}"/>
                    </a:ext>
                  </a:extLst>
                </p:cNvPr>
                <p:cNvSpPr/>
                <p:nvPr/>
              </p:nvSpPr>
              <p:spPr>
                <a:xfrm rot="-5400000">
                  <a:off x="2571731" y="2323376"/>
                  <a:ext cx="75985" cy="98309"/>
                </a:xfrm>
                <a:custGeom>
                  <a:avLst/>
                  <a:gdLst>
                    <a:gd name="connsiteX0" fmla="*/ 0 w 75985"/>
                    <a:gd name="connsiteY0" fmla="*/ 0 h 98309"/>
                    <a:gd name="connsiteX1" fmla="*/ 75985 w 75985"/>
                    <a:gd name="connsiteY1" fmla="*/ 0 h 98309"/>
                    <a:gd name="connsiteX2" fmla="*/ 75985 w 75985"/>
                    <a:gd name="connsiteY2" fmla="*/ 98309 h 98309"/>
                    <a:gd name="connsiteX3" fmla="*/ 0 w 75985"/>
                    <a:gd name="connsiteY3" fmla="*/ 98309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985" h="98309">
                      <a:moveTo>
                        <a:pt x="0" y="0"/>
                      </a:moveTo>
                      <a:lnTo>
                        <a:pt x="75985" y="0"/>
                      </a:lnTo>
                      <a:lnTo>
                        <a:pt x="75985" y="98309"/>
                      </a:lnTo>
                      <a:lnTo>
                        <a:pt x="0" y="98309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303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2276393" y="2209501"/>
                <a:ext cx="382485" cy="201022"/>
                <a:chOff x="2276393" y="2209501"/>
                <a:chExt cx="382485" cy="201022"/>
              </a:xfrm>
              <a:solidFill>
                <a:srgbClr val="006D39"/>
              </a:solidFill>
            </p:grpSpPr>
            <p:sp>
              <p:nvSpPr>
                <p:cNvPr id="1304" name="Полилиния: фигура 1303">
                  <a:extLst>
                    <a:ext uri="{FF2B5EF4-FFF2-40B4-BE49-F238E27FC236}">
                      <a16:creationId xmlns:a16="http://schemas.microsoft.com/office/drawing/2014/main" id="{157EEFF6-92B1-4FD8-BFF9-CA74119D7FBC}"/>
                    </a:ext>
                  </a:extLst>
                </p:cNvPr>
                <p:cNvSpPr/>
                <p:nvPr/>
              </p:nvSpPr>
              <p:spPr>
                <a:xfrm rot="-5400000">
                  <a:off x="2225036" y="2260858"/>
                  <a:ext cx="201022" cy="98309"/>
                </a:xfrm>
                <a:custGeom>
                  <a:avLst/>
                  <a:gdLst>
                    <a:gd name="connsiteX0" fmla="*/ 0 w 201022"/>
                    <a:gd name="connsiteY0" fmla="*/ 0 h 98309"/>
                    <a:gd name="connsiteX1" fmla="*/ 201022 w 201022"/>
                    <a:gd name="connsiteY1" fmla="*/ 0 h 98309"/>
                    <a:gd name="connsiteX2" fmla="*/ 201022 w 201022"/>
                    <a:gd name="connsiteY2" fmla="*/ 98309 h 98309"/>
                    <a:gd name="connsiteX3" fmla="*/ 0 w 201022"/>
                    <a:gd name="connsiteY3" fmla="*/ 98309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1022" h="98309">
                      <a:moveTo>
                        <a:pt x="0" y="0"/>
                      </a:moveTo>
                      <a:lnTo>
                        <a:pt x="201022" y="0"/>
                      </a:lnTo>
                      <a:lnTo>
                        <a:pt x="201022" y="98309"/>
                      </a:lnTo>
                      <a:lnTo>
                        <a:pt x="0" y="98309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05" name="Полилиния: фигура 1304">
                  <a:extLst>
                    <a:ext uri="{FF2B5EF4-FFF2-40B4-BE49-F238E27FC236}">
                      <a16:creationId xmlns:a16="http://schemas.microsoft.com/office/drawing/2014/main" id="{76383AE4-10C3-4EED-9C69-777B012F742A}"/>
                    </a:ext>
                  </a:extLst>
                </p:cNvPr>
                <p:cNvSpPr/>
                <p:nvPr/>
              </p:nvSpPr>
              <p:spPr>
                <a:xfrm rot="-5400000">
                  <a:off x="2401584" y="2295368"/>
                  <a:ext cx="132000" cy="98309"/>
                </a:xfrm>
                <a:custGeom>
                  <a:avLst/>
                  <a:gdLst>
                    <a:gd name="connsiteX0" fmla="*/ 0 w 132000"/>
                    <a:gd name="connsiteY0" fmla="*/ 0 h 98309"/>
                    <a:gd name="connsiteX1" fmla="*/ 132001 w 132000"/>
                    <a:gd name="connsiteY1" fmla="*/ 0 h 98309"/>
                    <a:gd name="connsiteX2" fmla="*/ 132001 w 132000"/>
                    <a:gd name="connsiteY2" fmla="*/ 98310 h 98309"/>
                    <a:gd name="connsiteX3" fmla="*/ 0 w 132000"/>
                    <a:gd name="connsiteY3" fmla="*/ 98310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2000" h="98309">
                      <a:moveTo>
                        <a:pt x="0" y="0"/>
                      </a:moveTo>
                      <a:lnTo>
                        <a:pt x="132001" y="0"/>
                      </a:lnTo>
                      <a:lnTo>
                        <a:pt x="132001" y="98310"/>
                      </a:lnTo>
                      <a:lnTo>
                        <a:pt x="0" y="98310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306" name="Полилиния: фигура 1305">
                  <a:extLst>
                    <a:ext uri="{FF2B5EF4-FFF2-40B4-BE49-F238E27FC236}">
                      <a16:creationId xmlns:a16="http://schemas.microsoft.com/office/drawing/2014/main" id="{AB84DAF2-2354-417C-8AEC-C08FE34096DA}"/>
                    </a:ext>
                  </a:extLst>
                </p:cNvPr>
                <p:cNvSpPr/>
                <p:nvPr/>
              </p:nvSpPr>
              <p:spPr>
                <a:xfrm rot="-5400000">
                  <a:off x="2571731" y="2323376"/>
                  <a:ext cx="75985" cy="98309"/>
                </a:xfrm>
                <a:custGeom>
                  <a:avLst/>
                  <a:gdLst>
                    <a:gd name="connsiteX0" fmla="*/ 0 w 75985"/>
                    <a:gd name="connsiteY0" fmla="*/ 0 h 98309"/>
                    <a:gd name="connsiteX1" fmla="*/ 75985 w 75985"/>
                    <a:gd name="connsiteY1" fmla="*/ 0 h 98309"/>
                    <a:gd name="connsiteX2" fmla="*/ 75985 w 75985"/>
                    <a:gd name="connsiteY2" fmla="*/ 98309 h 98309"/>
                    <a:gd name="connsiteX3" fmla="*/ 0 w 75985"/>
                    <a:gd name="connsiteY3" fmla="*/ 98309 h 983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985" h="98309">
                      <a:moveTo>
                        <a:pt x="0" y="0"/>
                      </a:moveTo>
                      <a:lnTo>
                        <a:pt x="75985" y="0"/>
                      </a:lnTo>
                      <a:lnTo>
                        <a:pt x="75985" y="98309"/>
                      </a:lnTo>
                      <a:lnTo>
                        <a:pt x="0" y="98309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1307" name="Полилиния: фигура 1306">
              <a:extLst>
                <a:ext uri="{FF2B5EF4-FFF2-40B4-BE49-F238E27FC236}">
                  <a16:creationId xmlns:a16="http://schemas.microsoft.com/office/drawing/2014/main" id="{515FAEB1-BEE3-4049-8DFA-BB0375BA6B5F}"/>
                </a:ext>
              </a:extLst>
            </p:cNvPr>
            <p:cNvSpPr/>
            <p:nvPr/>
          </p:nvSpPr>
          <p:spPr>
            <a:xfrm>
              <a:off x="2135687" y="1338950"/>
              <a:ext cx="1428047" cy="1218218"/>
            </a:xfrm>
            <a:custGeom>
              <a:avLst/>
              <a:gdLst>
                <a:gd name="connsiteX0" fmla="*/ 118791 w 1428047"/>
                <a:gd name="connsiteY0" fmla="*/ 1218218 h 1218218"/>
                <a:gd name="connsiteX1" fmla="*/ 1309257 w 1428047"/>
                <a:gd name="connsiteY1" fmla="*/ 1218218 h 1218218"/>
                <a:gd name="connsiteX2" fmla="*/ 1428048 w 1428047"/>
                <a:gd name="connsiteY2" fmla="*/ 1099632 h 1218218"/>
                <a:gd name="connsiteX3" fmla="*/ 1428048 w 1428047"/>
                <a:gd name="connsiteY3" fmla="*/ 118586 h 1218218"/>
                <a:gd name="connsiteX4" fmla="*/ 1309257 w 1428047"/>
                <a:gd name="connsiteY4" fmla="*/ 0 h 1218218"/>
                <a:gd name="connsiteX5" fmla="*/ 118791 w 1428047"/>
                <a:gd name="connsiteY5" fmla="*/ 0 h 1218218"/>
                <a:gd name="connsiteX6" fmla="*/ 0 w 1428047"/>
                <a:gd name="connsiteY6" fmla="*/ 118586 h 1218218"/>
                <a:gd name="connsiteX7" fmla="*/ 0 w 1428047"/>
                <a:gd name="connsiteY7" fmla="*/ 1099632 h 1218218"/>
                <a:gd name="connsiteX8" fmla="*/ 118791 w 1428047"/>
                <a:gd name="connsiteY8" fmla="*/ 1218218 h 121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8047" h="1218218">
                  <a:moveTo>
                    <a:pt x="118791" y="1218218"/>
                  </a:moveTo>
                  <a:lnTo>
                    <a:pt x="1309257" y="1218218"/>
                  </a:lnTo>
                  <a:cubicBezTo>
                    <a:pt x="1374899" y="1218218"/>
                    <a:pt x="1428048" y="1165172"/>
                    <a:pt x="1428048" y="1099632"/>
                  </a:cubicBezTo>
                  <a:lnTo>
                    <a:pt x="1428048" y="118586"/>
                  </a:lnTo>
                  <a:cubicBezTo>
                    <a:pt x="1428048" y="53149"/>
                    <a:pt x="1374899" y="0"/>
                    <a:pt x="1309257" y="0"/>
                  </a:cubicBezTo>
                  <a:lnTo>
                    <a:pt x="118791" y="0"/>
                  </a:lnTo>
                  <a:cubicBezTo>
                    <a:pt x="53149" y="0"/>
                    <a:pt x="0" y="53046"/>
                    <a:pt x="0" y="118586"/>
                  </a:cubicBezTo>
                  <a:lnTo>
                    <a:pt x="0" y="1099632"/>
                  </a:lnTo>
                  <a:cubicBezTo>
                    <a:pt x="0" y="1165070"/>
                    <a:pt x="53149" y="1218218"/>
                    <a:pt x="118791" y="1218218"/>
                  </a:cubicBezTo>
                  <a:close/>
                </a:path>
              </a:pathLst>
            </a:custGeom>
            <a:noFill/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308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3005112" y="2220356"/>
              <a:ext cx="424471" cy="181565"/>
              <a:chOff x="3005112" y="2220356"/>
              <a:chExt cx="424471" cy="181565"/>
            </a:xfrm>
          </p:grpSpPr>
          <p:sp>
            <p:nvSpPr>
              <p:cNvPr id="1309" name="Полилиния: фигура 1308">
                <a:extLst>
                  <a:ext uri="{FF2B5EF4-FFF2-40B4-BE49-F238E27FC236}">
                    <a16:creationId xmlns:a16="http://schemas.microsoft.com/office/drawing/2014/main" id="{9F39C69F-E68E-4979-AF2F-8EDDECC5B7D6}"/>
                  </a:ext>
                </a:extLst>
              </p:cNvPr>
              <p:cNvSpPr/>
              <p:nvPr/>
            </p:nvSpPr>
            <p:spPr>
              <a:xfrm>
                <a:off x="3005112" y="2220356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10" name="Полилиния: фигура 1309">
                <a:extLst>
                  <a:ext uri="{FF2B5EF4-FFF2-40B4-BE49-F238E27FC236}">
                    <a16:creationId xmlns:a16="http://schemas.microsoft.com/office/drawing/2014/main" id="{37C25737-9149-4D16-93A2-2F1C39F7A4C1}"/>
                  </a:ext>
                </a:extLst>
              </p:cNvPr>
              <p:cNvSpPr/>
              <p:nvPr/>
            </p:nvSpPr>
            <p:spPr>
              <a:xfrm>
                <a:off x="3005112" y="2265824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11" name="Полилиния: фигура 1310">
                <a:extLst>
                  <a:ext uri="{FF2B5EF4-FFF2-40B4-BE49-F238E27FC236}">
                    <a16:creationId xmlns:a16="http://schemas.microsoft.com/office/drawing/2014/main" id="{30B9584E-6D3F-4FD2-A241-9F09F9C92BA7}"/>
                  </a:ext>
                </a:extLst>
              </p:cNvPr>
              <p:cNvSpPr/>
              <p:nvPr/>
            </p:nvSpPr>
            <p:spPr>
              <a:xfrm>
                <a:off x="3005112" y="2311190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4" name="Полилиния: фигура 383">
                <a:extLst>
                  <a:ext uri="{FF2B5EF4-FFF2-40B4-BE49-F238E27FC236}">
                    <a16:creationId xmlns:a16="http://schemas.microsoft.com/office/drawing/2014/main" id="{DB2BFD26-C54C-4C32-B09D-648DFFF89547}"/>
                  </a:ext>
                </a:extLst>
              </p:cNvPr>
              <p:cNvSpPr/>
              <p:nvPr/>
            </p:nvSpPr>
            <p:spPr>
              <a:xfrm>
                <a:off x="3005112" y="2356556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5" name="Полилиния: фигура 384">
                <a:extLst>
                  <a:ext uri="{FF2B5EF4-FFF2-40B4-BE49-F238E27FC236}">
                    <a16:creationId xmlns:a16="http://schemas.microsoft.com/office/drawing/2014/main" id="{3138F3C8-FC77-4427-AFAB-D1B57C862A9F}"/>
                  </a:ext>
                </a:extLst>
              </p:cNvPr>
              <p:cNvSpPr/>
              <p:nvPr/>
            </p:nvSpPr>
            <p:spPr>
              <a:xfrm>
                <a:off x="3005112" y="2401921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87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2263489" y="1480065"/>
              <a:ext cx="424471" cy="181565"/>
              <a:chOff x="2263489" y="1480065"/>
              <a:chExt cx="424471" cy="181565"/>
            </a:xfrm>
          </p:grpSpPr>
          <p:sp>
            <p:nvSpPr>
              <p:cNvPr id="388" name="Полилиния: фигура 387">
                <a:extLst>
                  <a:ext uri="{FF2B5EF4-FFF2-40B4-BE49-F238E27FC236}">
                    <a16:creationId xmlns:a16="http://schemas.microsoft.com/office/drawing/2014/main" id="{F2D039D8-41E1-4B3C-87FF-69F6A98B2D16}"/>
                  </a:ext>
                </a:extLst>
              </p:cNvPr>
              <p:cNvSpPr/>
              <p:nvPr/>
            </p:nvSpPr>
            <p:spPr>
              <a:xfrm>
                <a:off x="2263489" y="1480065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9" name="Полилиния: фигура 388">
                <a:extLst>
                  <a:ext uri="{FF2B5EF4-FFF2-40B4-BE49-F238E27FC236}">
                    <a16:creationId xmlns:a16="http://schemas.microsoft.com/office/drawing/2014/main" id="{8999E16C-7589-44B6-8699-62985F338656}"/>
                  </a:ext>
                </a:extLst>
              </p:cNvPr>
              <p:cNvSpPr/>
              <p:nvPr/>
            </p:nvSpPr>
            <p:spPr>
              <a:xfrm>
                <a:off x="2263489" y="1525431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0" name="Полилиния: фигура 389">
                <a:extLst>
                  <a:ext uri="{FF2B5EF4-FFF2-40B4-BE49-F238E27FC236}">
                    <a16:creationId xmlns:a16="http://schemas.microsoft.com/office/drawing/2014/main" id="{3081D26E-32E0-471E-9C48-CD28131A1E3D}"/>
                  </a:ext>
                </a:extLst>
              </p:cNvPr>
              <p:cNvSpPr/>
              <p:nvPr/>
            </p:nvSpPr>
            <p:spPr>
              <a:xfrm>
                <a:off x="2263489" y="1570899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1" name="Полилиния: фигура 390">
                <a:extLst>
                  <a:ext uri="{FF2B5EF4-FFF2-40B4-BE49-F238E27FC236}">
                    <a16:creationId xmlns:a16="http://schemas.microsoft.com/office/drawing/2014/main" id="{BC3A7DFA-2B33-4838-B428-C95EF9A2D5D7}"/>
                  </a:ext>
                </a:extLst>
              </p:cNvPr>
              <p:cNvSpPr/>
              <p:nvPr/>
            </p:nvSpPr>
            <p:spPr>
              <a:xfrm>
                <a:off x="2263489" y="1616265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2" name="Полилиния: фигура 391">
                <a:extLst>
                  <a:ext uri="{FF2B5EF4-FFF2-40B4-BE49-F238E27FC236}">
                    <a16:creationId xmlns:a16="http://schemas.microsoft.com/office/drawing/2014/main" id="{54AEDFBD-2481-45CE-90B8-D630DC73C91B}"/>
                  </a:ext>
                </a:extLst>
              </p:cNvPr>
              <p:cNvSpPr/>
              <p:nvPr/>
            </p:nvSpPr>
            <p:spPr>
              <a:xfrm>
                <a:off x="2263489" y="1661631"/>
                <a:ext cx="424471" cy="10240"/>
              </a:xfrm>
              <a:custGeom>
                <a:avLst/>
                <a:gdLst>
                  <a:gd name="connsiteX0" fmla="*/ 0 w 424471"/>
                  <a:gd name="connsiteY0" fmla="*/ 0 h 10240"/>
                  <a:gd name="connsiteX1" fmla="*/ 424472 w 424471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4471" h="10240">
                    <a:moveTo>
                      <a:pt x="0" y="0"/>
                    </a:moveTo>
                    <a:lnTo>
                      <a:pt x="424472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93" name="Полилиния: фигура 392">
              <a:extLst>
                <a:ext uri="{FF2B5EF4-FFF2-40B4-BE49-F238E27FC236}">
                  <a16:creationId xmlns:a16="http://schemas.microsoft.com/office/drawing/2014/main" id="{67BC107F-C7B5-486B-B130-5BE9A466A9A9}"/>
                </a:ext>
              </a:extLst>
            </p:cNvPr>
            <p:cNvSpPr/>
            <p:nvPr/>
          </p:nvSpPr>
          <p:spPr>
            <a:xfrm>
              <a:off x="2291958" y="1651185"/>
              <a:ext cx="1165479" cy="508956"/>
            </a:xfrm>
            <a:custGeom>
              <a:avLst/>
              <a:gdLst>
                <a:gd name="connsiteX0" fmla="*/ 1084476 w 1165479"/>
                <a:gd name="connsiteY0" fmla="*/ 185764 h 508956"/>
                <a:gd name="connsiteX1" fmla="*/ 1165479 w 1165479"/>
                <a:gd name="connsiteY1" fmla="*/ 228160 h 508956"/>
                <a:gd name="connsiteX2" fmla="*/ 1156263 w 1165479"/>
                <a:gd name="connsiteY2" fmla="*/ 0 h 508956"/>
                <a:gd name="connsiteX3" fmla="*/ 962921 w 1165479"/>
                <a:gd name="connsiteY3" fmla="*/ 121965 h 508956"/>
                <a:gd name="connsiteX4" fmla="*/ 1043821 w 1165479"/>
                <a:gd name="connsiteY4" fmla="*/ 164361 h 508956"/>
                <a:gd name="connsiteX5" fmla="*/ 982890 w 1165479"/>
                <a:gd name="connsiteY5" fmla="*/ 280182 h 508956"/>
                <a:gd name="connsiteX6" fmla="*/ 982890 w 1165479"/>
                <a:gd name="connsiteY6" fmla="*/ 280182 h 508956"/>
                <a:gd name="connsiteX7" fmla="*/ 953090 w 1165479"/>
                <a:gd name="connsiteY7" fmla="*/ 290423 h 508956"/>
                <a:gd name="connsiteX8" fmla="*/ 845974 w 1165479"/>
                <a:gd name="connsiteY8" fmla="*/ 240653 h 508956"/>
                <a:gd name="connsiteX9" fmla="*/ 845974 w 1165479"/>
                <a:gd name="connsiteY9" fmla="*/ 240141 h 508956"/>
                <a:gd name="connsiteX10" fmla="*/ 796614 w 1165479"/>
                <a:gd name="connsiteY10" fmla="*/ 190884 h 508956"/>
                <a:gd name="connsiteX11" fmla="*/ 747254 w 1165479"/>
                <a:gd name="connsiteY11" fmla="*/ 240141 h 508956"/>
                <a:gd name="connsiteX12" fmla="*/ 751760 w 1165479"/>
                <a:gd name="connsiteY12" fmla="*/ 260520 h 508956"/>
                <a:gd name="connsiteX13" fmla="*/ 611362 w 1165479"/>
                <a:gd name="connsiteY13" fmla="*/ 412695 h 508956"/>
                <a:gd name="connsiteX14" fmla="*/ 597537 w 1165479"/>
                <a:gd name="connsiteY14" fmla="*/ 410544 h 508956"/>
                <a:gd name="connsiteX15" fmla="*/ 590369 w 1165479"/>
                <a:gd name="connsiteY15" fmla="*/ 411261 h 508956"/>
                <a:gd name="connsiteX16" fmla="*/ 388630 w 1165479"/>
                <a:gd name="connsiteY16" fmla="*/ 156066 h 508956"/>
                <a:gd name="connsiteX17" fmla="*/ 392931 w 1165479"/>
                <a:gd name="connsiteY17" fmla="*/ 136097 h 508956"/>
                <a:gd name="connsiteX18" fmla="*/ 343571 w 1165479"/>
                <a:gd name="connsiteY18" fmla="*/ 86840 h 508956"/>
                <a:gd name="connsiteX19" fmla="*/ 294212 w 1165479"/>
                <a:gd name="connsiteY19" fmla="*/ 136097 h 508956"/>
                <a:gd name="connsiteX20" fmla="*/ 296772 w 1165479"/>
                <a:gd name="connsiteY20" fmla="*/ 151048 h 508956"/>
                <a:gd name="connsiteX21" fmla="*/ 66257 w 1165479"/>
                <a:gd name="connsiteY21" fmla="*/ 385762 h 508956"/>
                <a:gd name="connsiteX22" fmla="*/ 49360 w 1165479"/>
                <a:gd name="connsiteY22" fmla="*/ 382588 h 508956"/>
                <a:gd name="connsiteX23" fmla="*/ 0 w 1165479"/>
                <a:gd name="connsiteY23" fmla="*/ 431845 h 508956"/>
                <a:gd name="connsiteX24" fmla="*/ 49360 w 1165479"/>
                <a:gd name="connsiteY24" fmla="*/ 481102 h 508956"/>
                <a:gd name="connsiteX25" fmla="*/ 98719 w 1165479"/>
                <a:gd name="connsiteY25" fmla="*/ 431845 h 508956"/>
                <a:gd name="connsiteX26" fmla="*/ 97081 w 1165479"/>
                <a:gd name="connsiteY26" fmla="*/ 419761 h 508956"/>
                <a:gd name="connsiteX27" fmla="*/ 329542 w 1165479"/>
                <a:gd name="connsiteY27" fmla="*/ 182999 h 508956"/>
                <a:gd name="connsiteX28" fmla="*/ 343571 w 1165479"/>
                <a:gd name="connsiteY28" fmla="*/ 185252 h 508956"/>
                <a:gd name="connsiteX29" fmla="*/ 352583 w 1165479"/>
                <a:gd name="connsiteY29" fmla="*/ 184330 h 508956"/>
                <a:gd name="connsiteX30" fmla="*/ 553298 w 1165479"/>
                <a:gd name="connsiteY30" fmla="*/ 438194 h 508956"/>
                <a:gd name="connsiteX31" fmla="*/ 548178 w 1165479"/>
                <a:gd name="connsiteY31" fmla="*/ 459699 h 508956"/>
                <a:gd name="connsiteX32" fmla="*/ 597537 w 1165479"/>
                <a:gd name="connsiteY32" fmla="*/ 508956 h 508956"/>
                <a:gd name="connsiteX33" fmla="*/ 646897 w 1165479"/>
                <a:gd name="connsiteY33" fmla="*/ 459699 h 508956"/>
                <a:gd name="connsiteX34" fmla="*/ 644234 w 1165479"/>
                <a:gd name="connsiteY34" fmla="*/ 444543 h 508956"/>
                <a:gd name="connsiteX35" fmla="*/ 788217 w 1165479"/>
                <a:gd name="connsiteY35" fmla="*/ 288477 h 508956"/>
                <a:gd name="connsiteX36" fmla="*/ 796512 w 1165479"/>
                <a:gd name="connsiteY36" fmla="*/ 289296 h 508956"/>
                <a:gd name="connsiteX37" fmla="*/ 823957 w 1165479"/>
                <a:gd name="connsiteY37" fmla="*/ 280899 h 508956"/>
                <a:gd name="connsiteX38" fmla="*/ 933530 w 1165479"/>
                <a:gd name="connsiteY38" fmla="*/ 331794 h 508956"/>
                <a:gd name="connsiteX39" fmla="*/ 982685 w 1165479"/>
                <a:gd name="connsiteY39" fmla="*/ 378594 h 508956"/>
                <a:gd name="connsiteX40" fmla="*/ 1032045 w 1165479"/>
                <a:gd name="connsiteY40" fmla="*/ 329337 h 508956"/>
                <a:gd name="connsiteX41" fmla="*/ 1023238 w 1165479"/>
                <a:gd name="connsiteY41" fmla="*/ 301380 h 508956"/>
                <a:gd name="connsiteX42" fmla="*/ 1084169 w 1165479"/>
                <a:gd name="connsiteY42" fmla="*/ 185559 h 50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165479" h="508956">
                  <a:moveTo>
                    <a:pt x="1084476" y="185764"/>
                  </a:moveTo>
                  <a:lnTo>
                    <a:pt x="1165479" y="228160"/>
                  </a:lnTo>
                  <a:lnTo>
                    <a:pt x="1156263" y="0"/>
                  </a:lnTo>
                  <a:lnTo>
                    <a:pt x="962921" y="121965"/>
                  </a:lnTo>
                  <a:lnTo>
                    <a:pt x="1043821" y="164361"/>
                  </a:lnTo>
                  <a:lnTo>
                    <a:pt x="982890" y="280182"/>
                  </a:lnTo>
                  <a:lnTo>
                    <a:pt x="982890" y="280182"/>
                  </a:lnTo>
                  <a:cubicBezTo>
                    <a:pt x="971625" y="280182"/>
                    <a:pt x="961385" y="284073"/>
                    <a:pt x="953090" y="290423"/>
                  </a:cubicBezTo>
                  <a:lnTo>
                    <a:pt x="845974" y="240653"/>
                  </a:lnTo>
                  <a:cubicBezTo>
                    <a:pt x="845974" y="240653"/>
                    <a:pt x="845974" y="240244"/>
                    <a:pt x="845974" y="240141"/>
                  </a:cubicBezTo>
                  <a:cubicBezTo>
                    <a:pt x="845974" y="212901"/>
                    <a:pt x="823854" y="190884"/>
                    <a:pt x="796614" y="190884"/>
                  </a:cubicBezTo>
                  <a:cubicBezTo>
                    <a:pt x="769374" y="190884"/>
                    <a:pt x="747254" y="212901"/>
                    <a:pt x="747254" y="240141"/>
                  </a:cubicBezTo>
                  <a:cubicBezTo>
                    <a:pt x="747254" y="247412"/>
                    <a:pt x="748893" y="254273"/>
                    <a:pt x="751760" y="260520"/>
                  </a:cubicBezTo>
                  <a:lnTo>
                    <a:pt x="611362" y="412695"/>
                  </a:lnTo>
                  <a:cubicBezTo>
                    <a:pt x="606959" y="411364"/>
                    <a:pt x="602350" y="410544"/>
                    <a:pt x="597537" y="410544"/>
                  </a:cubicBezTo>
                  <a:cubicBezTo>
                    <a:pt x="595080" y="410544"/>
                    <a:pt x="592724" y="410954"/>
                    <a:pt x="590369" y="411261"/>
                  </a:cubicBezTo>
                  <a:lnTo>
                    <a:pt x="388630" y="156066"/>
                  </a:lnTo>
                  <a:cubicBezTo>
                    <a:pt x="391395" y="149922"/>
                    <a:pt x="392931" y="143163"/>
                    <a:pt x="392931" y="136097"/>
                  </a:cubicBezTo>
                  <a:cubicBezTo>
                    <a:pt x="392931" y="108857"/>
                    <a:pt x="370811" y="86840"/>
                    <a:pt x="343571" y="86840"/>
                  </a:cubicBezTo>
                  <a:cubicBezTo>
                    <a:pt x="316331" y="86840"/>
                    <a:pt x="294212" y="108857"/>
                    <a:pt x="294212" y="136097"/>
                  </a:cubicBezTo>
                  <a:cubicBezTo>
                    <a:pt x="294212" y="141320"/>
                    <a:pt x="295236" y="146338"/>
                    <a:pt x="296772" y="151048"/>
                  </a:cubicBezTo>
                  <a:lnTo>
                    <a:pt x="66257" y="385762"/>
                  </a:lnTo>
                  <a:cubicBezTo>
                    <a:pt x="60932" y="383817"/>
                    <a:pt x="55299" y="382588"/>
                    <a:pt x="49360" y="382588"/>
                  </a:cubicBezTo>
                  <a:cubicBezTo>
                    <a:pt x="22120" y="382588"/>
                    <a:pt x="0" y="404605"/>
                    <a:pt x="0" y="431845"/>
                  </a:cubicBezTo>
                  <a:cubicBezTo>
                    <a:pt x="0" y="459085"/>
                    <a:pt x="22120" y="481102"/>
                    <a:pt x="49360" y="481102"/>
                  </a:cubicBezTo>
                  <a:cubicBezTo>
                    <a:pt x="76600" y="481102"/>
                    <a:pt x="98719" y="459085"/>
                    <a:pt x="98719" y="431845"/>
                  </a:cubicBezTo>
                  <a:cubicBezTo>
                    <a:pt x="98719" y="427646"/>
                    <a:pt x="98002" y="423652"/>
                    <a:pt x="97081" y="419761"/>
                  </a:cubicBezTo>
                  <a:lnTo>
                    <a:pt x="329542" y="182999"/>
                  </a:lnTo>
                  <a:cubicBezTo>
                    <a:pt x="334048" y="184330"/>
                    <a:pt x="338656" y="185252"/>
                    <a:pt x="343571" y="185252"/>
                  </a:cubicBezTo>
                  <a:cubicBezTo>
                    <a:pt x="346643" y="185252"/>
                    <a:pt x="349613" y="184842"/>
                    <a:pt x="352583" y="184330"/>
                  </a:cubicBezTo>
                  <a:lnTo>
                    <a:pt x="553298" y="438194"/>
                  </a:lnTo>
                  <a:cubicBezTo>
                    <a:pt x="550123" y="444748"/>
                    <a:pt x="548178" y="451916"/>
                    <a:pt x="548178" y="459699"/>
                  </a:cubicBezTo>
                  <a:cubicBezTo>
                    <a:pt x="548178" y="486939"/>
                    <a:pt x="570297" y="508956"/>
                    <a:pt x="597537" y="508956"/>
                  </a:cubicBezTo>
                  <a:cubicBezTo>
                    <a:pt x="624777" y="508956"/>
                    <a:pt x="646897" y="486939"/>
                    <a:pt x="646897" y="459699"/>
                  </a:cubicBezTo>
                  <a:cubicBezTo>
                    <a:pt x="646897" y="454374"/>
                    <a:pt x="645873" y="449356"/>
                    <a:pt x="644234" y="444543"/>
                  </a:cubicBezTo>
                  <a:lnTo>
                    <a:pt x="788217" y="288477"/>
                  </a:lnTo>
                  <a:cubicBezTo>
                    <a:pt x="790982" y="288989"/>
                    <a:pt x="793644" y="289296"/>
                    <a:pt x="796512" y="289296"/>
                  </a:cubicBezTo>
                  <a:cubicBezTo>
                    <a:pt x="806650" y="289296"/>
                    <a:pt x="816174" y="286224"/>
                    <a:pt x="823957" y="280899"/>
                  </a:cubicBezTo>
                  <a:lnTo>
                    <a:pt x="933530" y="331794"/>
                  </a:lnTo>
                  <a:cubicBezTo>
                    <a:pt x="934862" y="357805"/>
                    <a:pt x="956265" y="378594"/>
                    <a:pt x="982685" y="378594"/>
                  </a:cubicBezTo>
                  <a:cubicBezTo>
                    <a:pt x="1009106" y="378594"/>
                    <a:pt x="1032045" y="356577"/>
                    <a:pt x="1032045" y="329337"/>
                  </a:cubicBezTo>
                  <a:cubicBezTo>
                    <a:pt x="1032045" y="318994"/>
                    <a:pt x="1028768" y="309368"/>
                    <a:pt x="1023238" y="301380"/>
                  </a:cubicBezTo>
                  <a:lnTo>
                    <a:pt x="1084169" y="185559"/>
                  </a:lnTo>
                  <a:close/>
                </a:path>
              </a:pathLst>
            </a:custGeom>
            <a:solidFill>
              <a:srgbClr val="263238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94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660635" y="1338950"/>
            <a:ext cx="1428047" cy="1218218"/>
            <a:chOff x="660635" y="1338950"/>
            <a:chExt cx="1428047" cy="1218218"/>
          </a:xfrm>
        </p:grpSpPr>
        <p:grpSp>
          <p:nvGrpSpPr>
            <p:cNvPr id="395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728735" y="1489589"/>
              <a:ext cx="1255186" cy="925952"/>
              <a:chOff x="728735" y="1489589"/>
              <a:chExt cx="1255186" cy="925952"/>
            </a:xfrm>
          </p:grpSpPr>
          <p:sp>
            <p:nvSpPr>
              <p:cNvPr id="396" name="Полилиния: фигура 395">
                <a:extLst>
                  <a:ext uri="{FF2B5EF4-FFF2-40B4-BE49-F238E27FC236}">
                    <a16:creationId xmlns:a16="http://schemas.microsoft.com/office/drawing/2014/main" id="{754A83C5-FDF8-4A06-85C2-EC9E3C37A8F9}"/>
                  </a:ext>
                </a:extLst>
              </p:cNvPr>
              <p:cNvSpPr/>
              <p:nvPr/>
            </p:nvSpPr>
            <p:spPr>
              <a:xfrm>
                <a:off x="728735" y="1595477"/>
                <a:ext cx="1255186" cy="639830"/>
              </a:xfrm>
              <a:custGeom>
                <a:avLst/>
                <a:gdLst>
                  <a:gd name="connsiteX0" fmla="*/ 1134860 w 1255186"/>
                  <a:gd name="connsiteY0" fmla="*/ 465536 h 639830"/>
                  <a:gd name="connsiteX1" fmla="*/ 996408 w 1255186"/>
                  <a:gd name="connsiteY1" fmla="*/ 249153 h 639830"/>
                  <a:gd name="connsiteX2" fmla="*/ 767633 w 1255186"/>
                  <a:gd name="connsiteY2" fmla="*/ 417406 h 639830"/>
                  <a:gd name="connsiteX3" fmla="*/ 556575 w 1255186"/>
                  <a:gd name="connsiteY3" fmla="*/ 0 h 639830"/>
                  <a:gd name="connsiteX4" fmla="*/ 0 w 1255186"/>
                  <a:gd name="connsiteY4" fmla="*/ 353914 h 639830"/>
                  <a:gd name="connsiteX5" fmla="*/ 0 w 1255186"/>
                  <a:gd name="connsiteY5" fmla="*/ 639831 h 639830"/>
                  <a:gd name="connsiteX6" fmla="*/ 1255187 w 1255186"/>
                  <a:gd name="connsiteY6" fmla="*/ 639831 h 639830"/>
                  <a:gd name="connsiteX7" fmla="*/ 1255187 w 1255186"/>
                  <a:gd name="connsiteY7" fmla="*/ 399382 h 639830"/>
                  <a:gd name="connsiteX8" fmla="*/ 1134860 w 1255186"/>
                  <a:gd name="connsiteY8" fmla="*/ 465536 h 639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5186" h="639830">
                    <a:moveTo>
                      <a:pt x="1134860" y="465536"/>
                    </a:moveTo>
                    <a:lnTo>
                      <a:pt x="996408" y="249153"/>
                    </a:lnTo>
                    <a:lnTo>
                      <a:pt x="767633" y="417406"/>
                    </a:lnTo>
                    <a:lnTo>
                      <a:pt x="556575" y="0"/>
                    </a:lnTo>
                    <a:lnTo>
                      <a:pt x="0" y="353914"/>
                    </a:lnTo>
                    <a:lnTo>
                      <a:pt x="0" y="639831"/>
                    </a:lnTo>
                    <a:lnTo>
                      <a:pt x="1255187" y="639831"/>
                    </a:lnTo>
                    <a:lnTo>
                      <a:pt x="1255187" y="399382"/>
                    </a:lnTo>
                    <a:lnTo>
                      <a:pt x="1134860" y="465536"/>
                    </a:lnTo>
                    <a:close/>
                  </a:path>
                </a:pathLst>
              </a:custGeom>
              <a:solidFill>
                <a:srgbClr val="263238"/>
              </a:solidFill>
              <a:ln w="1186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397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728735" y="1814625"/>
                <a:ext cx="1255186" cy="600916"/>
                <a:chOff x="728735" y="1814625"/>
                <a:chExt cx="1255186" cy="600916"/>
              </a:xfrm>
            </p:grpSpPr>
            <p:sp>
              <p:nvSpPr>
                <p:cNvPr id="398" name="Полилиния: фигура 397">
                  <a:extLst>
                    <a:ext uri="{FF2B5EF4-FFF2-40B4-BE49-F238E27FC236}">
                      <a16:creationId xmlns:a16="http://schemas.microsoft.com/office/drawing/2014/main" id="{EE2C771B-F13A-4D14-A013-8EF992C61863}"/>
                    </a:ext>
                  </a:extLst>
                </p:cNvPr>
                <p:cNvSpPr/>
                <p:nvPr/>
              </p:nvSpPr>
              <p:spPr>
                <a:xfrm>
                  <a:off x="728735" y="1814625"/>
                  <a:ext cx="1255186" cy="600916"/>
                </a:xfrm>
                <a:custGeom>
                  <a:avLst/>
                  <a:gdLst>
                    <a:gd name="connsiteX0" fmla="*/ 1158925 w 1255186"/>
                    <a:gd name="connsiteY0" fmla="*/ 408599 h 600916"/>
                    <a:gd name="connsiteX1" fmla="*/ 1008389 w 1255186"/>
                    <a:gd name="connsiteY1" fmla="*/ 180234 h 600916"/>
                    <a:gd name="connsiteX2" fmla="*/ 755549 w 1255186"/>
                    <a:gd name="connsiteY2" fmla="*/ 282435 h 600916"/>
                    <a:gd name="connsiteX3" fmla="*/ 460621 w 1255186"/>
                    <a:gd name="connsiteY3" fmla="*/ 0 h 600916"/>
                    <a:gd name="connsiteX4" fmla="*/ 0 w 1255186"/>
                    <a:gd name="connsiteY4" fmla="*/ 186071 h 600916"/>
                    <a:gd name="connsiteX5" fmla="*/ 0 w 1255186"/>
                    <a:gd name="connsiteY5" fmla="*/ 600917 h 600916"/>
                    <a:gd name="connsiteX6" fmla="*/ 1255187 w 1255186"/>
                    <a:gd name="connsiteY6" fmla="*/ 600917 h 600916"/>
                    <a:gd name="connsiteX7" fmla="*/ 1255187 w 1255186"/>
                    <a:gd name="connsiteY7" fmla="*/ 342547 h 600916"/>
                    <a:gd name="connsiteX8" fmla="*/ 1158925 w 1255186"/>
                    <a:gd name="connsiteY8" fmla="*/ 408599 h 600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5186" h="600916">
                      <a:moveTo>
                        <a:pt x="1158925" y="408599"/>
                      </a:moveTo>
                      <a:lnTo>
                        <a:pt x="1008389" y="180234"/>
                      </a:lnTo>
                      <a:lnTo>
                        <a:pt x="755549" y="282435"/>
                      </a:lnTo>
                      <a:lnTo>
                        <a:pt x="460621" y="0"/>
                      </a:lnTo>
                      <a:lnTo>
                        <a:pt x="0" y="186071"/>
                      </a:lnTo>
                      <a:lnTo>
                        <a:pt x="0" y="600917"/>
                      </a:lnTo>
                      <a:lnTo>
                        <a:pt x="1255187" y="600917"/>
                      </a:lnTo>
                      <a:lnTo>
                        <a:pt x="1255187" y="342547"/>
                      </a:lnTo>
                      <a:lnTo>
                        <a:pt x="1158925" y="408599"/>
                      </a:lnTo>
                      <a:close/>
                    </a:path>
                  </a:pathLst>
                </a:custGeom>
                <a:solidFill>
                  <a:srgbClr val="92E3A9"/>
                </a:solidFill>
                <a:ln w="9001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399" name="Полилиния: фигура 398">
                  <a:extLst>
                    <a:ext uri="{FF2B5EF4-FFF2-40B4-BE49-F238E27FC236}">
                      <a16:creationId xmlns:a16="http://schemas.microsoft.com/office/drawing/2014/main" id="{3FB78A1F-290D-4D81-B088-BCE0352A3913}"/>
                    </a:ext>
                  </a:extLst>
                </p:cNvPr>
                <p:cNvSpPr/>
                <p:nvPr/>
              </p:nvSpPr>
              <p:spPr>
                <a:xfrm>
                  <a:off x="728735" y="1814625"/>
                  <a:ext cx="1255186" cy="600916"/>
                </a:xfrm>
                <a:custGeom>
                  <a:avLst/>
                  <a:gdLst>
                    <a:gd name="connsiteX0" fmla="*/ 1158925 w 1255186"/>
                    <a:gd name="connsiteY0" fmla="*/ 408599 h 600916"/>
                    <a:gd name="connsiteX1" fmla="*/ 1008389 w 1255186"/>
                    <a:gd name="connsiteY1" fmla="*/ 180234 h 600916"/>
                    <a:gd name="connsiteX2" fmla="*/ 755549 w 1255186"/>
                    <a:gd name="connsiteY2" fmla="*/ 282435 h 600916"/>
                    <a:gd name="connsiteX3" fmla="*/ 460621 w 1255186"/>
                    <a:gd name="connsiteY3" fmla="*/ 0 h 600916"/>
                    <a:gd name="connsiteX4" fmla="*/ 0 w 1255186"/>
                    <a:gd name="connsiteY4" fmla="*/ 186071 h 600916"/>
                    <a:gd name="connsiteX5" fmla="*/ 0 w 1255186"/>
                    <a:gd name="connsiteY5" fmla="*/ 600917 h 600916"/>
                    <a:gd name="connsiteX6" fmla="*/ 1255187 w 1255186"/>
                    <a:gd name="connsiteY6" fmla="*/ 600917 h 600916"/>
                    <a:gd name="connsiteX7" fmla="*/ 1255187 w 1255186"/>
                    <a:gd name="connsiteY7" fmla="*/ 342547 h 600916"/>
                    <a:gd name="connsiteX8" fmla="*/ 1158925 w 1255186"/>
                    <a:gd name="connsiteY8" fmla="*/ 408599 h 600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55186" h="600916">
                      <a:moveTo>
                        <a:pt x="1158925" y="408599"/>
                      </a:moveTo>
                      <a:lnTo>
                        <a:pt x="1008389" y="180234"/>
                      </a:lnTo>
                      <a:lnTo>
                        <a:pt x="755549" y="282435"/>
                      </a:lnTo>
                      <a:lnTo>
                        <a:pt x="460621" y="0"/>
                      </a:lnTo>
                      <a:lnTo>
                        <a:pt x="0" y="186071"/>
                      </a:lnTo>
                      <a:lnTo>
                        <a:pt x="0" y="600917"/>
                      </a:lnTo>
                      <a:lnTo>
                        <a:pt x="1255187" y="600917"/>
                      </a:lnTo>
                      <a:lnTo>
                        <a:pt x="1255187" y="342547"/>
                      </a:lnTo>
                      <a:lnTo>
                        <a:pt x="1158925" y="408599"/>
                      </a:ln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400" name="Полилиния: фигура 399">
                <a:extLst>
                  <a:ext uri="{FF2B5EF4-FFF2-40B4-BE49-F238E27FC236}">
                    <a16:creationId xmlns:a16="http://schemas.microsoft.com/office/drawing/2014/main" id="{5B3451CD-1AAD-470C-857D-F9A56442A82A}"/>
                  </a:ext>
                </a:extLst>
              </p:cNvPr>
              <p:cNvSpPr/>
              <p:nvPr/>
            </p:nvSpPr>
            <p:spPr>
              <a:xfrm>
                <a:off x="728735" y="1814625"/>
                <a:ext cx="1255186" cy="600916"/>
              </a:xfrm>
              <a:custGeom>
                <a:avLst/>
                <a:gdLst>
                  <a:gd name="connsiteX0" fmla="*/ 1158925 w 1255186"/>
                  <a:gd name="connsiteY0" fmla="*/ 408599 h 600916"/>
                  <a:gd name="connsiteX1" fmla="*/ 1008389 w 1255186"/>
                  <a:gd name="connsiteY1" fmla="*/ 180234 h 600916"/>
                  <a:gd name="connsiteX2" fmla="*/ 755549 w 1255186"/>
                  <a:gd name="connsiteY2" fmla="*/ 282435 h 600916"/>
                  <a:gd name="connsiteX3" fmla="*/ 460621 w 1255186"/>
                  <a:gd name="connsiteY3" fmla="*/ 0 h 600916"/>
                  <a:gd name="connsiteX4" fmla="*/ 0 w 1255186"/>
                  <a:gd name="connsiteY4" fmla="*/ 186071 h 600916"/>
                  <a:gd name="connsiteX5" fmla="*/ 0 w 1255186"/>
                  <a:gd name="connsiteY5" fmla="*/ 600917 h 600916"/>
                  <a:gd name="connsiteX6" fmla="*/ 1255187 w 1255186"/>
                  <a:gd name="connsiteY6" fmla="*/ 600917 h 600916"/>
                  <a:gd name="connsiteX7" fmla="*/ 1255187 w 1255186"/>
                  <a:gd name="connsiteY7" fmla="*/ 342547 h 600916"/>
                  <a:gd name="connsiteX8" fmla="*/ 1158925 w 1255186"/>
                  <a:gd name="connsiteY8" fmla="*/ 408599 h 600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55186" h="600916">
                    <a:moveTo>
                      <a:pt x="1158925" y="408599"/>
                    </a:moveTo>
                    <a:lnTo>
                      <a:pt x="1008389" y="180234"/>
                    </a:lnTo>
                    <a:lnTo>
                      <a:pt x="755549" y="282435"/>
                    </a:lnTo>
                    <a:lnTo>
                      <a:pt x="460621" y="0"/>
                    </a:lnTo>
                    <a:lnTo>
                      <a:pt x="0" y="186071"/>
                    </a:lnTo>
                    <a:lnTo>
                      <a:pt x="0" y="600917"/>
                    </a:lnTo>
                    <a:lnTo>
                      <a:pt x="1255187" y="600917"/>
                    </a:lnTo>
                    <a:lnTo>
                      <a:pt x="1255187" y="342547"/>
                    </a:lnTo>
                    <a:lnTo>
                      <a:pt x="1158925" y="408599"/>
                    </a:lnTo>
                    <a:close/>
                  </a:path>
                </a:pathLst>
              </a:custGeom>
              <a:noFill/>
              <a:ln w="9001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401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1293195" y="1489589"/>
                <a:ext cx="176240" cy="89502"/>
                <a:chOff x="1293195" y="1489589"/>
                <a:chExt cx="176240" cy="89502"/>
              </a:xfrm>
            </p:grpSpPr>
            <p:sp>
              <p:nvSpPr>
                <p:cNvPr id="402" name="Полилиния: фигура 401">
                  <a:extLst>
                    <a:ext uri="{FF2B5EF4-FFF2-40B4-BE49-F238E27FC236}">
                      <a16:creationId xmlns:a16="http://schemas.microsoft.com/office/drawing/2014/main" id="{70578600-407B-470B-BF5C-A6B7E0398D57}"/>
                    </a:ext>
                  </a:extLst>
                </p:cNvPr>
                <p:cNvSpPr/>
                <p:nvPr/>
              </p:nvSpPr>
              <p:spPr>
                <a:xfrm>
                  <a:off x="1293195" y="1489589"/>
                  <a:ext cx="176240" cy="89502"/>
                </a:xfrm>
                <a:custGeom>
                  <a:avLst/>
                  <a:gdLst>
                    <a:gd name="connsiteX0" fmla="*/ 148795 w 176240"/>
                    <a:gd name="connsiteY0" fmla="*/ 0 h 89502"/>
                    <a:gd name="connsiteX1" fmla="*/ 47619 w 176240"/>
                    <a:gd name="connsiteY1" fmla="*/ 0 h 89502"/>
                    <a:gd name="connsiteX2" fmla="*/ 20174 w 176240"/>
                    <a:gd name="connsiteY2" fmla="*/ 27445 h 89502"/>
                    <a:gd name="connsiteX3" fmla="*/ 35330 w 176240"/>
                    <a:gd name="connsiteY3" fmla="*/ 51817 h 89502"/>
                    <a:gd name="connsiteX4" fmla="*/ 0 w 176240"/>
                    <a:gd name="connsiteY4" fmla="*/ 89503 h 89502"/>
                    <a:gd name="connsiteX5" fmla="*/ 64413 w 176240"/>
                    <a:gd name="connsiteY5" fmla="*/ 54889 h 89502"/>
                    <a:gd name="connsiteX6" fmla="*/ 148795 w 176240"/>
                    <a:gd name="connsiteY6" fmla="*/ 54889 h 89502"/>
                    <a:gd name="connsiteX7" fmla="*/ 176240 w 176240"/>
                    <a:gd name="connsiteY7" fmla="*/ 27445 h 89502"/>
                    <a:gd name="connsiteX8" fmla="*/ 148795 w 176240"/>
                    <a:gd name="connsiteY8" fmla="*/ 0 h 8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6240" h="89502">
                      <a:moveTo>
                        <a:pt x="148795" y="0"/>
                      </a:moveTo>
                      <a:lnTo>
                        <a:pt x="47619" y="0"/>
                      </a:lnTo>
                      <a:cubicBezTo>
                        <a:pt x="32463" y="0"/>
                        <a:pt x="20174" y="12289"/>
                        <a:pt x="20174" y="27445"/>
                      </a:cubicBezTo>
                      <a:cubicBezTo>
                        <a:pt x="20174" y="38095"/>
                        <a:pt x="26318" y="47311"/>
                        <a:pt x="35330" y="51817"/>
                      </a:cubicBezTo>
                      <a:lnTo>
                        <a:pt x="0" y="89503"/>
                      </a:lnTo>
                      <a:lnTo>
                        <a:pt x="64413" y="54889"/>
                      </a:lnTo>
                      <a:lnTo>
                        <a:pt x="148795" y="54889"/>
                      </a:lnTo>
                      <a:cubicBezTo>
                        <a:pt x="163952" y="54889"/>
                        <a:pt x="176240" y="42601"/>
                        <a:pt x="176240" y="27445"/>
                      </a:cubicBezTo>
                      <a:cubicBezTo>
                        <a:pt x="176240" y="12289"/>
                        <a:pt x="163952" y="0"/>
                        <a:pt x="148795" y="0"/>
                      </a:cubicBez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3" name="Полилиния: фигура 402">
                  <a:extLst>
                    <a:ext uri="{FF2B5EF4-FFF2-40B4-BE49-F238E27FC236}">
                      <a16:creationId xmlns:a16="http://schemas.microsoft.com/office/drawing/2014/main" id="{6E329A71-5F8C-48B0-B17B-DEE4707CACA4}"/>
                    </a:ext>
                  </a:extLst>
                </p:cNvPr>
                <p:cNvSpPr/>
                <p:nvPr/>
              </p:nvSpPr>
              <p:spPr>
                <a:xfrm>
                  <a:off x="1293195" y="1489589"/>
                  <a:ext cx="176240" cy="89502"/>
                </a:xfrm>
                <a:custGeom>
                  <a:avLst/>
                  <a:gdLst>
                    <a:gd name="connsiteX0" fmla="*/ 148795 w 176240"/>
                    <a:gd name="connsiteY0" fmla="*/ 0 h 89502"/>
                    <a:gd name="connsiteX1" fmla="*/ 47619 w 176240"/>
                    <a:gd name="connsiteY1" fmla="*/ 0 h 89502"/>
                    <a:gd name="connsiteX2" fmla="*/ 20174 w 176240"/>
                    <a:gd name="connsiteY2" fmla="*/ 27445 h 89502"/>
                    <a:gd name="connsiteX3" fmla="*/ 35330 w 176240"/>
                    <a:gd name="connsiteY3" fmla="*/ 51817 h 89502"/>
                    <a:gd name="connsiteX4" fmla="*/ 0 w 176240"/>
                    <a:gd name="connsiteY4" fmla="*/ 89503 h 89502"/>
                    <a:gd name="connsiteX5" fmla="*/ 64413 w 176240"/>
                    <a:gd name="connsiteY5" fmla="*/ 54889 h 89502"/>
                    <a:gd name="connsiteX6" fmla="*/ 148795 w 176240"/>
                    <a:gd name="connsiteY6" fmla="*/ 54889 h 89502"/>
                    <a:gd name="connsiteX7" fmla="*/ 176240 w 176240"/>
                    <a:gd name="connsiteY7" fmla="*/ 27445 h 89502"/>
                    <a:gd name="connsiteX8" fmla="*/ 148795 w 176240"/>
                    <a:gd name="connsiteY8" fmla="*/ 0 h 8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6240" h="89502">
                      <a:moveTo>
                        <a:pt x="148795" y="0"/>
                      </a:moveTo>
                      <a:lnTo>
                        <a:pt x="47619" y="0"/>
                      </a:lnTo>
                      <a:cubicBezTo>
                        <a:pt x="32463" y="0"/>
                        <a:pt x="20174" y="12289"/>
                        <a:pt x="20174" y="27445"/>
                      </a:cubicBezTo>
                      <a:cubicBezTo>
                        <a:pt x="20174" y="38095"/>
                        <a:pt x="26318" y="47311"/>
                        <a:pt x="35330" y="51817"/>
                      </a:cubicBezTo>
                      <a:lnTo>
                        <a:pt x="0" y="89503"/>
                      </a:lnTo>
                      <a:lnTo>
                        <a:pt x="64413" y="54889"/>
                      </a:lnTo>
                      <a:lnTo>
                        <a:pt x="148795" y="54889"/>
                      </a:lnTo>
                      <a:cubicBezTo>
                        <a:pt x="163952" y="54889"/>
                        <a:pt x="176240" y="42601"/>
                        <a:pt x="176240" y="27445"/>
                      </a:cubicBezTo>
                      <a:cubicBezTo>
                        <a:pt x="176240" y="12289"/>
                        <a:pt x="163952" y="0"/>
                        <a:pt x="148795" y="0"/>
                      </a:cubicBez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404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1735895" y="1733929"/>
                <a:ext cx="176240" cy="89502"/>
                <a:chOff x="1735895" y="1733929"/>
                <a:chExt cx="176240" cy="89502"/>
              </a:xfrm>
            </p:grpSpPr>
            <p:sp>
              <p:nvSpPr>
                <p:cNvPr id="405" name="Полилиния: фигура 404">
                  <a:extLst>
                    <a:ext uri="{FF2B5EF4-FFF2-40B4-BE49-F238E27FC236}">
                      <a16:creationId xmlns:a16="http://schemas.microsoft.com/office/drawing/2014/main" id="{275B3129-F7B6-4825-AB45-F5277B42F88F}"/>
                    </a:ext>
                  </a:extLst>
                </p:cNvPr>
                <p:cNvSpPr/>
                <p:nvPr/>
              </p:nvSpPr>
              <p:spPr>
                <a:xfrm>
                  <a:off x="1735895" y="1733929"/>
                  <a:ext cx="176240" cy="89502"/>
                </a:xfrm>
                <a:custGeom>
                  <a:avLst/>
                  <a:gdLst>
                    <a:gd name="connsiteX0" fmla="*/ 148796 w 176240"/>
                    <a:gd name="connsiteY0" fmla="*/ 0 h 89502"/>
                    <a:gd name="connsiteX1" fmla="*/ 47619 w 176240"/>
                    <a:gd name="connsiteY1" fmla="*/ 0 h 89502"/>
                    <a:gd name="connsiteX2" fmla="*/ 20174 w 176240"/>
                    <a:gd name="connsiteY2" fmla="*/ 27445 h 89502"/>
                    <a:gd name="connsiteX3" fmla="*/ 35330 w 176240"/>
                    <a:gd name="connsiteY3" fmla="*/ 51817 h 89502"/>
                    <a:gd name="connsiteX4" fmla="*/ 0 w 176240"/>
                    <a:gd name="connsiteY4" fmla="*/ 89503 h 89502"/>
                    <a:gd name="connsiteX5" fmla="*/ 64413 w 176240"/>
                    <a:gd name="connsiteY5" fmla="*/ 54889 h 89502"/>
                    <a:gd name="connsiteX6" fmla="*/ 148796 w 176240"/>
                    <a:gd name="connsiteY6" fmla="*/ 54889 h 89502"/>
                    <a:gd name="connsiteX7" fmla="*/ 176240 w 176240"/>
                    <a:gd name="connsiteY7" fmla="*/ 27445 h 89502"/>
                    <a:gd name="connsiteX8" fmla="*/ 148796 w 176240"/>
                    <a:gd name="connsiteY8" fmla="*/ 0 h 8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6240" h="89502">
                      <a:moveTo>
                        <a:pt x="148796" y="0"/>
                      </a:moveTo>
                      <a:lnTo>
                        <a:pt x="47619" y="0"/>
                      </a:lnTo>
                      <a:cubicBezTo>
                        <a:pt x="32463" y="0"/>
                        <a:pt x="20174" y="12289"/>
                        <a:pt x="20174" y="27445"/>
                      </a:cubicBezTo>
                      <a:cubicBezTo>
                        <a:pt x="20174" y="38095"/>
                        <a:pt x="26318" y="47311"/>
                        <a:pt x="35330" y="51817"/>
                      </a:cubicBezTo>
                      <a:lnTo>
                        <a:pt x="0" y="89503"/>
                      </a:lnTo>
                      <a:lnTo>
                        <a:pt x="64413" y="54889"/>
                      </a:lnTo>
                      <a:lnTo>
                        <a:pt x="148796" y="54889"/>
                      </a:lnTo>
                      <a:cubicBezTo>
                        <a:pt x="163952" y="54889"/>
                        <a:pt x="176240" y="42601"/>
                        <a:pt x="176240" y="27445"/>
                      </a:cubicBezTo>
                      <a:cubicBezTo>
                        <a:pt x="176240" y="12289"/>
                        <a:pt x="163952" y="0"/>
                        <a:pt x="148796" y="0"/>
                      </a:cubicBezTo>
                      <a:close/>
                    </a:path>
                  </a:pathLst>
                </a:custGeom>
                <a:solidFill>
                  <a:srgbClr val="92E3A9"/>
                </a:solidFill>
                <a:ln w="10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406" name="Полилиния: фигура 405">
                  <a:extLst>
                    <a:ext uri="{FF2B5EF4-FFF2-40B4-BE49-F238E27FC236}">
                      <a16:creationId xmlns:a16="http://schemas.microsoft.com/office/drawing/2014/main" id="{8476FC8D-D130-4FFE-86AD-7439D1BA070A}"/>
                    </a:ext>
                  </a:extLst>
                </p:cNvPr>
                <p:cNvSpPr/>
                <p:nvPr/>
              </p:nvSpPr>
              <p:spPr>
                <a:xfrm>
                  <a:off x="1735895" y="1733929"/>
                  <a:ext cx="176240" cy="89502"/>
                </a:xfrm>
                <a:custGeom>
                  <a:avLst/>
                  <a:gdLst>
                    <a:gd name="connsiteX0" fmla="*/ 148796 w 176240"/>
                    <a:gd name="connsiteY0" fmla="*/ 0 h 89502"/>
                    <a:gd name="connsiteX1" fmla="*/ 47619 w 176240"/>
                    <a:gd name="connsiteY1" fmla="*/ 0 h 89502"/>
                    <a:gd name="connsiteX2" fmla="*/ 20174 w 176240"/>
                    <a:gd name="connsiteY2" fmla="*/ 27445 h 89502"/>
                    <a:gd name="connsiteX3" fmla="*/ 35330 w 176240"/>
                    <a:gd name="connsiteY3" fmla="*/ 51817 h 89502"/>
                    <a:gd name="connsiteX4" fmla="*/ 0 w 176240"/>
                    <a:gd name="connsiteY4" fmla="*/ 89503 h 89502"/>
                    <a:gd name="connsiteX5" fmla="*/ 64413 w 176240"/>
                    <a:gd name="connsiteY5" fmla="*/ 54889 h 89502"/>
                    <a:gd name="connsiteX6" fmla="*/ 148796 w 176240"/>
                    <a:gd name="connsiteY6" fmla="*/ 54889 h 89502"/>
                    <a:gd name="connsiteX7" fmla="*/ 176240 w 176240"/>
                    <a:gd name="connsiteY7" fmla="*/ 27445 h 89502"/>
                    <a:gd name="connsiteX8" fmla="*/ 148796 w 176240"/>
                    <a:gd name="connsiteY8" fmla="*/ 0 h 8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6240" h="89502">
                      <a:moveTo>
                        <a:pt x="148796" y="0"/>
                      </a:moveTo>
                      <a:lnTo>
                        <a:pt x="47619" y="0"/>
                      </a:lnTo>
                      <a:cubicBezTo>
                        <a:pt x="32463" y="0"/>
                        <a:pt x="20174" y="12289"/>
                        <a:pt x="20174" y="27445"/>
                      </a:cubicBezTo>
                      <a:cubicBezTo>
                        <a:pt x="20174" y="38095"/>
                        <a:pt x="26318" y="47311"/>
                        <a:pt x="35330" y="51817"/>
                      </a:cubicBezTo>
                      <a:lnTo>
                        <a:pt x="0" y="89503"/>
                      </a:lnTo>
                      <a:lnTo>
                        <a:pt x="64413" y="54889"/>
                      </a:lnTo>
                      <a:lnTo>
                        <a:pt x="148796" y="54889"/>
                      </a:lnTo>
                      <a:cubicBezTo>
                        <a:pt x="163952" y="54889"/>
                        <a:pt x="176240" y="42601"/>
                        <a:pt x="176240" y="27445"/>
                      </a:cubicBezTo>
                      <a:cubicBezTo>
                        <a:pt x="176240" y="12289"/>
                        <a:pt x="163952" y="0"/>
                        <a:pt x="148796" y="0"/>
                      </a:cubicBezTo>
                      <a:close/>
                    </a:path>
                  </a:pathLst>
                </a:custGeom>
                <a:solidFill>
                  <a:srgbClr val="006D39"/>
                </a:solidFill>
                <a:ln w="1022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407" name="Полилиния: фигура 406">
              <a:extLst>
                <a:ext uri="{FF2B5EF4-FFF2-40B4-BE49-F238E27FC236}">
                  <a16:creationId xmlns:a16="http://schemas.microsoft.com/office/drawing/2014/main" id="{F381B534-47D4-46DA-AA16-8F1A90C33F9F}"/>
                </a:ext>
              </a:extLst>
            </p:cNvPr>
            <p:cNvSpPr/>
            <p:nvPr/>
          </p:nvSpPr>
          <p:spPr>
            <a:xfrm>
              <a:off x="660635" y="1338950"/>
              <a:ext cx="1428047" cy="1218218"/>
            </a:xfrm>
            <a:custGeom>
              <a:avLst/>
              <a:gdLst>
                <a:gd name="connsiteX0" fmla="*/ 118791 w 1428047"/>
                <a:gd name="connsiteY0" fmla="*/ 1218218 h 1218218"/>
                <a:gd name="connsiteX1" fmla="*/ 1309257 w 1428047"/>
                <a:gd name="connsiteY1" fmla="*/ 1218218 h 1218218"/>
                <a:gd name="connsiteX2" fmla="*/ 1428048 w 1428047"/>
                <a:gd name="connsiteY2" fmla="*/ 1099632 h 1218218"/>
                <a:gd name="connsiteX3" fmla="*/ 1428048 w 1428047"/>
                <a:gd name="connsiteY3" fmla="*/ 118586 h 1218218"/>
                <a:gd name="connsiteX4" fmla="*/ 1309257 w 1428047"/>
                <a:gd name="connsiteY4" fmla="*/ 0 h 1218218"/>
                <a:gd name="connsiteX5" fmla="*/ 118791 w 1428047"/>
                <a:gd name="connsiteY5" fmla="*/ 0 h 1218218"/>
                <a:gd name="connsiteX6" fmla="*/ 0 w 1428047"/>
                <a:gd name="connsiteY6" fmla="*/ 118586 h 1218218"/>
                <a:gd name="connsiteX7" fmla="*/ 0 w 1428047"/>
                <a:gd name="connsiteY7" fmla="*/ 1099632 h 1218218"/>
                <a:gd name="connsiteX8" fmla="*/ 118791 w 1428047"/>
                <a:gd name="connsiteY8" fmla="*/ 1218218 h 121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8047" h="1218218">
                  <a:moveTo>
                    <a:pt x="118791" y="1218218"/>
                  </a:moveTo>
                  <a:lnTo>
                    <a:pt x="1309257" y="1218218"/>
                  </a:lnTo>
                  <a:cubicBezTo>
                    <a:pt x="1374797" y="1218218"/>
                    <a:pt x="1428048" y="1165172"/>
                    <a:pt x="1428048" y="1099632"/>
                  </a:cubicBezTo>
                  <a:lnTo>
                    <a:pt x="1428048" y="118586"/>
                  </a:lnTo>
                  <a:cubicBezTo>
                    <a:pt x="1428048" y="53149"/>
                    <a:pt x="1374899" y="0"/>
                    <a:pt x="1309257" y="0"/>
                  </a:cubicBezTo>
                  <a:lnTo>
                    <a:pt x="118791" y="0"/>
                  </a:lnTo>
                  <a:cubicBezTo>
                    <a:pt x="53149" y="0"/>
                    <a:pt x="0" y="53046"/>
                    <a:pt x="0" y="118586"/>
                  </a:cubicBezTo>
                  <a:lnTo>
                    <a:pt x="0" y="1099632"/>
                  </a:lnTo>
                  <a:cubicBezTo>
                    <a:pt x="0" y="1165070"/>
                    <a:pt x="53149" y="1218218"/>
                    <a:pt x="118791" y="1218218"/>
                  </a:cubicBezTo>
                  <a:close/>
                </a:path>
              </a:pathLst>
            </a:custGeom>
            <a:noFill/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408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751060" y="1471463"/>
              <a:ext cx="82026" cy="357088"/>
              <a:chOff x="751060" y="1471463"/>
              <a:chExt cx="82026" cy="357088"/>
            </a:xfrm>
          </p:grpSpPr>
          <p:sp>
            <p:nvSpPr>
              <p:cNvPr id="409" name="Полилиния: фигура 408">
                <a:extLst>
                  <a:ext uri="{FF2B5EF4-FFF2-40B4-BE49-F238E27FC236}">
                    <a16:creationId xmlns:a16="http://schemas.microsoft.com/office/drawing/2014/main" id="{7A92A01C-FF43-44F3-848E-C6343E8CA50E}"/>
                  </a:ext>
                </a:extLst>
              </p:cNvPr>
              <p:cNvSpPr/>
              <p:nvPr/>
            </p:nvSpPr>
            <p:spPr>
              <a:xfrm>
                <a:off x="751060" y="1471463"/>
                <a:ext cx="82026" cy="10240"/>
              </a:xfrm>
              <a:custGeom>
                <a:avLst/>
                <a:gdLst>
                  <a:gd name="connsiteX0" fmla="*/ 0 w 82026"/>
                  <a:gd name="connsiteY0" fmla="*/ 0 h 10240"/>
                  <a:gd name="connsiteX1" fmla="*/ 82027 w 82026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026" h="10240">
                    <a:moveTo>
                      <a:pt x="0" y="0"/>
                    </a:moveTo>
                    <a:lnTo>
                      <a:pt x="82027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0" name="Полилиния: фигура 409">
                <a:extLst>
                  <a:ext uri="{FF2B5EF4-FFF2-40B4-BE49-F238E27FC236}">
                    <a16:creationId xmlns:a16="http://schemas.microsoft.com/office/drawing/2014/main" id="{1B032880-1644-459A-89C1-83730E5CFC51}"/>
                  </a:ext>
                </a:extLst>
              </p:cNvPr>
              <p:cNvSpPr/>
              <p:nvPr/>
            </p:nvSpPr>
            <p:spPr>
              <a:xfrm>
                <a:off x="751060" y="1560761"/>
                <a:ext cx="82026" cy="10240"/>
              </a:xfrm>
              <a:custGeom>
                <a:avLst/>
                <a:gdLst>
                  <a:gd name="connsiteX0" fmla="*/ 0 w 82026"/>
                  <a:gd name="connsiteY0" fmla="*/ 0 h 10240"/>
                  <a:gd name="connsiteX1" fmla="*/ 82027 w 82026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026" h="10240">
                    <a:moveTo>
                      <a:pt x="0" y="0"/>
                    </a:moveTo>
                    <a:lnTo>
                      <a:pt x="82027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1" name="Полилиния: фигура 410">
                <a:extLst>
                  <a:ext uri="{FF2B5EF4-FFF2-40B4-BE49-F238E27FC236}">
                    <a16:creationId xmlns:a16="http://schemas.microsoft.com/office/drawing/2014/main" id="{825322D1-6EE1-44F6-AFFB-FD7C558D6D6F}"/>
                  </a:ext>
                </a:extLst>
              </p:cNvPr>
              <p:cNvSpPr/>
              <p:nvPr/>
            </p:nvSpPr>
            <p:spPr>
              <a:xfrm>
                <a:off x="751060" y="1650059"/>
                <a:ext cx="82026" cy="10240"/>
              </a:xfrm>
              <a:custGeom>
                <a:avLst/>
                <a:gdLst>
                  <a:gd name="connsiteX0" fmla="*/ 0 w 82026"/>
                  <a:gd name="connsiteY0" fmla="*/ 0 h 10240"/>
                  <a:gd name="connsiteX1" fmla="*/ 82027 w 82026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026" h="10240">
                    <a:moveTo>
                      <a:pt x="0" y="0"/>
                    </a:moveTo>
                    <a:lnTo>
                      <a:pt x="82027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2" name="Полилиния: фигура 411">
                <a:extLst>
                  <a:ext uri="{FF2B5EF4-FFF2-40B4-BE49-F238E27FC236}">
                    <a16:creationId xmlns:a16="http://schemas.microsoft.com/office/drawing/2014/main" id="{3F808C24-85D0-4BD3-AE81-C3062B48693A}"/>
                  </a:ext>
                </a:extLst>
              </p:cNvPr>
              <p:cNvSpPr/>
              <p:nvPr/>
            </p:nvSpPr>
            <p:spPr>
              <a:xfrm>
                <a:off x="751060" y="1739254"/>
                <a:ext cx="82026" cy="10240"/>
              </a:xfrm>
              <a:custGeom>
                <a:avLst/>
                <a:gdLst>
                  <a:gd name="connsiteX0" fmla="*/ 0 w 82026"/>
                  <a:gd name="connsiteY0" fmla="*/ 0 h 10240"/>
                  <a:gd name="connsiteX1" fmla="*/ 82027 w 82026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026" h="10240">
                    <a:moveTo>
                      <a:pt x="0" y="0"/>
                    </a:moveTo>
                    <a:lnTo>
                      <a:pt x="82027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3" name="Полилиния: фигура 412">
                <a:extLst>
                  <a:ext uri="{FF2B5EF4-FFF2-40B4-BE49-F238E27FC236}">
                    <a16:creationId xmlns:a16="http://schemas.microsoft.com/office/drawing/2014/main" id="{FBCE05EF-59CD-499E-A40E-154D15E9E396}"/>
                  </a:ext>
                </a:extLst>
              </p:cNvPr>
              <p:cNvSpPr/>
              <p:nvPr/>
            </p:nvSpPr>
            <p:spPr>
              <a:xfrm>
                <a:off x="751060" y="1828552"/>
                <a:ext cx="82026" cy="10240"/>
              </a:xfrm>
              <a:custGeom>
                <a:avLst/>
                <a:gdLst>
                  <a:gd name="connsiteX0" fmla="*/ 0 w 82026"/>
                  <a:gd name="connsiteY0" fmla="*/ 0 h 10240"/>
                  <a:gd name="connsiteX1" fmla="*/ 82027 w 82026"/>
                  <a:gd name="connsiteY1" fmla="*/ 0 h 1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026" h="10240">
                    <a:moveTo>
                      <a:pt x="0" y="0"/>
                    </a:moveTo>
                    <a:lnTo>
                      <a:pt x="82027" y="0"/>
                    </a:lnTo>
                  </a:path>
                </a:pathLst>
              </a:custGeom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312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702495" y="1592404"/>
            <a:ext cx="540292" cy="539473"/>
            <a:chOff x="3702495" y="1592404"/>
            <a:chExt cx="540292" cy="539473"/>
          </a:xfrm>
        </p:grpSpPr>
        <p:grpSp>
          <p:nvGrpSpPr>
            <p:cNvPr id="1313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3702495" y="1592404"/>
              <a:ext cx="540292" cy="539473"/>
              <a:chOff x="3702495" y="1592404"/>
              <a:chExt cx="540292" cy="539473"/>
            </a:xfrm>
          </p:grpSpPr>
          <p:sp>
            <p:nvSpPr>
              <p:cNvPr id="1314" name="Полилиния: фигура 1313">
                <a:extLst>
                  <a:ext uri="{FF2B5EF4-FFF2-40B4-BE49-F238E27FC236}">
                    <a16:creationId xmlns:a16="http://schemas.microsoft.com/office/drawing/2014/main" id="{64E4A6D0-90B7-4A0F-9ED1-F4C392395759}"/>
                  </a:ext>
                </a:extLst>
              </p:cNvPr>
              <p:cNvSpPr/>
              <p:nvPr/>
            </p:nvSpPr>
            <p:spPr>
              <a:xfrm>
                <a:off x="3702495" y="1592404"/>
                <a:ext cx="540292" cy="539473"/>
              </a:xfrm>
              <a:custGeom>
                <a:avLst/>
                <a:gdLst>
                  <a:gd name="connsiteX0" fmla="*/ 270146 w 540292"/>
                  <a:gd name="connsiteY0" fmla="*/ 0 h 539473"/>
                  <a:gd name="connsiteX1" fmla="*/ 0 w 540292"/>
                  <a:gd name="connsiteY1" fmla="*/ 269737 h 539473"/>
                  <a:gd name="connsiteX2" fmla="*/ 270146 w 540292"/>
                  <a:gd name="connsiteY2" fmla="*/ 539473 h 539473"/>
                  <a:gd name="connsiteX3" fmla="*/ 540292 w 540292"/>
                  <a:gd name="connsiteY3" fmla="*/ 269737 h 539473"/>
                  <a:gd name="connsiteX4" fmla="*/ 270146 w 540292"/>
                  <a:gd name="connsiteY4" fmla="*/ 0 h 539473"/>
                  <a:gd name="connsiteX5" fmla="*/ 270146 w 540292"/>
                  <a:gd name="connsiteY5" fmla="*/ 460211 h 539473"/>
                  <a:gd name="connsiteX6" fmla="*/ 79262 w 540292"/>
                  <a:gd name="connsiteY6" fmla="*/ 269634 h 539473"/>
                  <a:gd name="connsiteX7" fmla="*/ 270146 w 540292"/>
                  <a:gd name="connsiteY7" fmla="*/ 79057 h 539473"/>
                  <a:gd name="connsiteX8" fmla="*/ 461030 w 540292"/>
                  <a:gd name="connsiteY8" fmla="*/ 269634 h 539473"/>
                  <a:gd name="connsiteX9" fmla="*/ 270146 w 540292"/>
                  <a:gd name="connsiteY9" fmla="*/ 460211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0292" h="539473">
                    <a:moveTo>
                      <a:pt x="270146" y="0"/>
                    </a:moveTo>
                    <a:cubicBezTo>
                      <a:pt x="121146" y="0"/>
                      <a:pt x="0" y="120941"/>
                      <a:pt x="0" y="269737"/>
                    </a:cubicBezTo>
                    <a:cubicBezTo>
                      <a:pt x="0" y="418532"/>
                      <a:pt x="121146" y="539473"/>
                      <a:pt x="270146" y="539473"/>
                    </a:cubicBezTo>
                    <a:cubicBezTo>
                      <a:pt x="419146" y="539473"/>
                      <a:pt x="540292" y="418532"/>
                      <a:pt x="540292" y="269737"/>
                    </a:cubicBezTo>
                    <a:cubicBezTo>
                      <a:pt x="540292" y="120941"/>
                      <a:pt x="419044" y="0"/>
                      <a:pt x="270146" y="0"/>
                    </a:cubicBezTo>
                    <a:close/>
                    <a:moveTo>
                      <a:pt x="270146" y="460211"/>
                    </a:moveTo>
                    <a:cubicBezTo>
                      <a:pt x="164873" y="460211"/>
                      <a:pt x="79262" y="374703"/>
                      <a:pt x="79262" y="269634"/>
                    </a:cubicBezTo>
                    <a:cubicBezTo>
                      <a:pt x="79262" y="164566"/>
                      <a:pt x="164873" y="79057"/>
                      <a:pt x="270146" y="79057"/>
                    </a:cubicBezTo>
                    <a:cubicBezTo>
                      <a:pt x="375419" y="79057"/>
                      <a:pt x="461030" y="164566"/>
                      <a:pt x="461030" y="269634"/>
                    </a:cubicBezTo>
                    <a:cubicBezTo>
                      <a:pt x="461030" y="374703"/>
                      <a:pt x="375419" y="460211"/>
                      <a:pt x="270146" y="460211"/>
                    </a:cubicBezTo>
                    <a:close/>
                  </a:path>
                </a:pathLst>
              </a:custGeom>
              <a:solidFill>
                <a:srgbClr val="92E3A9"/>
              </a:solidFill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15" name="Полилиния: фигура 1314">
                <a:extLst>
                  <a:ext uri="{FF2B5EF4-FFF2-40B4-BE49-F238E27FC236}">
                    <a16:creationId xmlns:a16="http://schemas.microsoft.com/office/drawing/2014/main" id="{58C8ADB1-73A8-4BD1-BE06-FA89EB7558FE}"/>
                  </a:ext>
                </a:extLst>
              </p:cNvPr>
              <p:cNvSpPr/>
              <p:nvPr/>
            </p:nvSpPr>
            <p:spPr>
              <a:xfrm>
                <a:off x="3702495" y="1592404"/>
                <a:ext cx="540292" cy="539473"/>
              </a:xfrm>
              <a:custGeom>
                <a:avLst/>
                <a:gdLst>
                  <a:gd name="connsiteX0" fmla="*/ 270146 w 540292"/>
                  <a:gd name="connsiteY0" fmla="*/ 0 h 539473"/>
                  <a:gd name="connsiteX1" fmla="*/ 0 w 540292"/>
                  <a:gd name="connsiteY1" fmla="*/ 269737 h 539473"/>
                  <a:gd name="connsiteX2" fmla="*/ 270146 w 540292"/>
                  <a:gd name="connsiteY2" fmla="*/ 539473 h 539473"/>
                  <a:gd name="connsiteX3" fmla="*/ 540292 w 540292"/>
                  <a:gd name="connsiteY3" fmla="*/ 269737 h 539473"/>
                  <a:gd name="connsiteX4" fmla="*/ 270146 w 540292"/>
                  <a:gd name="connsiteY4" fmla="*/ 0 h 539473"/>
                  <a:gd name="connsiteX5" fmla="*/ 270146 w 540292"/>
                  <a:gd name="connsiteY5" fmla="*/ 460211 h 539473"/>
                  <a:gd name="connsiteX6" fmla="*/ 79262 w 540292"/>
                  <a:gd name="connsiteY6" fmla="*/ 269634 h 539473"/>
                  <a:gd name="connsiteX7" fmla="*/ 270146 w 540292"/>
                  <a:gd name="connsiteY7" fmla="*/ 79057 h 539473"/>
                  <a:gd name="connsiteX8" fmla="*/ 461030 w 540292"/>
                  <a:gd name="connsiteY8" fmla="*/ 269634 h 539473"/>
                  <a:gd name="connsiteX9" fmla="*/ 270146 w 540292"/>
                  <a:gd name="connsiteY9" fmla="*/ 460211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0292" h="539473">
                    <a:moveTo>
                      <a:pt x="270146" y="0"/>
                    </a:moveTo>
                    <a:cubicBezTo>
                      <a:pt x="121146" y="0"/>
                      <a:pt x="0" y="120941"/>
                      <a:pt x="0" y="269737"/>
                    </a:cubicBezTo>
                    <a:cubicBezTo>
                      <a:pt x="0" y="418532"/>
                      <a:pt x="121146" y="539473"/>
                      <a:pt x="270146" y="539473"/>
                    </a:cubicBezTo>
                    <a:cubicBezTo>
                      <a:pt x="419146" y="539473"/>
                      <a:pt x="540292" y="418532"/>
                      <a:pt x="540292" y="269737"/>
                    </a:cubicBezTo>
                    <a:cubicBezTo>
                      <a:pt x="540292" y="120941"/>
                      <a:pt x="419044" y="0"/>
                      <a:pt x="270146" y="0"/>
                    </a:cubicBezTo>
                    <a:close/>
                    <a:moveTo>
                      <a:pt x="270146" y="460211"/>
                    </a:moveTo>
                    <a:cubicBezTo>
                      <a:pt x="164873" y="460211"/>
                      <a:pt x="79262" y="374703"/>
                      <a:pt x="79262" y="269634"/>
                    </a:cubicBezTo>
                    <a:cubicBezTo>
                      <a:pt x="79262" y="164566"/>
                      <a:pt x="164873" y="79057"/>
                      <a:pt x="270146" y="79057"/>
                    </a:cubicBezTo>
                    <a:cubicBezTo>
                      <a:pt x="375419" y="79057"/>
                      <a:pt x="461030" y="164566"/>
                      <a:pt x="461030" y="269634"/>
                    </a:cubicBezTo>
                    <a:cubicBezTo>
                      <a:pt x="461030" y="374703"/>
                      <a:pt x="375419" y="460211"/>
                      <a:pt x="270146" y="460211"/>
                    </a:cubicBezTo>
                    <a:close/>
                  </a:path>
                </a:pathLst>
              </a:custGeom>
              <a:solidFill>
                <a:srgbClr val="006D39"/>
              </a:solidFill>
              <a:ln w="10228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316" name="Полилиния: фигура 1315">
              <a:extLst>
                <a:ext uri="{FF2B5EF4-FFF2-40B4-BE49-F238E27FC236}">
                  <a16:creationId xmlns:a16="http://schemas.microsoft.com/office/drawing/2014/main" id="{A1AD2A41-CBDF-43CF-B912-401A35E4FEEC}"/>
                </a:ext>
              </a:extLst>
            </p:cNvPr>
            <p:cNvSpPr/>
            <p:nvPr/>
          </p:nvSpPr>
          <p:spPr>
            <a:xfrm>
              <a:off x="3702495" y="1592404"/>
              <a:ext cx="540292" cy="539473"/>
            </a:xfrm>
            <a:custGeom>
              <a:avLst/>
              <a:gdLst>
                <a:gd name="connsiteX0" fmla="*/ 270146 w 540292"/>
                <a:gd name="connsiteY0" fmla="*/ 0 h 539473"/>
                <a:gd name="connsiteX1" fmla="*/ 0 w 540292"/>
                <a:gd name="connsiteY1" fmla="*/ 269737 h 539473"/>
                <a:gd name="connsiteX2" fmla="*/ 270146 w 540292"/>
                <a:gd name="connsiteY2" fmla="*/ 539473 h 539473"/>
                <a:gd name="connsiteX3" fmla="*/ 540292 w 540292"/>
                <a:gd name="connsiteY3" fmla="*/ 269737 h 539473"/>
                <a:gd name="connsiteX4" fmla="*/ 270146 w 540292"/>
                <a:gd name="connsiteY4" fmla="*/ 0 h 539473"/>
                <a:gd name="connsiteX5" fmla="*/ 270146 w 540292"/>
                <a:gd name="connsiteY5" fmla="*/ 460211 h 539473"/>
                <a:gd name="connsiteX6" fmla="*/ 79262 w 540292"/>
                <a:gd name="connsiteY6" fmla="*/ 269634 h 539473"/>
                <a:gd name="connsiteX7" fmla="*/ 270146 w 540292"/>
                <a:gd name="connsiteY7" fmla="*/ 79057 h 539473"/>
                <a:gd name="connsiteX8" fmla="*/ 461030 w 540292"/>
                <a:gd name="connsiteY8" fmla="*/ 269634 h 539473"/>
                <a:gd name="connsiteX9" fmla="*/ 270146 w 540292"/>
                <a:gd name="connsiteY9" fmla="*/ 460211 h 53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0292" h="539473">
                  <a:moveTo>
                    <a:pt x="270146" y="0"/>
                  </a:moveTo>
                  <a:cubicBezTo>
                    <a:pt x="121146" y="0"/>
                    <a:pt x="0" y="120941"/>
                    <a:pt x="0" y="269737"/>
                  </a:cubicBezTo>
                  <a:cubicBezTo>
                    <a:pt x="0" y="418532"/>
                    <a:pt x="121146" y="539473"/>
                    <a:pt x="270146" y="539473"/>
                  </a:cubicBezTo>
                  <a:cubicBezTo>
                    <a:pt x="419146" y="539473"/>
                    <a:pt x="540292" y="418532"/>
                    <a:pt x="540292" y="269737"/>
                  </a:cubicBezTo>
                  <a:cubicBezTo>
                    <a:pt x="540292" y="120941"/>
                    <a:pt x="419044" y="0"/>
                    <a:pt x="270146" y="0"/>
                  </a:cubicBezTo>
                  <a:close/>
                  <a:moveTo>
                    <a:pt x="270146" y="460211"/>
                  </a:moveTo>
                  <a:cubicBezTo>
                    <a:pt x="164873" y="460211"/>
                    <a:pt x="79262" y="374703"/>
                    <a:pt x="79262" y="269634"/>
                  </a:cubicBezTo>
                  <a:cubicBezTo>
                    <a:pt x="79262" y="164566"/>
                    <a:pt x="164873" y="79057"/>
                    <a:pt x="270146" y="79057"/>
                  </a:cubicBezTo>
                  <a:cubicBezTo>
                    <a:pt x="375419" y="79057"/>
                    <a:pt x="461030" y="164566"/>
                    <a:pt x="461030" y="269634"/>
                  </a:cubicBezTo>
                  <a:cubicBezTo>
                    <a:pt x="461030" y="374703"/>
                    <a:pt x="375419" y="460211"/>
                    <a:pt x="270146" y="460211"/>
                  </a:cubicBezTo>
                  <a:close/>
                </a:path>
              </a:pathLst>
            </a:custGeom>
            <a:noFill/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7" name="Полилиния: фигура 1316">
              <a:extLst>
                <a:ext uri="{FF2B5EF4-FFF2-40B4-BE49-F238E27FC236}">
                  <a16:creationId xmlns:a16="http://schemas.microsoft.com/office/drawing/2014/main" id="{595FC37E-AF87-4447-8C0D-F1182FBD895F}"/>
                </a:ext>
              </a:extLst>
            </p:cNvPr>
            <p:cNvSpPr/>
            <p:nvPr/>
          </p:nvSpPr>
          <p:spPr>
            <a:xfrm>
              <a:off x="3777558" y="1592404"/>
              <a:ext cx="465229" cy="539473"/>
            </a:xfrm>
            <a:custGeom>
              <a:avLst/>
              <a:gdLst>
                <a:gd name="connsiteX0" fmla="*/ 195083 w 465229"/>
                <a:gd name="connsiteY0" fmla="*/ 0 h 539473"/>
                <a:gd name="connsiteX1" fmla="*/ 0 w 465229"/>
                <a:gd name="connsiteY1" fmla="*/ 83051 h 539473"/>
                <a:gd name="connsiteX2" fmla="*/ 57245 w 465229"/>
                <a:gd name="connsiteY2" fmla="*/ 137838 h 539473"/>
                <a:gd name="connsiteX3" fmla="*/ 195083 w 465229"/>
                <a:gd name="connsiteY3" fmla="*/ 79160 h 539473"/>
                <a:gd name="connsiteX4" fmla="*/ 385967 w 465229"/>
                <a:gd name="connsiteY4" fmla="*/ 269737 h 539473"/>
                <a:gd name="connsiteX5" fmla="*/ 195083 w 465229"/>
                <a:gd name="connsiteY5" fmla="*/ 460314 h 539473"/>
                <a:gd name="connsiteX6" fmla="*/ 195083 w 465229"/>
                <a:gd name="connsiteY6" fmla="*/ 539473 h 539473"/>
                <a:gd name="connsiteX7" fmla="*/ 465229 w 465229"/>
                <a:gd name="connsiteY7" fmla="*/ 269737 h 539473"/>
                <a:gd name="connsiteX8" fmla="*/ 195083 w 465229"/>
                <a:gd name="connsiteY8" fmla="*/ 0 h 53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5229" h="539473">
                  <a:moveTo>
                    <a:pt x="195083" y="0"/>
                  </a:moveTo>
                  <a:cubicBezTo>
                    <a:pt x="120736" y="0"/>
                    <a:pt x="51510" y="29493"/>
                    <a:pt x="0" y="83051"/>
                  </a:cubicBezTo>
                  <a:lnTo>
                    <a:pt x="57245" y="137838"/>
                  </a:lnTo>
                  <a:cubicBezTo>
                    <a:pt x="93599" y="99948"/>
                    <a:pt x="142549" y="79160"/>
                    <a:pt x="195083" y="79160"/>
                  </a:cubicBezTo>
                  <a:cubicBezTo>
                    <a:pt x="300356" y="79160"/>
                    <a:pt x="385967" y="164668"/>
                    <a:pt x="385967" y="269737"/>
                  </a:cubicBezTo>
                  <a:cubicBezTo>
                    <a:pt x="385967" y="374805"/>
                    <a:pt x="300356" y="460314"/>
                    <a:pt x="195083" y="460314"/>
                  </a:cubicBezTo>
                  <a:lnTo>
                    <a:pt x="195083" y="539473"/>
                  </a:lnTo>
                  <a:cubicBezTo>
                    <a:pt x="344083" y="539473"/>
                    <a:pt x="465229" y="418532"/>
                    <a:pt x="465229" y="269737"/>
                  </a:cubicBezTo>
                  <a:cubicBezTo>
                    <a:pt x="465229" y="120941"/>
                    <a:pt x="343981" y="0"/>
                    <a:pt x="195083" y="0"/>
                  </a:cubicBezTo>
                  <a:close/>
                </a:path>
              </a:pathLst>
            </a:custGeom>
            <a:solidFill>
              <a:srgbClr val="263238"/>
            </a:solidFill>
            <a:ln w="10842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18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368746" y="1592404"/>
            <a:ext cx="540292" cy="539575"/>
            <a:chOff x="4368746" y="1592404"/>
            <a:chExt cx="540292" cy="539575"/>
          </a:xfrm>
        </p:grpSpPr>
        <p:grpSp>
          <p:nvGrpSpPr>
            <p:cNvPr id="1319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4368746" y="1592404"/>
              <a:ext cx="540292" cy="539473"/>
              <a:chOff x="4368746" y="1592404"/>
              <a:chExt cx="540292" cy="539473"/>
            </a:xfrm>
          </p:grpSpPr>
          <p:sp>
            <p:nvSpPr>
              <p:cNvPr id="1320" name="Полилиния: фигура 1319">
                <a:extLst>
                  <a:ext uri="{FF2B5EF4-FFF2-40B4-BE49-F238E27FC236}">
                    <a16:creationId xmlns:a16="http://schemas.microsoft.com/office/drawing/2014/main" id="{6DF9D5CC-F559-4D54-A637-D50349A0E93D}"/>
                  </a:ext>
                </a:extLst>
              </p:cNvPr>
              <p:cNvSpPr/>
              <p:nvPr/>
            </p:nvSpPr>
            <p:spPr>
              <a:xfrm>
                <a:off x="4368746" y="1592404"/>
                <a:ext cx="540292" cy="539473"/>
              </a:xfrm>
              <a:custGeom>
                <a:avLst/>
                <a:gdLst>
                  <a:gd name="connsiteX0" fmla="*/ 270146 w 540292"/>
                  <a:gd name="connsiteY0" fmla="*/ 0 h 539473"/>
                  <a:gd name="connsiteX1" fmla="*/ 0 w 540292"/>
                  <a:gd name="connsiteY1" fmla="*/ 269737 h 539473"/>
                  <a:gd name="connsiteX2" fmla="*/ 270146 w 540292"/>
                  <a:gd name="connsiteY2" fmla="*/ 539473 h 539473"/>
                  <a:gd name="connsiteX3" fmla="*/ 540292 w 540292"/>
                  <a:gd name="connsiteY3" fmla="*/ 269737 h 539473"/>
                  <a:gd name="connsiteX4" fmla="*/ 270146 w 540292"/>
                  <a:gd name="connsiteY4" fmla="*/ 0 h 539473"/>
                  <a:gd name="connsiteX5" fmla="*/ 270146 w 540292"/>
                  <a:gd name="connsiteY5" fmla="*/ 460211 h 539473"/>
                  <a:gd name="connsiteX6" fmla="*/ 79262 w 540292"/>
                  <a:gd name="connsiteY6" fmla="*/ 269634 h 539473"/>
                  <a:gd name="connsiteX7" fmla="*/ 270146 w 540292"/>
                  <a:gd name="connsiteY7" fmla="*/ 79057 h 539473"/>
                  <a:gd name="connsiteX8" fmla="*/ 461030 w 540292"/>
                  <a:gd name="connsiteY8" fmla="*/ 269634 h 539473"/>
                  <a:gd name="connsiteX9" fmla="*/ 270146 w 540292"/>
                  <a:gd name="connsiteY9" fmla="*/ 460211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0292" h="539473">
                    <a:moveTo>
                      <a:pt x="270146" y="0"/>
                    </a:moveTo>
                    <a:cubicBezTo>
                      <a:pt x="121146" y="0"/>
                      <a:pt x="0" y="120941"/>
                      <a:pt x="0" y="269737"/>
                    </a:cubicBezTo>
                    <a:cubicBezTo>
                      <a:pt x="0" y="418532"/>
                      <a:pt x="121248" y="539473"/>
                      <a:pt x="270146" y="539473"/>
                    </a:cubicBezTo>
                    <a:cubicBezTo>
                      <a:pt x="419044" y="539473"/>
                      <a:pt x="540292" y="418532"/>
                      <a:pt x="540292" y="269737"/>
                    </a:cubicBezTo>
                    <a:cubicBezTo>
                      <a:pt x="540292" y="120941"/>
                      <a:pt x="419146" y="0"/>
                      <a:pt x="270146" y="0"/>
                    </a:cubicBezTo>
                    <a:close/>
                    <a:moveTo>
                      <a:pt x="270146" y="460211"/>
                    </a:moveTo>
                    <a:cubicBezTo>
                      <a:pt x="164873" y="460211"/>
                      <a:pt x="79262" y="374703"/>
                      <a:pt x="79262" y="269634"/>
                    </a:cubicBezTo>
                    <a:cubicBezTo>
                      <a:pt x="79262" y="164566"/>
                      <a:pt x="164873" y="79057"/>
                      <a:pt x="270146" y="79057"/>
                    </a:cubicBezTo>
                    <a:cubicBezTo>
                      <a:pt x="375419" y="79057"/>
                      <a:pt x="461030" y="164566"/>
                      <a:pt x="461030" y="269634"/>
                    </a:cubicBezTo>
                    <a:cubicBezTo>
                      <a:pt x="461030" y="374703"/>
                      <a:pt x="375419" y="460211"/>
                      <a:pt x="270146" y="460211"/>
                    </a:cubicBezTo>
                    <a:close/>
                  </a:path>
                </a:pathLst>
              </a:custGeom>
              <a:solidFill>
                <a:srgbClr val="92E3A9"/>
              </a:solidFill>
              <a:ln w="10842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21" name="Полилиния: фигура 1320">
                <a:extLst>
                  <a:ext uri="{FF2B5EF4-FFF2-40B4-BE49-F238E27FC236}">
                    <a16:creationId xmlns:a16="http://schemas.microsoft.com/office/drawing/2014/main" id="{1F06B9F8-B902-4314-8AAE-5F7BAA35E63D}"/>
                  </a:ext>
                </a:extLst>
              </p:cNvPr>
              <p:cNvSpPr/>
              <p:nvPr/>
            </p:nvSpPr>
            <p:spPr>
              <a:xfrm>
                <a:off x="4368746" y="1592404"/>
                <a:ext cx="540292" cy="539473"/>
              </a:xfrm>
              <a:custGeom>
                <a:avLst/>
                <a:gdLst>
                  <a:gd name="connsiteX0" fmla="*/ 270146 w 540292"/>
                  <a:gd name="connsiteY0" fmla="*/ 0 h 539473"/>
                  <a:gd name="connsiteX1" fmla="*/ 0 w 540292"/>
                  <a:gd name="connsiteY1" fmla="*/ 269737 h 539473"/>
                  <a:gd name="connsiteX2" fmla="*/ 270146 w 540292"/>
                  <a:gd name="connsiteY2" fmla="*/ 539473 h 539473"/>
                  <a:gd name="connsiteX3" fmla="*/ 540292 w 540292"/>
                  <a:gd name="connsiteY3" fmla="*/ 269737 h 539473"/>
                  <a:gd name="connsiteX4" fmla="*/ 270146 w 540292"/>
                  <a:gd name="connsiteY4" fmla="*/ 0 h 539473"/>
                  <a:gd name="connsiteX5" fmla="*/ 270146 w 540292"/>
                  <a:gd name="connsiteY5" fmla="*/ 460211 h 539473"/>
                  <a:gd name="connsiteX6" fmla="*/ 79262 w 540292"/>
                  <a:gd name="connsiteY6" fmla="*/ 269634 h 539473"/>
                  <a:gd name="connsiteX7" fmla="*/ 270146 w 540292"/>
                  <a:gd name="connsiteY7" fmla="*/ 79057 h 539473"/>
                  <a:gd name="connsiteX8" fmla="*/ 461030 w 540292"/>
                  <a:gd name="connsiteY8" fmla="*/ 269634 h 539473"/>
                  <a:gd name="connsiteX9" fmla="*/ 270146 w 540292"/>
                  <a:gd name="connsiteY9" fmla="*/ 460211 h 539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0292" h="539473">
                    <a:moveTo>
                      <a:pt x="270146" y="0"/>
                    </a:moveTo>
                    <a:cubicBezTo>
                      <a:pt x="121146" y="0"/>
                      <a:pt x="0" y="120941"/>
                      <a:pt x="0" y="269737"/>
                    </a:cubicBezTo>
                    <a:cubicBezTo>
                      <a:pt x="0" y="418532"/>
                      <a:pt x="121248" y="539473"/>
                      <a:pt x="270146" y="539473"/>
                    </a:cubicBezTo>
                    <a:cubicBezTo>
                      <a:pt x="419044" y="539473"/>
                      <a:pt x="540292" y="418532"/>
                      <a:pt x="540292" y="269737"/>
                    </a:cubicBezTo>
                    <a:cubicBezTo>
                      <a:pt x="540292" y="120941"/>
                      <a:pt x="419146" y="0"/>
                      <a:pt x="270146" y="0"/>
                    </a:cubicBezTo>
                    <a:close/>
                    <a:moveTo>
                      <a:pt x="270146" y="460211"/>
                    </a:moveTo>
                    <a:cubicBezTo>
                      <a:pt x="164873" y="460211"/>
                      <a:pt x="79262" y="374703"/>
                      <a:pt x="79262" y="269634"/>
                    </a:cubicBezTo>
                    <a:cubicBezTo>
                      <a:pt x="79262" y="164566"/>
                      <a:pt x="164873" y="79057"/>
                      <a:pt x="270146" y="79057"/>
                    </a:cubicBezTo>
                    <a:cubicBezTo>
                      <a:pt x="375419" y="79057"/>
                      <a:pt x="461030" y="164566"/>
                      <a:pt x="461030" y="269634"/>
                    </a:cubicBezTo>
                    <a:cubicBezTo>
                      <a:pt x="461030" y="374703"/>
                      <a:pt x="375419" y="460211"/>
                      <a:pt x="270146" y="460211"/>
                    </a:cubicBezTo>
                    <a:close/>
                  </a:path>
                </a:pathLst>
              </a:custGeom>
              <a:solidFill>
                <a:srgbClr val="006D39"/>
              </a:solidFill>
              <a:ln w="10228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322" name="Полилиния: фигура 1321">
              <a:extLst>
                <a:ext uri="{FF2B5EF4-FFF2-40B4-BE49-F238E27FC236}">
                  <a16:creationId xmlns:a16="http://schemas.microsoft.com/office/drawing/2014/main" id="{708404F9-1202-4692-A056-D0FACACD5380}"/>
                </a:ext>
              </a:extLst>
            </p:cNvPr>
            <p:cNvSpPr/>
            <p:nvPr/>
          </p:nvSpPr>
          <p:spPr>
            <a:xfrm>
              <a:off x="4368746" y="1592404"/>
              <a:ext cx="540292" cy="539473"/>
            </a:xfrm>
            <a:custGeom>
              <a:avLst/>
              <a:gdLst>
                <a:gd name="connsiteX0" fmla="*/ 270146 w 540292"/>
                <a:gd name="connsiteY0" fmla="*/ 0 h 539473"/>
                <a:gd name="connsiteX1" fmla="*/ 0 w 540292"/>
                <a:gd name="connsiteY1" fmla="*/ 269737 h 539473"/>
                <a:gd name="connsiteX2" fmla="*/ 270146 w 540292"/>
                <a:gd name="connsiteY2" fmla="*/ 539473 h 539473"/>
                <a:gd name="connsiteX3" fmla="*/ 540292 w 540292"/>
                <a:gd name="connsiteY3" fmla="*/ 269737 h 539473"/>
                <a:gd name="connsiteX4" fmla="*/ 270146 w 540292"/>
                <a:gd name="connsiteY4" fmla="*/ 0 h 539473"/>
                <a:gd name="connsiteX5" fmla="*/ 270146 w 540292"/>
                <a:gd name="connsiteY5" fmla="*/ 460211 h 539473"/>
                <a:gd name="connsiteX6" fmla="*/ 79262 w 540292"/>
                <a:gd name="connsiteY6" fmla="*/ 269634 h 539473"/>
                <a:gd name="connsiteX7" fmla="*/ 270146 w 540292"/>
                <a:gd name="connsiteY7" fmla="*/ 79057 h 539473"/>
                <a:gd name="connsiteX8" fmla="*/ 461030 w 540292"/>
                <a:gd name="connsiteY8" fmla="*/ 269634 h 539473"/>
                <a:gd name="connsiteX9" fmla="*/ 270146 w 540292"/>
                <a:gd name="connsiteY9" fmla="*/ 460211 h 539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0292" h="539473">
                  <a:moveTo>
                    <a:pt x="270146" y="0"/>
                  </a:moveTo>
                  <a:cubicBezTo>
                    <a:pt x="121146" y="0"/>
                    <a:pt x="0" y="120941"/>
                    <a:pt x="0" y="269737"/>
                  </a:cubicBezTo>
                  <a:cubicBezTo>
                    <a:pt x="0" y="418532"/>
                    <a:pt x="121248" y="539473"/>
                    <a:pt x="270146" y="539473"/>
                  </a:cubicBezTo>
                  <a:cubicBezTo>
                    <a:pt x="419044" y="539473"/>
                    <a:pt x="540292" y="418532"/>
                    <a:pt x="540292" y="269737"/>
                  </a:cubicBezTo>
                  <a:cubicBezTo>
                    <a:pt x="540292" y="120941"/>
                    <a:pt x="419146" y="0"/>
                    <a:pt x="270146" y="0"/>
                  </a:cubicBezTo>
                  <a:close/>
                  <a:moveTo>
                    <a:pt x="270146" y="460211"/>
                  </a:moveTo>
                  <a:cubicBezTo>
                    <a:pt x="164873" y="460211"/>
                    <a:pt x="79262" y="374703"/>
                    <a:pt x="79262" y="269634"/>
                  </a:cubicBezTo>
                  <a:cubicBezTo>
                    <a:pt x="79262" y="164566"/>
                    <a:pt x="164873" y="79057"/>
                    <a:pt x="270146" y="79057"/>
                  </a:cubicBezTo>
                  <a:cubicBezTo>
                    <a:pt x="375419" y="79057"/>
                    <a:pt x="461030" y="164566"/>
                    <a:pt x="461030" y="269634"/>
                  </a:cubicBezTo>
                  <a:cubicBezTo>
                    <a:pt x="461030" y="374703"/>
                    <a:pt x="375419" y="460211"/>
                    <a:pt x="270146" y="460211"/>
                  </a:cubicBezTo>
                  <a:close/>
                </a:path>
              </a:pathLst>
            </a:custGeom>
            <a:noFill/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3" name="Полилиния: фигура 1322">
              <a:extLst>
                <a:ext uri="{FF2B5EF4-FFF2-40B4-BE49-F238E27FC236}">
                  <a16:creationId xmlns:a16="http://schemas.microsoft.com/office/drawing/2014/main" id="{4358296D-EA03-4E9D-BCD9-A66044B1D800}"/>
                </a:ext>
              </a:extLst>
            </p:cNvPr>
            <p:cNvSpPr/>
            <p:nvPr/>
          </p:nvSpPr>
          <p:spPr>
            <a:xfrm>
              <a:off x="4638790" y="1613705"/>
              <a:ext cx="270146" cy="518275"/>
            </a:xfrm>
            <a:custGeom>
              <a:avLst/>
              <a:gdLst>
                <a:gd name="connsiteX0" fmla="*/ 105273 w 270146"/>
                <a:gd name="connsiteY0" fmla="*/ 0 h 518275"/>
                <a:gd name="connsiteX1" fmla="*/ 74346 w 270146"/>
                <a:gd name="connsiteY1" fmla="*/ 72913 h 518275"/>
                <a:gd name="connsiteX2" fmla="*/ 190884 w 270146"/>
                <a:gd name="connsiteY2" fmla="*/ 248539 h 518275"/>
                <a:gd name="connsiteX3" fmla="*/ 0 w 270146"/>
                <a:gd name="connsiteY3" fmla="*/ 439116 h 518275"/>
                <a:gd name="connsiteX4" fmla="*/ 0 w 270146"/>
                <a:gd name="connsiteY4" fmla="*/ 518275 h 518275"/>
                <a:gd name="connsiteX5" fmla="*/ 270146 w 270146"/>
                <a:gd name="connsiteY5" fmla="*/ 248539 h 518275"/>
                <a:gd name="connsiteX6" fmla="*/ 105171 w 270146"/>
                <a:gd name="connsiteY6" fmla="*/ 102 h 5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146" h="518275">
                  <a:moveTo>
                    <a:pt x="105273" y="0"/>
                  </a:moveTo>
                  <a:lnTo>
                    <a:pt x="74346" y="72913"/>
                  </a:lnTo>
                  <a:cubicBezTo>
                    <a:pt x="145211" y="102815"/>
                    <a:pt x="190884" y="171734"/>
                    <a:pt x="190884" y="248539"/>
                  </a:cubicBezTo>
                  <a:cubicBezTo>
                    <a:pt x="190884" y="353607"/>
                    <a:pt x="105273" y="439116"/>
                    <a:pt x="0" y="439116"/>
                  </a:cubicBezTo>
                  <a:lnTo>
                    <a:pt x="0" y="518275"/>
                  </a:lnTo>
                  <a:cubicBezTo>
                    <a:pt x="149000" y="518275"/>
                    <a:pt x="270146" y="397334"/>
                    <a:pt x="270146" y="248539"/>
                  </a:cubicBezTo>
                  <a:cubicBezTo>
                    <a:pt x="270146" y="139886"/>
                    <a:pt x="205426" y="42396"/>
                    <a:pt x="105171" y="102"/>
                  </a:cubicBezTo>
                  <a:close/>
                </a:path>
              </a:pathLst>
            </a:custGeom>
            <a:solidFill>
              <a:srgbClr val="263238"/>
            </a:solidFill>
            <a:ln w="10842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24" name="Полилиния: фигура 1323">
            <a:extLst>
              <a:ext uri="{FF2B5EF4-FFF2-40B4-BE49-F238E27FC236}">
                <a16:creationId xmlns:a16="http://schemas.microsoft.com/office/drawing/2014/main" id="{FA1B7792-7825-42A3-9526-E6886A120A1D}"/>
              </a:ext>
            </a:extLst>
          </p:cNvPr>
          <p:cNvSpPr/>
          <p:nvPr/>
        </p:nvSpPr>
        <p:spPr>
          <a:xfrm>
            <a:off x="3612992" y="1339053"/>
            <a:ext cx="1408488" cy="1218115"/>
          </a:xfrm>
          <a:custGeom>
            <a:avLst/>
            <a:gdLst>
              <a:gd name="connsiteX0" fmla="*/ 1260819 w 1408488"/>
              <a:gd name="connsiteY0" fmla="*/ 0 h 1218115"/>
              <a:gd name="connsiteX1" fmla="*/ 147669 w 1408488"/>
              <a:gd name="connsiteY1" fmla="*/ 0 h 1218115"/>
              <a:gd name="connsiteX2" fmla="*/ 0 w 1408488"/>
              <a:gd name="connsiteY2" fmla="*/ 147362 h 1218115"/>
              <a:gd name="connsiteX3" fmla="*/ 0 w 1408488"/>
              <a:gd name="connsiteY3" fmla="*/ 1070754 h 1218115"/>
              <a:gd name="connsiteX4" fmla="*/ 147669 w 1408488"/>
              <a:gd name="connsiteY4" fmla="*/ 1218116 h 1218115"/>
              <a:gd name="connsiteX5" fmla="*/ 1260819 w 1408488"/>
              <a:gd name="connsiteY5" fmla="*/ 1218116 h 1218115"/>
              <a:gd name="connsiteX6" fmla="*/ 1408488 w 1408488"/>
              <a:gd name="connsiteY6" fmla="*/ 1070754 h 1218115"/>
              <a:gd name="connsiteX7" fmla="*/ 1408488 w 1408488"/>
              <a:gd name="connsiteY7" fmla="*/ 147362 h 1218115"/>
              <a:gd name="connsiteX8" fmla="*/ 1260819 w 1408488"/>
              <a:gd name="connsiteY8" fmla="*/ 0 h 1218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08488" h="1218115">
                <a:moveTo>
                  <a:pt x="1260819" y="0"/>
                </a:moveTo>
                <a:lnTo>
                  <a:pt x="147669" y="0"/>
                </a:lnTo>
                <a:cubicBezTo>
                  <a:pt x="66154" y="0"/>
                  <a:pt x="0" y="65949"/>
                  <a:pt x="0" y="147362"/>
                </a:cubicBezTo>
                <a:lnTo>
                  <a:pt x="0" y="1070754"/>
                </a:lnTo>
                <a:cubicBezTo>
                  <a:pt x="0" y="1152167"/>
                  <a:pt x="66154" y="1218116"/>
                  <a:pt x="147669" y="1218116"/>
                </a:cubicBezTo>
                <a:lnTo>
                  <a:pt x="1260819" y="1218116"/>
                </a:lnTo>
                <a:cubicBezTo>
                  <a:pt x="1342334" y="1218116"/>
                  <a:pt x="1408488" y="1152167"/>
                  <a:pt x="1408488" y="1070754"/>
                </a:cubicBezTo>
                <a:lnTo>
                  <a:pt x="1408488" y="147362"/>
                </a:lnTo>
                <a:cubicBezTo>
                  <a:pt x="1408488" y="65949"/>
                  <a:pt x="1342334" y="0"/>
                  <a:pt x="1260819" y="0"/>
                </a:cubicBezTo>
                <a:close/>
              </a:path>
            </a:pathLst>
          </a:custGeom>
          <a:noFill/>
          <a:ln w="10842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25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732602" y="2220356"/>
            <a:ext cx="424369" cy="181565"/>
            <a:chOff x="3732602" y="2220356"/>
            <a:chExt cx="424369" cy="181565"/>
          </a:xfrm>
        </p:grpSpPr>
        <p:sp>
          <p:nvSpPr>
            <p:cNvPr id="1326" name="Полилиния: фигура 1325">
              <a:extLst>
                <a:ext uri="{FF2B5EF4-FFF2-40B4-BE49-F238E27FC236}">
                  <a16:creationId xmlns:a16="http://schemas.microsoft.com/office/drawing/2014/main" id="{30640DE4-B280-422A-A3D6-C739763CDBF5}"/>
                </a:ext>
              </a:extLst>
            </p:cNvPr>
            <p:cNvSpPr/>
            <p:nvPr/>
          </p:nvSpPr>
          <p:spPr>
            <a:xfrm>
              <a:off x="3732602" y="2220356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7" name="Полилиния: фигура 1326">
              <a:extLst>
                <a:ext uri="{FF2B5EF4-FFF2-40B4-BE49-F238E27FC236}">
                  <a16:creationId xmlns:a16="http://schemas.microsoft.com/office/drawing/2014/main" id="{862F57F7-76A6-46DD-833E-C8E062C28949}"/>
                </a:ext>
              </a:extLst>
            </p:cNvPr>
            <p:cNvSpPr/>
            <p:nvPr/>
          </p:nvSpPr>
          <p:spPr>
            <a:xfrm>
              <a:off x="3732602" y="2265824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8" name="Полилиния: фигура 1327">
              <a:extLst>
                <a:ext uri="{FF2B5EF4-FFF2-40B4-BE49-F238E27FC236}">
                  <a16:creationId xmlns:a16="http://schemas.microsoft.com/office/drawing/2014/main" id="{7D3AC905-E947-411D-93EB-C3D06F59E66F}"/>
                </a:ext>
              </a:extLst>
            </p:cNvPr>
            <p:cNvSpPr/>
            <p:nvPr/>
          </p:nvSpPr>
          <p:spPr>
            <a:xfrm>
              <a:off x="3732602" y="2311190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9" name="Полилиния: фигура 1328">
              <a:extLst>
                <a:ext uri="{FF2B5EF4-FFF2-40B4-BE49-F238E27FC236}">
                  <a16:creationId xmlns:a16="http://schemas.microsoft.com/office/drawing/2014/main" id="{C43BDF4F-AEF5-449F-AC69-F4D1C5896D22}"/>
                </a:ext>
              </a:extLst>
            </p:cNvPr>
            <p:cNvSpPr/>
            <p:nvPr/>
          </p:nvSpPr>
          <p:spPr>
            <a:xfrm>
              <a:off x="3732602" y="2356556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0" name="Полилиния: фигура 1329">
              <a:extLst>
                <a:ext uri="{FF2B5EF4-FFF2-40B4-BE49-F238E27FC236}">
                  <a16:creationId xmlns:a16="http://schemas.microsoft.com/office/drawing/2014/main" id="{9C8A5FE5-2CA4-4133-ABD1-B378E361E112}"/>
                </a:ext>
              </a:extLst>
            </p:cNvPr>
            <p:cNvSpPr/>
            <p:nvPr/>
          </p:nvSpPr>
          <p:spPr>
            <a:xfrm>
              <a:off x="3732602" y="2401921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1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433466" y="2220356"/>
            <a:ext cx="424471" cy="181565"/>
            <a:chOff x="4433466" y="2220356"/>
            <a:chExt cx="424471" cy="181565"/>
          </a:xfrm>
        </p:grpSpPr>
        <p:sp>
          <p:nvSpPr>
            <p:cNvPr id="1332" name="Полилиния: фигура 1331">
              <a:extLst>
                <a:ext uri="{FF2B5EF4-FFF2-40B4-BE49-F238E27FC236}">
                  <a16:creationId xmlns:a16="http://schemas.microsoft.com/office/drawing/2014/main" id="{DE182460-ABEE-4CE5-9C86-D2EB768017F7}"/>
                </a:ext>
              </a:extLst>
            </p:cNvPr>
            <p:cNvSpPr/>
            <p:nvPr/>
          </p:nvSpPr>
          <p:spPr>
            <a:xfrm>
              <a:off x="4433466" y="2220356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3" name="Полилиния: фигура 1332">
              <a:extLst>
                <a:ext uri="{FF2B5EF4-FFF2-40B4-BE49-F238E27FC236}">
                  <a16:creationId xmlns:a16="http://schemas.microsoft.com/office/drawing/2014/main" id="{358C66F6-F1DA-4EE8-8959-BD8836FCCC92}"/>
                </a:ext>
              </a:extLst>
            </p:cNvPr>
            <p:cNvSpPr/>
            <p:nvPr/>
          </p:nvSpPr>
          <p:spPr>
            <a:xfrm>
              <a:off x="4433466" y="2265824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4" name="Полилиния: фигура 1333">
              <a:extLst>
                <a:ext uri="{FF2B5EF4-FFF2-40B4-BE49-F238E27FC236}">
                  <a16:creationId xmlns:a16="http://schemas.microsoft.com/office/drawing/2014/main" id="{E2D41939-30FD-4D91-9D89-853FAF5B36A8}"/>
                </a:ext>
              </a:extLst>
            </p:cNvPr>
            <p:cNvSpPr/>
            <p:nvPr/>
          </p:nvSpPr>
          <p:spPr>
            <a:xfrm>
              <a:off x="4433466" y="2311190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5" name="Полилиния: фигура 1334">
              <a:extLst>
                <a:ext uri="{FF2B5EF4-FFF2-40B4-BE49-F238E27FC236}">
                  <a16:creationId xmlns:a16="http://schemas.microsoft.com/office/drawing/2014/main" id="{9500C690-9D8B-4FDE-A7A8-9E81F7608643}"/>
                </a:ext>
              </a:extLst>
            </p:cNvPr>
            <p:cNvSpPr/>
            <p:nvPr/>
          </p:nvSpPr>
          <p:spPr>
            <a:xfrm>
              <a:off x="4433466" y="2356556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6" name="Полилиния: фигура 1335">
              <a:extLst>
                <a:ext uri="{FF2B5EF4-FFF2-40B4-BE49-F238E27FC236}">
                  <a16:creationId xmlns:a16="http://schemas.microsoft.com/office/drawing/2014/main" id="{23857454-AD15-41DA-BF83-BEBD52C55509}"/>
                </a:ext>
              </a:extLst>
            </p:cNvPr>
            <p:cNvSpPr/>
            <p:nvPr/>
          </p:nvSpPr>
          <p:spPr>
            <a:xfrm>
              <a:off x="4433466" y="2401921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37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090817" y="1464090"/>
            <a:ext cx="424369" cy="45365"/>
            <a:chOff x="4090817" y="1464090"/>
            <a:chExt cx="424369" cy="45365"/>
          </a:xfrm>
        </p:grpSpPr>
        <p:sp>
          <p:nvSpPr>
            <p:cNvPr id="1338" name="Полилиния: фигура 1337">
              <a:extLst>
                <a:ext uri="{FF2B5EF4-FFF2-40B4-BE49-F238E27FC236}">
                  <a16:creationId xmlns:a16="http://schemas.microsoft.com/office/drawing/2014/main" id="{8443FF86-5CB8-4238-91FD-9212FEC40A46}"/>
                </a:ext>
              </a:extLst>
            </p:cNvPr>
            <p:cNvSpPr/>
            <p:nvPr/>
          </p:nvSpPr>
          <p:spPr>
            <a:xfrm>
              <a:off x="4090817" y="1464090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9" name="Полилиния: фигура 1338">
              <a:extLst>
                <a:ext uri="{FF2B5EF4-FFF2-40B4-BE49-F238E27FC236}">
                  <a16:creationId xmlns:a16="http://schemas.microsoft.com/office/drawing/2014/main" id="{31E6D547-208C-4F9B-ACDF-70B5014A46A0}"/>
                </a:ext>
              </a:extLst>
            </p:cNvPr>
            <p:cNvSpPr/>
            <p:nvPr/>
          </p:nvSpPr>
          <p:spPr>
            <a:xfrm>
              <a:off x="4090817" y="1509456"/>
              <a:ext cx="424369" cy="10240"/>
            </a:xfrm>
            <a:custGeom>
              <a:avLst/>
              <a:gdLst>
                <a:gd name="connsiteX0" fmla="*/ 0 w 424369"/>
                <a:gd name="connsiteY0" fmla="*/ 0 h 10240"/>
                <a:gd name="connsiteX1" fmla="*/ 424369 w 424369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369" h="10240">
                  <a:moveTo>
                    <a:pt x="0" y="0"/>
                  </a:moveTo>
                  <a:lnTo>
                    <a:pt x="424369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41" name="Полилиния: фигура 1340">
            <a:extLst>
              <a:ext uri="{FF2B5EF4-FFF2-40B4-BE49-F238E27FC236}">
                <a16:creationId xmlns:a16="http://schemas.microsoft.com/office/drawing/2014/main" id="{B9ABC469-4D52-4999-B7A4-048A74C16DCE}"/>
              </a:ext>
            </a:extLst>
          </p:cNvPr>
          <p:cNvSpPr/>
          <p:nvPr/>
        </p:nvSpPr>
        <p:spPr>
          <a:xfrm>
            <a:off x="2852425" y="2628238"/>
            <a:ext cx="2169055" cy="1636135"/>
          </a:xfrm>
          <a:custGeom>
            <a:avLst/>
            <a:gdLst>
              <a:gd name="connsiteX0" fmla="*/ 756061 w 2169055"/>
              <a:gd name="connsiteY0" fmla="*/ 1636136 h 1636135"/>
              <a:gd name="connsiteX1" fmla="*/ 2012272 w 2169055"/>
              <a:gd name="connsiteY1" fmla="*/ 1636136 h 1636135"/>
              <a:gd name="connsiteX2" fmla="*/ 2169055 w 2169055"/>
              <a:gd name="connsiteY2" fmla="*/ 1479660 h 1636135"/>
              <a:gd name="connsiteX3" fmla="*/ 2169055 w 2169055"/>
              <a:gd name="connsiteY3" fmla="*/ 156476 h 1636135"/>
              <a:gd name="connsiteX4" fmla="*/ 2012272 w 2169055"/>
              <a:gd name="connsiteY4" fmla="*/ 0 h 1636135"/>
              <a:gd name="connsiteX5" fmla="*/ 156783 w 2169055"/>
              <a:gd name="connsiteY5" fmla="*/ 0 h 1636135"/>
              <a:gd name="connsiteX6" fmla="*/ 0 w 2169055"/>
              <a:gd name="connsiteY6" fmla="*/ 156476 h 1636135"/>
              <a:gd name="connsiteX7" fmla="*/ 0 w 2169055"/>
              <a:gd name="connsiteY7" fmla="*/ 1028461 h 1636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69055" h="1636135">
                <a:moveTo>
                  <a:pt x="756061" y="1636136"/>
                </a:moveTo>
                <a:lnTo>
                  <a:pt x="2012272" y="1636136"/>
                </a:lnTo>
                <a:cubicBezTo>
                  <a:pt x="2098805" y="1636136"/>
                  <a:pt x="2169055" y="1566091"/>
                  <a:pt x="2169055" y="1479660"/>
                </a:cubicBezTo>
                <a:lnTo>
                  <a:pt x="2169055" y="156476"/>
                </a:lnTo>
                <a:cubicBezTo>
                  <a:pt x="2169055" y="70045"/>
                  <a:pt x="2098907" y="0"/>
                  <a:pt x="2012272" y="0"/>
                </a:cubicBezTo>
                <a:lnTo>
                  <a:pt x="156783" y="0"/>
                </a:lnTo>
                <a:cubicBezTo>
                  <a:pt x="70250" y="0"/>
                  <a:pt x="0" y="70045"/>
                  <a:pt x="0" y="156476"/>
                </a:cubicBezTo>
                <a:lnTo>
                  <a:pt x="0" y="1028461"/>
                </a:lnTo>
              </a:path>
            </a:pathLst>
          </a:custGeom>
          <a:noFill/>
          <a:ln w="10842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44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161383" y="3399865"/>
            <a:ext cx="298819" cy="434302"/>
            <a:chOff x="3161383" y="3399865"/>
            <a:chExt cx="298819" cy="434302"/>
          </a:xfrm>
        </p:grpSpPr>
        <p:sp>
          <p:nvSpPr>
            <p:cNvPr id="1345" name="Полилиния: фигура 1344">
              <a:extLst>
                <a:ext uri="{FF2B5EF4-FFF2-40B4-BE49-F238E27FC236}">
                  <a16:creationId xmlns:a16="http://schemas.microsoft.com/office/drawing/2014/main" id="{95258008-A2C6-4304-A1A1-9746E060F392}"/>
                </a:ext>
              </a:extLst>
            </p:cNvPr>
            <p:cNvSpPr/>
            <p:nvPr/>
          </p:nvSpPr>
          <p:spPr>
            <a:xfrm>
              <a:off x="3161383" y="3399865"/>
              <a:ext cx="298819" cy="434302"/>
            </a:xfrm>
            <a:custGeom>
              <a:avLst/>
              <a:gdLst>
                <a:gd name="connsiteX0" fmla="*/ 0 w 298819"/>
                <a:gd name="connsiteY0" fmla="*/ 0 h 434302"/>
                <a:gd name="connsiteX1" fmla="*/ 298820 w 298819"/>
                <a:gd name="connsiteY1" fmla="*/ 0 h 434302"/>
                <a:gd name="connsiteX2" fmla="*/ 298820 w 298819"/>
                <a:gd name="connsiteY2" fmla="*/ 434303 h 434302"/>
                <a:gd name="connsiteX3" fmla="*/ 0 w 298819"/>
                <a:gd name="connsiteY3" fmla="*/ 434303 h 43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34302">
                  <a:moveTo>
                    <a:pt x="0" y="0"/>
                  </a:moveTo>
                  <a:lnTo>
                    <a:pt x="298820" y="0"/>
                  </a:lnTo>
                  <a:lnTo>
                    <a:pt x="298820" y="434303"/>
                  </a:lnTo>
                  <a:lnTo>
                    <a:pt x="0" y="434303"/>
                  </a:lnTo>
                  <a:close/>
                </a:path>
              </a:pathLst>
            </a:custGeom>
            <a:solidFill>
              <a:srgbClr val="92E3A9"/>
            </a:solidFill>
            <a:ln w="11865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6" name="Полилиния: фигура 1345">
              <a:extLst>
                <a:ext uri="{FF2B5EF4-FFF2-40B4-BE49-F238E27FC236}">
                  <a16:creationId xmlns:a16="http://schemas.microsoft.com/office/drawing/2014/main" id="{BD72E97D-27B8-4E7B-8B73-53B395AF1682}"/>
                </a:ext>
              </a:extLst>
            </p:cNvPr>
            <p:cNvSpPr/>
            <p:nvPr/>
          </p:nvSpPr>
          <p:spPr>
            <a:xfrm>
              <a:off x="3161383" y="3399865"/>
              <a:ext cx="298819" cy="434302"/>
            </a:xfrm>
            <a:custGeom>
              <a:avLst/>
              <a:gdLst>
                <a:gd name="connsiteX0" fmla="*/ 0 w 298819"/>
                <a:gd name="connsiteY0" fmla="*/ 0 h 434302"/>
                <a:gd name="connsiteX1" fmla="*/ 298820 w 298819"/>
                <a:gd name="connsiteY1" fmla="*/ 0 h 434302"/>
                <a:gd name="connsiteX2" fmla="*/ 298820 w 298819"/>
                <a:gd name="connsiteY2" fmla="*/ 434303 h 434302"/>
                <a:gd name="connsiteX3" fmla="*/ 0 w 298819"/>
                <a:gd name="connsiteY3" fmla="*/ 434303 h 43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34302">
                  <a:moveTo>
                    <a:pt x="0" y="0"/>
                  </a:moveTo>
                  <a:lnTo>
                    <a:pt x="298820" y="0"/>
                  </a:lnTo>
                  <a:lnTo>
                    <a:pt x="298820" y="434303"/>
                  </a:lnTo>
                  <a:lnTo>
                    <a:pt x="0" y="434303"/>
                  </a:lnTo>
                  <a:close/>
                </a:path>
              </a:pathLst>
            </a:custGeom>
            <a:solidFill>
              <a:srgbClr val="006D39"/>
            </a:solidFill>
            <a:ln w="1022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47" name="Полилиния: фигура 1346">
            <a:extLst>
              <a:ext uri="{FF2B5EF4-FFF2-40B4-BE49-F238E27FC236}">
                <a16:creationId xmlns:a16="http://schemas.microsoft.com/office/drawing/2014/main" id="{A7308E03-7167-4219-AB93-7A1C2842B9FE}"/>
              </a:ext>
            </a:extLst>
          </p:cNvPr>
          <p:cNvSpPr/>
          <p:nvPr/>
        </p:nvSpPr>
        <p:spPr>
          <a:xfrm>
            <a:off x="3161383" y="3399865"/>
            <a:ext cx="298819" cy="434302"/>
          </a:xfrm>
          <a:custGeom>
            <a:avLst/>
            <a:gdLst>
              <a:gd name="connsiteX0" fmla="*/ 0 w 298819"/>
              <a:gd name="connsiteY0" fmla="*/ 0 h 434302"/>
              <a:gd name="connsiteX1" fmla="*/ 298820 w 298819"/>
              <a:gd name="connsiteY1" fmla="*/ 0 h 434302"/>
              <a:gd name="connsiteX2" fmla="*/ 298820 w 298819"/>
              <a:gd name="connsiteY2" fmla="*/ 434303 h 434302"/>
              <a:gd name="connsiteX3" fmla="*/ 0 w 298819"/>
              <a:gd name="connsiteY3" fmla="*/ 434303 h 434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434302">
                <a:moveTo>
                  <a:pt x="0" y="0"/>
                </a:moveTo>
                <a:lnTo>
                  <a:pt x="298820" y="0"/>
                </a:lnTo>
                <a:lnTo>
                  <a:pt x="298820" y="434303"/>
                </a:lnTo>
                <a:lnTo>
                  <a:pt x="0" y="434303"/>
                </a:lnTo>
                <a:close/>
              </a:path>
            </a:pathLst>
          </a:custGeom>
          <a:noFill/>
          <a:ln w="11865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48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576331" y="3182765"/>
            <a:ext cx="298819" cy="480794"/>
            <a:chOff x="3576331" y="3182765"/>
            <a:chExt cx="298819" cy="480794"/>
          </a:xfrm>
        </p:grpSpPr>
        <p:sp>
          <p:nvSpPr>
            <p:cNvPr id="1349" name="Полилиния: фигура 1348">
              <a:extLst>
                <a:ext uri="{FF2B5EF4-FFF2-40B4-BE49-F238E27FC236}">
                  <a16:creationId xmlns:a16="http://schemas.microsoft.com/office/drawing/2014/main" id="{883DB198-6979-49FB-829F-F1C63F4B76BF}"/>
                </a:ext>
              </a:extLst>
            </p:cNvPr>
            <p:cNvSpPr/>
            <p:nvPr/>
          </p:nvSpPr>
          <p:spPr>
            <a:xfrm>
              <a:off x="3576331" y="3182765"/>
              <a:ext cx="298819" cy="480794"/>
            </a:xfrm>
            <a:custGeom>
              <a:avLst/>
              <a:gdLst>
                <a:gd name="connsiteX0" fmla="*/ 0 w 298819"/>
                <a:gd name="connsiteY0" fmla="*/ 0 h 480794"/>
                <a:gd name="connsiteX1" fmla="*/ 298820 w 298819"/>
                <a:gd name="connsiteY1" fmla="*/ 0 h 480794"/>
                <a:gd name="connsiteX2" fmla="*/ 298820 w 298819"/>
                <a:gd name="connsiteY2" fmla="*/ 480795 h 480794"/>
                <a:gd name="connsiteX3" fmla="*/ 0 w 298819"/>
                <a:gd name="connsiteY3" fmla="*/ 480795 h 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80794">
                  <a:moveTo>
                    <a:pt x="0" y="0"/>
                  </a:moveTo>
                  <a:lnTo>
                    <a:pt x="298820" y="0"/>
                  </a:lnTo>
                  <a:lnTo>
                    <a:pt x="298820" y="480795"/>
                  </a:lnTo>
                  <a:lnTo>
                    <a:pt x="0" y="480795"/>
                  </a:lnTo>
                  <a:close/>
                </a:path>
              </a:pathLst>
            </a:custGeom>
            <a:solidFill>
              <a:srgbClr val="92E3A9"/>
            </a:solidFill>
            <a:ln w="11865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0" name="Полилиния: фигура 1349">
              <a:extLst>
                <a:ext uri="{FF2B5EF4-FFF2-40B4-BE49-F238E27FC236}">
                  <a16:creationId xmlns:a16="http://schemas.microsoft.com/office/drawing/2014/main" id="{E87326F5-B115-45C1-AF1E-C34BD1BF0300}"/>
                </a:ext>
              </a:extLst>
            </p:cNvPr>
            <p:cNvSpPr/>
            <p:nvPr/>
          </p:nvSpPr>
          <p:spPr>
            <a:xfrm>
              <a:off x="3576331" y="3182765"/>
              <a:ext cx="298819" cy="480794"/>
            </a:xfrm>
            <a:custGeom>
              <a:avLst/>
              <a:gdLst>
                <a:gd name="connsiteX0" fmla="*/ 0 w 298819"/>
                <a:gd name="connsiteY0" fmla="*/ 0 h 480794"/>
                <a:gd name="connsiteX1" fmla="*/ 298820 w 298819"/>
                <a:gd name="connsiteY1" fmla="*/ 0 h 480794"/>
                <a:gd name="connsiteX2" fmla="*/ 298820 w 298819"/>
                <a:gd name="connsiteY2" fmla="*/ 480795 h 480794"/>
                <a:gd name="connsiteX3" fmla="*/ 0 w 298819"/>
                <a:gd name="connsiteY3" fmla="*/ 480795 h 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80794">
                  <a:moveTo>
                    <a:pt x="0" y="0"/>
                  </a:moveTo>
                  <a:lnTo>
                    <a:pt x="298820" y="0"/>
                  </a:lnTo>
                  <a:lnTo>
                    <a:pt x="298820" y="480795"/>
                  </a:lnTo>
                  <a:lnTo>
                    <a:pt x="0" y="480795"/>
                  </a:lnTo>
                  <a:close/>
                </a:path>
              </a:pathLst>
            </a:custGeom>
            <a:solidFill>
              <a:srgbClr val="006D39"/>
            </a:solidFill>
            <a:ln w="1022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51" name="Полилиния: фигура 1350">
            <a:extLst>
              <a:ext uri="{FF2B5EF4-FFF2-40B4-BE49-F238E27FC236}">
                <a16:creationId xmlns:a16="http://schemas.microsoft.com/office/drawing/2014/main" id="{1963FCD7-78EF-4F48-8D3E-F8A15735C991}"/>
              </a:ext>
            </a:extLst>
          </p:cNvPr>
          <p:cNvSpPr/>
          <p:nvPr/>
        </p:nvSpPr>
        <p:spPr>
          <a:xfrm>
            <a:off x="3576331" y="3182765"/>
            <a:ext cx="298819" cy="480794"/>
          </a:xfrm>
          <a:custGeom>
            <a:avLst/>
            <a:gdLst>
              <a:gd name="connsiteX0" fmla="*/ 0 w 298819"/>
              <a:gd name="connsiteY0" fmla="*/ 0 h 480794"/>
              <a:gd name="connsiteX1" fmla="*/ 298820 w 298819"/>
              <a:gd name="connsiteY1" fmla="*/ 0 h 480794"/>
              <a:gd name="connsiteX2" fmla="*/ 298820 w 298819"/>
              <a:gd name="connsiteY2" fmla="*/ 480795 h 480794"/>
              <a:gd name="connsiteX3" fmla="*/ 0 w 298819"/>
              <a:gd name="connsiteY3" fmla="*/ 480795 h 480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480794">
                <a:moveTo>
                  <a:pt x="0" y="0"/>
                </a:moveTo>
                <a:lnTo>
                  <a:pt x="298820" y="0"/>
                </a:lnTo>
                <a:lnTo>
                  <a:pt x="298820" y="480795"/>
                </a:lnTo>
                <a:lnTo>
                  <a:pt x="0" y="480795"/>
                </a:lnTo>
                <a:close/>
              </a:path>
            </a:pathLst>
          </a:custGeom>
          <a:noFill/>
          <a:ln w="11865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52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991278" y="3004374"/>
            <a:ext cx="298819" cy="317969"/>
            <a:chOff x="3991278" y="3004374"/>
            <a:chExt cx="298819" cy="317969"/>
          </a:xfrm>
        </p:grpSpPr>
        <p:sp>
          <p:nvSpPr>
            <p:cNvPr id="1353" name="Полилиния: фигура 1352">
              <a:extLst>
                <a:ext uri="{FF2B5EF4-FFF2-40B4-BE49-F238E27FC236}">
                  <a16:creationId xmlns:a16="http://schemas.microsoft.com/office/drawing/2014/main" id="{24F6AAD5-E12F-4836-A1FF-64EF424657A9}"/>
                </a:ext>
              </a:extLst>
            </p:cNvPr>
            <p:cNvSpPr/>
            <p:nvPr/>
          </p:nvSpPr>
          <p:spPr>
            <a:xfrm>
              <a:off x="3991278" y="3004374"/>
              <a:ext cx="298819" cy="317969"/>
            </a:xfrm>
            <a:custGeom>
              <a:avLst/>
              <a:gdLst>
                <a:gd name="connsiteX0" fmla="*/ 0 w 298819"/>
                <a:gd name="connsiteY0" fmla="*/ 0 h 317969"/>
                <a:gd name="connsiteX1" fmla="*/ 298820 w 298819"/>
                <a:gd name="connsiteY1" fmla="*/ 0 h 317969"/>
                <a:gd name="connsiteX2" fmla="*/ 298820 w 298819"/>
                <a:gd name="connsiteY2" fmla="*/ 317970 h 317969"/>
                <a:gd name="connsiteX3" fmla="*/ 0 w 298819"/>
                <a:gd name="connsiteY3" fmla="*/ 317970 h 31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317969">
                  <a:moveTo>
                    <a:pt x="0" y="0"/>
                  </a:moveTo>
                  <a:lnTo>
                    <a:pt x="298820" y="0"/>
                  </a:lnTo>
                  <a:lnTo>
                    <a:pt x="298820" y="317970"/>
                  </a:lnTo>
                  <a:lnTo>
                    <a:pt x="0" y="317970"/>
                  </a:lnTo>
                  <a:close/>
                </a:path>
              </a:pathLst>
            </a:custGeom>
            <a:solidFill>
              <a:srgbClr val="92E3A9"/>
            </a:solidFill>
            <a:ln w="11865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4" name="Полилиния: фигура 1353">
              <a:extLst>
                <a:ext uri="{FF2B5EF4-FFF2-40B4-BE49-F238E27FC236}">
                  <a16:creationId xmlns:a16="http://schemas.microsoft.com/office/drawing/2014/main" id="{A93266DD-8A3E-4997-A1BB-96D921E0AA2A}"/>
                </a:ext>
              </a:extLst>
            </p:cNvPr>
            <p:cNvSpPr/>
            <p:nvPr/>
          </p:nvSpPr>
          <p:spPr>
            <a:xfrm>
              <a:off x="3991278" y="3004374"/>
              <a:ext cx="298819" cy="317969"/>
            </a:xfrm>
            <a:custGeom>
              <a:avLst/>
              <a:gdLst>
                <a:gd name="connsiteX0" fmla="*/ 0 w 298819"/>
                <a:gd name="connsiteY0" fmla="*/ 0 h 317969"/>
                <a:gd name="connsiteX1" fmla="*/ 298820 w 298819"/>
                <a:gd name="connsiteY1" fmla="*/ 0 h 317969"/>
                <a:gd name="connsiteX2" fmla="*/ 298820 w 298819"/>
                <a:gd name="connsiteY2" fmla="*/ 317970 h 317969"/>
                <a:gd name="connsiteX3" fmla="*/ 0 w 298819"/>
                <a:gd name="connsiteY3" fmla="*/ 317970 h 31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317969">
                  <a:moveTo>
                    <a:pt x="0" y="0"/>
                  </a:moveTo>
                  <a:lnTo>
                    <a:pt x="298820" y="0"/>
                  </a:lnTo>
                  <a:lnTo>
                    <a:pt x="298820" y="317970"/>
                  </a:lnTo>
                  <a:lnTo>
                    <a:pt x="0" y="317970"/>
                  </a:lnTo>
                  <a:close/>
                </a:path>
              </a:pathLst>
            </a:custGeom>
            <a:solidFill>
              <a:srgbClr val="006D39"/>
            </a:solidFill>
            <a:ln w="1022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55" name="Полилиния: фигура 1354">
            <a:extLst>
              <a:ext uri="{FF2B5EF4-FFF2-40B4-BE49-F238E27FC236}">
                <a16:creationId xmlns:a16="http://schemas.microsoft.com/office/drawing/2014/main" id="{96831D10-7F05-412B-99E1-5BFD85EBE63D}"/>
              </a:ext>
            </a:extLst>
          </p:cNvPr>
          <p:cNvSpPr/>
          <p:nvPr/>
        </p:nvSpPr>
        <p:spPr>
          <a:xfrm>
            <a:off x="3991278" y="3004374"/>
            <a:ext cx="298819" cy="317969"/>
          </a:xfrm>
          <a:custGeom>
            <a:avLst/>
            <a:gdLst>
              <a:gd name="connsiteX0" fmla="*/ 0 w 298819"/>
              <a:gd name="connsiteY0" fmla="*/ 0 h 317969"/>
              <a:gd name="connsiteX1" fmla="*/ 298820 w 298819"/>
              <a:gd name="connsiteY1" fmla="*/ 0 h 317969"/>
              <a:gd name="connsiteX2" fmla="*/ 298820 w 298819"/>
              <a:gd name="connsiteY2" fmla="*/ 317970 h 317969"/>
              <a:gd name="connsiteX3" fmla="*/ 0 w 298819"/>
              <a:gd name="connsiteY3" fmla="*/ 317970 h 317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317969">
                <a:moveTo>
                  <a:pt x="0" y="0"/>
                </a:moveTo>
                <a:lnTo>
                  <a:pt x="298820" y="0"/>
                </a:lnTo>
                <a:lnTo>
                  <a:pt x="298820" y="317970"/>
                </a:lnTo>
                <a:lnTo>
                  <a:pt x="0" y="317970"/>
                </a:lnTo>
                <a:close/>
              </a:path>
            </a:pathLst>
          </a:custGeom>
          <a:noFill/>
          <a:ln w="11865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57" name="Полилиния: фигура 1356">
            <a:extLst>
              <a:ext uri="{FF2B5EF4-FFF2-40B4-BE49-F238E27FC236}">
                <a16:creationId xmlns:a16="http://schemas.microsoft.com/office/drawing/2014/main" id="{A459C436-90C2-4C00-825E-14477C66B365}"/>
              </a:ext>
            </a:extLst>
          </p:cNvPr>
          <p:cNvSpPr/>
          <p:nvPr/>
        </p:nvSpPr>
        <p:spPr>
          <a:xfrm>
            <a:off x="3161383" y="3834065"/>
            <a:ext cx="298819" cy="178390"/>
          </a:xfrm>
          <a:custGeom>
            <a:avLst/>
            <a:gdLst>
              <a:gd name="connsiteX0" fmla="*/ 0 w 298819"/>
              <a:gd name="connsiteY0" fmla="*/ 0 h 178390"/>
              <a:gd name="connsiteX1" fmla="*/ 298820 w 298819"/>
              <a:gd name="connsiteY1" fmla="*/ 0 h 178390"/>
              <a:gd name="connsiteX2" fmla="*/ 298820 w 298819"/>
              <a:gd name="connsiteY2" fmla="*/ 178391 h 178390"/>
              <a:gd name="connsiteX3" fmla="*/ 0 w 298819"/>
              <a:gd name="connsiteY3" fmla="*/ 178391 h 178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178390">
                <a:moveTo>
                  <a:pt x="0" y="0"/>
                </a:moveTo>
                <a:lnTo>
                  <a:pt x="298820" y="0"/>
                </a:lnTo>
                <a:lnTo>
                  <a:pt x="298820" y="178391"/>
                </a:lnTo>
                <a:lnTo>
                  <a:pt x="0" y="178391"/>
                </a:lnTo>
                <a:close/>
              </a:path>
            </a:pathLst>
          </a:custGeom>
          <a:solidFill>
            <a:srgbClr val="263238"/>
          </a:solidFill>
          <a:ln w="11865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58" name="Полилиния: фигура 1357">
            <a:extLst>
              <a:ext uri="{FF2B5EF4-FFF2-40B4-BE49-F238E27FC236}">
                <a16:creationId xmlns:a16="http://schemas.microsoft.com/office/drawing/2014/main" id="{F4E7A07E-E132-4E1D-84EF-3F902D2B456A}"/>
              </a:ext>
            </a:extLst>
          </p:cNvPr>
          <p:cNvSpPr/>
          <p:nvPr/>
        </p:nvSpPr>
        <p:spPr>
          <a:xfrm>
            <a:off x="3576331" y="3663560"/>
            <a:ext cx="298819" cy="348998"/>
          </a:xfrm>
          <a:custGeom>
            <a:avLst/>
            <a:gdLst>
              <a:gd name="connsiteX0" fmla="*/ 0 w 298819"/>
              <a:gd name="connsiteY0" fmla="*/ 0 h 348998"/>
              <a:gd name="connsiteX1" fmla="*/ 298820 w 298819"/>
              <a:gd name="connsiteY1" fmla="*/ 0 h 348998"/>
              <a:gd name="connsiteX2" fmla="*/ 298820 w 298819"/>
              <a:gd name="connsiteY2" fmla="*/ 348998 h 348998"/>
              <a:gd name="connsiteX3" fmla="*/ 0 w 298819"/>
              <a:gd name="connsiteY3" fmla="*/ 348998 h 3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348998">
                <a:moveTo>
                  <a:pt x="0" y="0"/>
                </a:moveTo>
                <a:lnTo>
                  <a:pt x="298820" y="0"/>
                </a:lnTo>
                <a:lnTo>
                  <a:pt x="298820" y="348998"/>
                </a:lnTo>
                <a:lnTo>
                  <a:pt x="0" y="348998"/>
                </a:lnTo>
                <a:close/>
              </a:path>
            </a:pathLst>
          </a:custGeom>
          <a:solidFill>
            <a:srgbClr val="263238"/>
          </a:solidFill>
          <a:ln w="11865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59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381751" y="3182765"/>
            <a:ext cx="298819" cy="480794"/>
            <a:chOff x="4381751" y="3182765"/>
            <a:chExt cx="298819" cy="480794"/>
          </a:xfrm>
        </p:grpSpPr>
        <p:sp>
          <p:nvSpPr>
            <p:cNvPr id="1360" name="Полилиния: фигура 1359">
              <a:extLst>
                <a:ext uri="{FF2B5EF4-FFF2-40B4-BE49-F238E27FC236}">
                  <a16:creationId xmlns:a16="http://schemas.microsoft.com/office/drawing/2014/main" id="{610E6788-3374-4BEC-A0F5-0B089462CBDB}"/>
                </a:ext>
              </a:extLst>
            </p:cNvPr>
            <p:cNvSpPr/>
            <p:nvPr/>
          </p:nvSpPr>
          <p:spPr>
            <a:xfrm>
              <a:off x="4381751" y="3182765"/>
              <a:ext cx="298819" cy="480794"/>
            </a:xfrm>
            <a:custGeom>
              <a:avLst/>
              <a:gdLst>
                <a:gd name="connsiteX0" fmla="*/ 0 w 298819"/>
                <a:gd name="connsiteY0" fmla="*/ 0 h 480794"/>
                <a:gd name="connsiteX1" fmla="*/ 298820 w 298819"/>
                <a:gd name="connsiteY1" fmla="*/ 0 h 480794"/>
                <a:gd name="connsiteX2" fmla="*/ 298820 w 298819"/>
                <a:gd name="connsiteY2" fmla="*/ 480795 h 480794"/>
                <a:gd name="connsiteX3" fmla="*/ 0 w 298819"/>
                <a:gd name="connsiteY3" fmla="*/ 480795 h 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80794">
                  <a:moveTo>
                    <a:pt x="0" y="0"/>
                  </a:moveTo>
                  <a:lnTo>
                    <a:pt x="298820" y="0"/>
                  </a:lnTo>
                  <a:lnTo>
                    <a:pt x="298820" y="480795"/>
                  </a:lnTo>
                  <a:lnTo>
                    <a:pt x="0" y="480795"/>
                  </a:lnTo>
                  <a:close/>
                </a:path>
              </a:pathLst>
            </a:custGeom>
            <a:solidFill>
              <a:srgbClr val="92E3A9"/>
            </a:solidFill>
            <a:ln w="11865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1" name="Полилиния: фигура 1360">
              <a:extLst>
                <a:ext uri="{FF2B5EF4-FFF2-40B4-BE49-F238E27FC236}">
                  <a16:creationId xmlns:a16="http://schemas.microsoft.com/office/drawing/2014/main" id="{696F6898-3E70-4F77-BDAD-823BFCA76FCF}"/>
                </a:ext>
              </a:extLst>
            </p:cNvPr>
            <p:cNvSpPr/>
            <p:nvPr/>
          </p:nvSpPr>
          <p:spPr>
            <a:xfrm>
              <a:off x="4381751" y="3182765"/>
              <a:ext cx="298819" cy="480794"/>
            </a:xfrm>
            <a:custGeom>
              <a:avLst/>
              <a:gdLst>
                <a:gd name="connsiteX0" fmla="*/ 0 w 298819"/>
                <a:gd name="connsiteY0" fmla="*/ 0 h 480794"/>
                <a:gd name="connsiteX1" fmla="*/ 298820 w 298819"/>
                <a:gd name="connsiteY1" fmla="*/ 0 h 480794"/>
                <a:gd name="connsiteX2" fmla="*/ 298820 w 298819"/>
                <a:gd name="connsiteY2" fmla="*/ 480795 h 480794"/>
                <a:gd name="connsiteX3" fmla="*/ 0 w 298819"/>
                <a:gd name="connsiteY3" fmla="*/ 480795 h 48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19" h="480794">
                  <a:moveTo>
                    <a:pt x="0" y="0"/>
                  </a:moveTo>
                  <a:lnTo>
                    <a:pt x="298820" y="0"/>
                  </a:lnTo>
                  <a:lnTo>
                    <a:pt x="298820" y="480795"/>
                  </a:lnTo>
                  <a:lnTo>
                    <a:pt x="0" y="480795"/>
                  </a:lnTo>
                  <a:close/>
                </a:path>
              </a:pathLst>
            </a:custGeom>
            <a:solidFill>
              <a:srgbClr val="006D39"/>
            </a:solidFill>
            <a:ln w="1022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62" name="Полилиния: фигура 1361">
            <a:extLst>
              <a:ext uri="{FF2B5EF4-FFF2-40B4-BE49-F238E27FC236}">
                <a16:creationId xmlns:a16="http://schemas.microsoft.com/office/drawing/2014/main" id="{77DFE758-C211-48EB-B844-036B240F314F}"/>
              </a:ext>
            </a:extLst>
          </p:cNvPr>
          <p:cNvSpPr/>
          <p:nvPr/>
        </p:nvSpPr>
        <p:spPr>
          <a:xfrm>
            <a:off x="4381751" y="3182765"/>
            <a:ext cx="298819" cy="480794"/>
          </a:xfrm>
          <a:custGeom>
            <a:avLst/>
            <a:gdLst>
              <a:gd name="connsiteX0" fmla="*/ 0 w 298819"/>
              <a:gd name="connsiteY0" fmla="*/ 0 h 480794"/>
              <a:gd name="connsiteX1" fmla="*/ 298820 w 298819"/>
              <a:gd name="connsiteY1" fmla="*/ 0 h 480794"/>
              <a:gd name="connsiteX2" fmla="*/ 298820 w 298819"/>
              <a:gd name="connsiteY2" fmla="*/ 480795 h 480794"/>
              <a:gd name="connsiteX3" fmla="*/ 0 w 298819"/>
              <a:gd name="connsiteY3" fmla="*/ 480795 h 480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480794">
                <a:moveTo>
                  <a:pt x="0" y="0"/>
                </a:moveTo>
                <a:lnTo>
                  <a:pt x="298820" y="0"/>
                </a:lnTo>
                <a:lnTo>
                  <a:pt x="298820" y="480795"/>
                </a:lnTo>
                <a:lnTo>
                  <a:pt x="0" y="480795"/>
                </a:lnTo>
                <a:close/>
              </a:path>
            </a:pathLst>
          </a:custGeom>
          <a:noFill/>
          <a:ln w="11865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63" name="Полилиния: фигура 1362">
            <a:extLst>
              <a:ext uri="{FF2B5EF4-FFF2-40B4-BE49-F238E27FC236}">
                <a16:creationId xmlns:a16="http://schemas.microsoft.com/office/drawing/2014/main" id="{3E469D6C-6069-400A-9F9A-9964A3B7D602}"/>
              </a:ext>
            </a:extLst>
          </p:cNvPr>
          <p:cNvSpPr/>
          <p:nvPr/>
        </p:nvSpPr>
        <p:spPr>
          <a:xfrm>
            <a:off x="4381751" y="3663560"/>
            <a:ext cx="298819" cy="348998"/>
          </a:xfrm>
          <a:custGeom>
            <a:avLst/>
            <a:gdLst>
              <a:gd name="connsiteX0" fmla="*/ 0 w 298819"/>
              <a:gd name="connsiteY0" fmla="*/ 0 h 348998"/>
              <a:gd name="connsiteX1" fmla="*/ 298820 w 298819"/>
              <a:gd name="connsiteY1" fmla="*/ 0 h 348998"/>
              <a:gd name="connsiteX2" fmla="*/ 298820 w 298819"/>
              <a:gd name="connsiteY2" fmla="*/ 348998 h 348998"/>
              <a:gd name="connsiteX3" fmla="*/ 0 w 298819"/>
              <a:gd name="connsiteY3" fmla="*/ 348998 h 348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348998">
                <a:moveTo>
                  <a:pt x="0" y="0"/>
                </a:moveTo>
                <a:lnTo>
                  <a:pt x="298820" y="0"/>
                </a:lnTo>
                <a:lnTo>
                  <a:pt x="298820" y="348998"/>
                </a:lnTo>
                <a:lnTo>
                  <a:pt x="0" y="348998"/>
                </a:lnTo>
                <a:close/>
              </a:path>
            </a:pathLst>
          </a:custGeom>
          <a:solidFill>
            <a:srgbClr val="263238"/>
          </a:solidFill>
          <a:ln w="11865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64" name="Полилиния: фигура 1363">
            <a:extLst>
              <a:ext uri="{FF2B5EF4-FFF2-40B4-BE49-F238E27FC236}">
                <a16:creationId xmlns:a16="http://schemas.microsoft.com/office/drawing/2014/main" id="{966DB4C6-16DB-4AE4-857A-DCC53993F038}"/>
              </a:ext>
            </a:extLst>
          </p:cNvPr>
          <p:cNvSpPr/>
          <p:nvPr/>
        </p:nvSpPr>
        <p:spPr>
          <a:xfrm>
            <a:off x="3991278" y="3322344"/>
            <a:ext cx="298819" cy="690214"/>
          </a:xfrm>
          <a:custGeom>
            <a:avLst/>
            <a:gdLst>
              <a:gd name="connsiteX0" fmla="*/ 0 w 298819"/>
              <a:gd name="connsiteY0" fmla="*/ 0 h 690214"/>
              <a:gd name="connsiteX1" fmla="*/ 298820 w 298819"/>
              <a:gd name="connsiteY1" fmla="*/ 0 h 690214"/>
              <a:gd name="connsiteX2" fmla="*/ 298820 w 298819"/>
              <a:gd name="connsiteY2" fmla="*/ 690215 h 690214"/>
              <a:gd name="connsiteX3" fmla="*/ 0 w 298819"/>
              <a:gd name="connsiteY3" fmla="*/ 690215 h 690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819" h="690214">
                <a:moveTo>
                  <a:pt x="0" y="0"/>
                </a:moveTo>
                <a:lnTo>
                  <a:pt x="298820" y="0"/>
                </a:lnTo>
                <a:lnTo>
                  <a:pt x="298820" y="690215"/>
                </a:lnTo>
                <a:lnTo>
                  <a:pt x="0" y="690215"/>
                </a:lnTo>
                <a:close/>
              </a:path>
            </a:pathLst>
          </a:custGeom>
          <a:solidFill>
            <a:srgbClr val="263238"/>
          </a:solidFill>
          <a:ln w="11865" cap="rnd">
            <a:solidFill>
              <a:srgbClr val="263238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65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604697" y="3005091"/>
            <a:ext cx="250893" cy="149205"/>
            <a:chOff x="3604697" y="3005091"/>
            <a:chExt cx="250893" cy="149205"/>
          </a:xfrm>
        </p:grpSpPr>
        <p:sp>
          <p:nvSpPr>
            <p:cNvPr id="1366" name="Полилиния: фигура 1365">
              <a:extLst>
                <a:ext uri="{FF2B5EF4-FFF2-40B4-BE49-F238E27FC236}">
                  <a16:creationId xmlns:a16="http://schemas.microsoft.com/office/drawing/2014/main" id="{B4A6512B-C9CC-45B2-94C9-7ABCE6BA56F2}"/>
                </a:ext>
              </a:extLst>
            </p:cNvPr>
            <p:cNvSpPr/>
            <p:nvPr/>
          </p:nvSpPr>
          <p:spPr>
            <a:xfrm>
              <a:off x="3604697" y="300509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92E3A9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7" name="Полилиния: фигура 1366">
              <a:extLst>
                <a:ext uri="{FF2B5EF4-FFF2-40B4-BE49-F238E27FC236}">
                  <a16:creationId xmlns:a16="http://schemas.microsoft.com/office/drawing/2014/main" id="{BFF027B1-D626-4839-8A22-4111EE0353BD}"/>
                </a:ext>
              </a:extLst>
            </p:cNvPr>
            <p:cNvSpPr/>
            <p:nvPr/>
          </p:nvSpPr>
          <p:spPr>
            <a:xfrm>
              <a:off x="3604697" y="300509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8" name="Полилиния: фигура 1367">
              <a:extLst>
                <a:ext uri="{FF2B5EF4-FFF2-40B4-BE49-F238E27FC236}">
                  <a16:creationId xmlns:a16="http://schemas.microsoft.com/office/drawing/2014/main" id="{83F72043-93A7-4D8C-85FF-FD1543375327}"/>
                </a:ext>
              </a:extLst>
            </p:cNvPr>
            <p:cNvSpPr/>
            <p:nvPr/>
          </p:nvSpPr>
          <p:spPr>
            <a:xfrm>
              <a:off x="3604697" y="300509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noFill/>
            <a:ln w="1196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69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185346" y="3227721"/>
            <a:ext cx="250893" cy="149205"/>
            <a:chOff x="3185346" y="3227721"/>
            <a:chExt cx="250893" cy="149205"/>
          </a:xfrm>
        </p:grpSpPr>
        <p:sp>
          <p:nvSpPr>
            <p:cNvPr id="1370" name="Полилиния: фигура 1369">
              <a:extLst>
                <a:ext uri="{FF2B5EF4-FFF2-40B4-BE49-F238E27FC236}">
                  <a16:creationId xmlns:a16="http://schemas.microsoft.com/office/drawing/2014/main" id="{4C5E1BB9-5D6C-43C8-8577-F58139243E75}"/>
                </a:ext>
              </a:extLst>
            </p:cNvPr>
            <p:cNvSpPr/>
            <p:nvPr/>
          </p:nvSpPr>
          <p:spPr>
            <a:xfrm>
              <a:off x="3185346" y="322772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4 h 149205"/>
                <a:gd name="connsiteX5" fmla="*/ 101279 w 250893"/>
                <a:gd name="connsiteY5" fmla="*/ 107424 h 149205"/>
                <a:gd name="connsiteX6" fmla="*/ 125447 w 250893"/>
                <a:gd name="connsiteY6" fmla="*/ 149205 h 149205"/>
                <a:gd name="connsiteX7" fmla="*/ 149615 w 250893"/>
                <a:gd name="connsiteY7" fmla="*/ 107424 h 149205"/>
                <a:gd name="connsiteX8" fmla="*/ 218636 w 250893"/>
                <a:gd name="connsiteY8" fmla="*/ 107424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4"/>
                    <a:pt x="32258" y="107424"/>
                  </a:cubicBezTo>
                  <a:lnTo>
                    <a:pt x="101279" y="107424"/>
                  </a:lnTo>
                  <a:lnTo>
                    <a:pt x="125447" y="149205"/>
                  </a:lnTo>
                  <a:lnTo>
                    <a:pt x="149615" y="107424"/>
                  </a:lnTo>
                  <a:lnTo>
                    <a:pt x="218636" y="107424"/>
                  </a:lnTo>
                  <a:cubicBezTo>
                    <a:pt x="236455" y="107424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92E3A9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1" name="Полилиния: фигура 1370">
              <a:extLst>
                <a:ext uri="{FF2B5EF4-FFF2-40B4-BE49-F238E27FC236}">
                  <a16:creationId xmlns:a16="http://schemas.microsoft.com/office/drawing/2014/main" id="{B5AE3DBD-8109-4459-9343-A88975C186B2}"/>
                </a:ext>
              </a:extLst>
            </p:cNvPr>
            <p:cNvSpPr/>
            <p:nvPr/>
          </p:nvSpPr>
          <p:spPr>
            <a:xfrm>
              <a:off x="3185346" y="322772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4 h 149205"/>
                <a:gd name="connsiteX5" fmla="*/ 101279 w 250893"/>
                <a:gd name="connsiteY5" fmla="*/ 107424 h 149205"/>
                <a:gd name="connsiteX6" fmla="*/ 125447 w 250893"/>
                <a:gd name="connsiteY6" fmla="*/ 149205 h 149205"/>
                <a:gd name="connsiteX7" fmla="*/ 149615 w 250893"/>
                <a:gd name="connsiteY7" fmla="*/ 107424 h 149205"/>
                <a:gd name="connsiteX8" fmla="*/ 218636 w 250893"/>
                <a:gd name="connsiteY8" fmla="*/ 107424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4"/>
                    <a:pt x="32258" y="107424"/>
                  </a:cubicBezTo>
                  <a:lnTo>
                    <a:pt x="101279" y="107424"/>
                  </a:lnTo>
                  <a:lnTo>
                    <a:pt x="125447" y="149205"/>
                  </a:lnTo>
                  <a:lnTo>
                    <a:pt x="149615" y="107424"/>
                  </a:lnTo>
                  <a:lnTo>
                    <a:pt x="218636" y="107424"/>
                  </a:lnTo>
                  <a:cubicBezTo>
                    <a:pt x="236455" y="107424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2" name="Полилиния: фигура 1371">
              <a:extLst>
                <a:ext uri="{FF2B5EF4-FFF2-40B4-BE49-F238E27FC236}">
                  <a16:creationId xmlns:a16="http://schemas.microsoft.com/office/drawing/2014/main" id="{D1375E80-5220-4E7D-9FF5-DF173F046B0A}"/>
                </a:ext>
              </a:extLst>
            </p:cNvPr>
            <p:cNvSpPr/>
            <p:nvPr/>
          </p:nvSpPr>
          <p:spPr>
            <a:xfrm>
              <a:off x="3185346" y="3227721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4 h 149205"/>
                <a:gd name="connsiteX5" fmla="*/ 101279 w 250893"/>
                <a:gd name="connsiteY5" fmla="*/ 107424 h 149205"/>
                <a:gd name="connsiteX6" fmla="*/ 125447 w 250893"/>
                <a:gd name="connsiteY6" fmla="*/ 149205 h 149205"/>
                <a:gd name="connsiteX7" fmla="*/ 149615 w 250893"/>
                <a:gd name="connsiteY7" fmla="*/ 107424 h 149205"/>
                <a:gd name="connsiteX8" fmla="*/ 218636 w 250893"/>
                <a:gd name="connsiteY8" fmla="*/ 107424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4"/>
                    <a:pt x="32258" y="107424"/>
                  </a:cubicBezTo>
                  <a:lnTo>
                    <a:pt x="101279" y="107424"/>
                  </a:lnTo>
                  <a:lnTo>
                    <a:pt x="125447" y="149205"/>
                  </a:lnTo>
                  <a:lnTo>
                    <a:pt x="149615" y="107424"/>
                  </a:lnTo>
                  <a:lnTo>
                    <a:pt x="218636" y="107424"/>
                  </a:lnTo>
                  <a:cubicBezTo>
                    <a:pt x="236455" y="107424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noFill/>
            <a:ln w="1196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3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013296" y="2826086"/>
            <a:ext cx="250893" cy="149205"/>
            <a:chOff x="4013296" y="2826086"/>
            <a:chExt cx="250893" cy="149205"/>
          </a:xfrm>
        </p:grpSpPr>
        <p:sp>
          <p:nvSpPr>
            <p:cNvPr id="1374" name="Полилиния: фигура 1373">
              <a:extLst>
                <a:ext uri="{FF2B5EF4-FFF2-40B4-BE49-F238E27FC236}">
                  <a16:creationId xmlns:a16="http://schemas.microsoft.com/office/drawing/2014/main" id="{0429501C-A5E8-46F0-8B09-416FFC76E6C6}"/>
                </a:ext>
              </a:extLst>
            </p:cNvPr>
            <p:cNvSpPr/>
            <p:nvPr/>
          </p:nvSpPr>
          <p:spPr>
            <a:xfrm>
              <a:off x="4013296" y="2826086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92E3A9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5" name="Полилиния: фигура 1374">
              <a:extLst>
                <a:ext uri="{FF2B5EF4-FFF2-40B4-BE49-F238E27FC236}">
                  <a16:creationId xmlns:a16="http://schemas.microsoft.com/office/drawing/2014/main" id="{C3AD6EB0-7519-4550-9CF8-4AC846135F90}"/>
                </a:ext>
              </a:extLst>
            </p:cNvPr>
            <p:cNvSpPr/>
            <p:nvPr/>
          </p:nvSpPr>
          <p:spPr>
            <a:xfrm>
              <a:off x="4013296" y="2826086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6" name="Полилиния: фигура 1375">
              <a:extLst>
                <a:ext uri="{FF2B5EF4-FFF2-40B4-BE49-F238E27FC236}">
                  <a16:creationId xmlns:a16="http://schemas.microsoft.com/office/drawing/2014/main" id="{083CC51D-A721-4248-9413-BF64F7C71679}"/>
                </a:ext>
              </a:extLst>
            </p:cNvPr>
            <p:cNvSpPr/>
            <p:nvPr/>
          </p:nvSpPr>
          <p:spPr>
            <a:xfrm>
              <a:off x="4013296" y="2826086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noFill/>
            <a:ln w="1196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77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405714" y="3002224"/>
            <a:ext cx="250893" cy="149205"/>
            <a:chOff x="4405714" y="3002224"/>
            <a:chExt cx="250893" cy="149205"/>
          </a:xfrm>
        </p:grpSpPr>
        <p:sp>
          <p:nvSpPr>
            <p:cNvPr id="1378" name="Полилиния: фигура 1377">
              <a:extLst>
                <a:ext uri="{FF2B5EF4-FFF2-40B4-BE49-F238E27FC236}">
                  <a16:creationId xmlns:a16="http://schemas.microsoft.com/office/drawing/2014/main" id="{22A25B52-2CE3-4657-BD98-22AA454B23FA}"/>
                </a:ext>
              </a:extLst>
            </p:cNvPr>
            <p:cNvSpPr/>
            <p:nvPr/>
          </p:nvSpPr>
          <p:spPr>
            <a:xfrm>
              <a:off x="4405714" y="3002224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92E3A9"/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9" name="Полилиния: фигура 1378">
              <a:extLst>
                <a:ext uri="{FF2B5EF4-FFF2-40B4-BE49-F238E27FC236}">
                  <a16:creationId xmlns:a16="http://schemas.microsoft.com/office/drawing/2014/main" id="{5151D262-5C50-4236-A5D7-9611C6FB232F}"/>
                </a:ext>
              </a:extLst>
            </p:cNvPr>
            <p:cNvSpPr/>
            <p:nvPr/>
          </p:nvSpPr>
          <p:spPr>
            <a:xfrm>
              <a:off x="4405714" y="3002224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10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0" name="Полилиния: фигура 1379">
              <a:extLst>
                <a:ext uri="{FF2B5EF4-FFF2-40B4-BE49-F238E27FC236}">
                  <a16:creationId xmlns:a16="http://schemas.microsoft.com/office/drawing/2014/main" id="{BE46362A-2F29-418E-A5DB-14827F2F3B30}"/>
                </a:ext>
              </a:extLst>
            </p:cNvPr>
            <p:cNvSpPr/>
            <p:nvPr/>
          </p:nvSpPr>
          <p:spPr>
            <a:xfrm>
              <a:off x="4405714" y="3002224"/>
              <a:ext cx="250893" cy="149205"/>
            </a:xfrm>
            <a:custGeom>
              <a:avLst/>
              <a:gdLst>
                <a:gd name="connsiteX0" fmla="*/ 218636 w 250893"/>
                <a:gd name="connsiteY0" fmla="*/ 0 h 149205"/>
                <a:gd name="connsiteX1" fmla="*/ 32258 w 250893"/>
                <a:gd name="connsiteY1" fmla="*/ 0 h 149205"/>
                <a:gd name="connsiteX2" fmla="*/ 0 w 250893"/>
                <a:gd name="connsiteY2" fmla="*/ 32258 h 149205"/>
                <a:gd name="connsiteX3" fmla="*/ 0 w 250893"/>
                <a:gd name="connsiteY3" fmla="*/ 75166 h 149205"/>
                <a:gd name="connsiteX4" fmla="*/ 32258 w 250893"/>
                <a:gd name="connsiteY4" fmla="*/ 107423 h 149205"/>
                <a:gd name="connsiteX5" fmla="*/ 101279 w 250893"/>
                <a:gd name="connsiteY5" fmla="*/ 107423 h 149205"/>
                <a:gd name="connsiteX6" fmla="*/ 125447 w 250893"/>
                <a:gd name="connsiteY6" fmla="*/ 149205 h 149205"/>
                <a:gd name="connsiteX7" fmla="*/ 149615 w 250893"/>
                <a:gd name="connsiteY7" fmla="*/ 107423 h 149205"/>
                <a:gd name="connsiteX8" fmla="*/ 218636 w 250893"/>
                <a:gd name="connsiteY8" fmla="*/ 107423 h 149205"/>
                <a:gd name="connsiteX9" fmla="*/ 250894 w 250893"/>
                <a:gd name="connsiteY9" fmla="*/ 75166 h 149205"/>
                <a:gd name="connsiteX10" fmla="*/ 250894 w 250893"/>
                <a:gd name="connsiteY10" fmla="*/ 32258 h 149205"/>
                <a:gd name="connsiteX11" fmla="*/ 218636 w 250893"/>
                <a:gd name="connsiteY11" fmla="*/ 0 h 1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893" h="149205">
                  <a:moveTo>
                    <a:pt x="218636" y="0"/>
                  </a:moveTo>
                  <a:lnTo>
                    <a:pt x="32258" y="0"/>
                  </a:lnTo>
                  <a:cubicBezTo>
                    <a:pt x="14439" y="0"/>
                    <a:pt x="0" y="14439"/>
                    <a:pt x="0" y="32258"/>
                  </a:cubicBezTo>
                  <a:lnTo>
                    <a:pt x="0" y="75166"/>
                  </a:lnTo>
                  <a:cubicBezTo>
                    <a:pt x="0" y="92984"/>
                    <a:pt x="14439" y="107423"/>
                    <a:pt x="32258" y="107423"/>
                  </a:cubicBezTo>
                  <a:lnTo>
                    <a:pt x="101279" y="107423"/>
                  </a:lnTo>
                  <a:lnTo>
                    <a:pt x="125447" y="149205"/>
                  </a:lnTo>
                  <a:lnTo>
                    <a:pt x="149615" y="107423"/>
                  </a:lnTo>
                  <a:lnTo>
                    <a:pt x="218636" y="107423"/>
                  </a:lnTo>
                  <a:cubicBezTo>
                    <a:pt x="236455" y="107423"/>
                    <a:pt x="250894" y="92984"/>
                    <a:pt x="250894" y="75166"/>
                  </a:cubicBezTo>
                  <a:lnTo>
                    <a:pt x="250894" y="32258"/>
                  </a:lnTo>
                  <a:cubicBezTo>
                    <a:pt x="250894" y="14439"/>
                    <a:pt x="236455" y="0"/>
                    <a:pt x="218636" y="0"/>
                  </a:cubicBezTo>
                  <a:close/>
                </a:path>
              </a:pathLst>
            </a:custGeom>
            <a:noFill/>
            <a:ln w="1196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1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3171521" y="2765155"/>
            <a:ext cx="424471" cy="181565"/>
            <a:chOff x="3171521" y="2765155"/>
            <a:chExt cx="424471" cy="181565"/>
          </a:xfrm>
        </p:grpSpPr>
        <p:sp>
          <p:nvSpPr>
            <p:cNvPr id="1382" name="Полилиния: фигура 1381">
              <a:extLst>
                <a:ext uri="{FF2B5EF4-FFF2-40B4-BE49-F238E27FC236}">
                  <a16:creationId xmlns:a16="http://schemas.microsoft.com/office/drawing/2014/main" id="{679BBC29-88C1-41E4-B09F-1D2FC02BA7AC}"/>
                </a:ext>
              </a:extLst>
            </p:cNvPr>
            <p:cNvSpPr/>
            <p:nvPr/>
          </p:nvSpPr>
          <p:spPr>
            <a:xfrm>
              <a:off x="3171521" y="2765155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3" name="Полилиния: фигура 1382">
              <a:extLst>
                <a:ext uri="{FF2B5EF4-FFF2-40B4-BE49-F238E27FC236}">
                  <a16:creationId xmlns:a16="http://schemas.microsoft.com/office/drawing/2014/main" id="{D3E5BE22-D374-407F-A694-8CE4B798FF4F}"/>
                </a:ext>
              </a:extLst>
            </p:cNvPr>
            <p:cNvSpPr/>
            <p:nvPr/>
          </p:nvSpPr>
          <p:spPr>
            <a:xfrm>
              <a:off x="3171521" y="2810520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4" name="Полилиния: фигура 1383">
              <a:extLst>
                <a:ext uri="{FF2B5EF4-FFF2-40B4-BE49-F238E27FC236}">
                  <a16:creationId xmlns:a16="http://schemas.microsoft.com/office/drawing/2014/main" id="{32AB8C41-73A3-4D7E-BB17-A2FBBC01A400}"/>
                </a:ext>
              </a:extLst>
            </p:cNvPr>
            <p:cNvSpPr/>
            <p:nvPr/>
          </p:nvSpPr>
          <p:spPr>
            <a:xfrm>
              <a:off x="3171521" y="2855886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5" name="Полилиния: фигура 1384">
              <a:extLst>
                <a:ext uri="{FF2B5EF4-FFF2-40B4-BE49-F238E27FC236}">
                  <a16:creationId xmlns:a16="http://schemas.microsoft.com/office/drawing/2014/main" id="{EF62FB10-780A-428C-B137-650AEFF55C3B}"/>
                </a:ext>
              </a:extLst>
            </p:cNvPr>
            <p:cNvSpPr/>
            <p:nvPr/>
          </p:nvSpPr>
          <p:spPr>
            <a:xfrm>
              <a:off x="3171521" y="2901252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6" name="Полилиния: фигура 1385">
              <a:extLst>
                <a:ext uri="{FF2B5EF4-FFF2-40B4-BE49-F238E27FC236}">
                  <a16:creationId xmlns:a16="http://schemas.microsoft.com/office/drawing/2014/main" id="{B16BBE41-078D-4FB0-B434-4D8884D7693A}"/>
                </a:ext>
              </a:extLst>
            </p:cNvPr>
            <p:cNvSpPr/>
            <p:nvPr/>
          </p:nvSpPr>
          <p:spPr>
            <a:xfrm>
              <a:off x="3171521" y="2946720"/>
              <a:ext cx="424471" cy="10240"/>
            </a:xfrm>
            <a:custGeom>
              <a:avLst/>
              <a:gdLst>
                <a:gd name="connsiteX0" fmla="*/ 0 w 424471"/>
                <a:gd name="connsiteY0" fmla="*/ 0 h 10240"/>
                <a:gd name="connsiteX1" fmla="*/ 424472 w 424471"/>
                <a:gd name="connsiteY1" fmla="*/ 0 h 10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471" h="10240">
                  <a:moveTo>
                    <a:pt x="0" y="0"/>
                  </a:moveTo>
                  <a:lnTo>
                    <a:pt x="424472" y="0"/>
                  </a:lnTo>
                </a:path>
              </a:pathLst>
            </a:custGeom>
            <a:ln w="10842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87" name="Рисунок 1282">
            <a:extLst>
              <a:ext uri="{FF2B5EF4-FFF2-40B4-BE49-F238E27FC236}">
                <a16:creationId xmlns:a16="http://schemas.microsoft.com/office/drawing/2014/main" id="{1C513778-6A5B-40D9-9E8A-2FA6961B2484}"/>
              </a:ext>
            </a:extLst>
          </p:cNvPr>
          <p:cNvGrpSpPr/>
          <p:nvPr/>
        </p:nvGrpSpPr>
        <p:grpSpPr>
          <a:xfrm>
            <a:off x="451932" y="2127801"/>
            <a:ext cx="4134425" cy="3158889"/>
            <a:chOff x="451932" y="2127801"/>
            <a:chExt cx="4134425" cy="3158889"/>
          </a:xfrm>
        </p:grpSpPr>
        <p:grpSp>
          <p:nvGrpSpPr>
            <p:cNvPr id="1388" name="Рисунок 1282">
              <a:extLst>
                <a:ext uri="{FF2B5EF4-FFF2-40B4-BE49-F238E27FC236}">
                  <a16:creationId xmlns:a16="http://schemas.microsoft.com/office/drawing/2014/main" id="{1C513778-6A5B-40D9-9E8A-2FA6961B2484}"/>
                </a:ext>
              </a:extLst>
            </p:cNvPr>
            <p:cNvGrpSpPr/>
            <p:nvPr/>
          </p:nvGrpSpPr>
          <p:grpSpPr>
            <a:xfrm>
              <a:off x="451932" y="2127801"/>
              <a:ext cx="4134425" cy="3158889"/>
              <a:chOff x="451932" y="2127801"/>
              <a:chExt cx="4134425" cy="3158889"/>
            </a:xfrm>
          </p:grpSpPr>
          <p:grpSp>
            <p:nvGrpSpPr>
              <p:cNvPr id="1389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451932" y="2127801"/>
                <a:ext cx="3124193" cy="3058224"/>
                <a:chOff x="451932" y="2127801"/>
                <a:chExt cx="3124193" cy="3058224"/>
              </a:xfrm>
            </p:grpSpPr>
            <p:grpSp>
              <p:nvGrpSpPr>
                <p:cNvPr id="1390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451932" y="3489060"/>
                  <a:ext cx="441983" cy="1219754"/>
                  <a:chOff x="451932" y="3489060"/>
                  <a:chExt cx="441983" cy="1219754"/>
                </a:xfrm>
              </p:grpSpPr>
              <p:sp>
                <p:nvSpPr>
                  <p:cNvPr id="1391" name="Полилиния: фигура 1390">
                    <a:extLst>
                      <a:ext uri="{FF2B5EF4-FFF2-40B4-BE49-F238E27FC236}">
                        <a16:creationId xmlns:a16="http://schemas.microsoft.com/office/drawing/2014/main" id="{BAEC36BB-326E-44C0-9A24-7350D6954DAF}"/>
                      </a:ext>
                    </a:extLst>
                  </p:cNvPr>
                  <p:cNvSpPr/>
                  <p:nvPr/>
                </p:nvSpPr>
                <p:spPr>
                  <a:xfrm>
                    <a:off x="451932" y="3489060"/>
                    <a:ext cx="441983" cy="1219754"/>
                  </a:xfrm>
                  <a:custGeom>
                    <a:avLst/>
                    <a:gdLst>
                      <a:gd name="connsiteX0" fmla="*/ 441983 w 441983"/>
                      <a:gd name="connsiteY0" fmla="*/ 0 h 1219754"/>
                      <a:gd name="connsiteX1" fmla="*/ 424472 w 441983"/>
                      <a:gd name="connsiteY1" fmla="*/ 22120 h 1219754"/>
                      <a:gd name="connsiteX2" fmla="*/ 341728 w 441983"/>
                      <a:gd name="connsiteY2" fmla="*/ 418839 h 1219754"/>
                      <a:gd name="connsiteX3" fmla="*/ 156374 w 441983"/>
                      <a:gd name="connsiteY3" fmla="*/ 600200 h 1219754"/>
                      <a:gd name="connsiteX4" fmla="*/ 126573 w 441983"/>
                      <a:gd name="connsiteY4" fmla="*/ 917555 h 1219754"/>
                      <a:gd name="connsiteX5" fmla="*/ 17307 w 441983"/>
                      <a:gd name="connsiteY5" fmla="*/ 1093283 h 1219754"/>
                      <a:gd name="connsiteX6" fmla="*/ 0 w 441983"/>
                      <a:gd name="connsiteY6" fmla="*/ 1219754 h 1219754"/>
                      <a:gd name="connsiteX7" fmla="*/ 441983 w 441983"/>
                      <a:gd name="connsiteY7" fmla="*/ 1205213 h 1219754"/>
                      <a:gd name="connsiteX8" fmla="*/ 441983 w 441983"/>
                      <a:gd name="connsiteY8" fmla="*/ 0 h 12197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41983" h="1219754">
                        <a:moveTo>
                          <a:pt x="441983" y="0"/>
                        </a:moveTo>
                        <a:cubicBezTo>
                          <a:pt x="436351" y="6759"/>
                          <a:pt x="430616" y="13927"/>
                          <a:pt x="424472" y="22120"/>
                        </a:cubicBezTo>
                        <a:cubicBezTo>
                          <a:pt x="348384" y="124116"/>
                          <a:pt x="388015" y="339475"/>
                          <a:pt x="341728" y="418839"/>
                        </a:cubicBezTo>
                        <a:cubicBezTo>
                          <a:pt x="295440" y="498204"/>
                          <a:pt x="179517" y="475470"/>
                          <a:pt x="156374" y="600200"/>
                        </a:cubicBezTo>
                        <a:cubicBezTo>
                          <a:pt x="133230" y="724930"/>
                          <a:pt x="146440" y="855292"/>
                          <a:pt x="126573" y="917555"/>
                        </a:cubicBezTo>
                        <a:cubicBezTo>
                          <a:pt x="106707" y="979818"/>
                          <a:pt x="30619" y="1019551"/>
                          <a:pt x="17307" y="1093283"/>
                        </a:cubicBezTo>
                        <a:cubicBezTo>
                          <a:pt x="4096" y="1167015"/>
                          <a:pt x="0" y="1219754"/>
                          <a:pt x="0" y="1219754"/>
                        </a:cubicBezTo>
                        <a:lnTo>
                          <a:pt x="441983" y="1205213"/>
                        </a:lnTo>
                        <a:lnTo>
                          <a:pt x="441983" y="0"/>
                        </a:lnTo>
                        <a:close/>
                      </a:path>
                    </a:pathLst>
                  </a:custGeom>
                  <a:solidFill>
                    <a:srgbClr val="92E3A9"/>
                  </a:solidFill>
                  <a:ln w="102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392" name="Полилиния: фигура 1391">
                    <a:extLst>
                      <a:ext uri="{FF2B5EF4-FFF2-40B4-BE49-F238E27FC236}">
                        <a16:creationId xmlns:a16="http://schemas.microsoft.com/office/drawing/2014/main" id="{A7E0991E-81FF-459A-B9FC-DE8431523AB9}"/>
                      </a:ext>
                    </a:extLst>
                  </p:cNvPr>
                  <p:cNvSpPr/>
                  <p:nvPr/>
                </p:nvSpPr>
                <p:spPr>
                  <a:xfrm>
                    <a:off x="451932" y="3489060"/>
                    <a:ext cx="441983" cy="1219754"/>
                  </a:xfrm>
                  <a:custGeom>
                    <a:avLst/>
                    <a:gdLst>
                      <a:gd name="connsiteX0" fmla="*/ 441983 w 441983"/>
                      <a:gd name="connsiteY0" fmla="*/ 0 h 1219754"/>
                      <a:gd name="connsiteX1" fmla="*/ 424472 w 441983"/>
                      <a:gd name="connsiteY1" fmla="*/ 22120 h 1219754"/>
                      <a:gd name="connsiteX2" fmla="*/ 341728 w 441983"/>
                      <a:gd name="connsiteY2" fmla="*/ 418839 h 1219754"/>
                      <a:gd name="connsiteX3" fmla="*/ 156374 w 441983"/>
                      <a:gd name="connsiteY3" fmla="*/ 600200 h 1219754"/>
                      <a:gd name="connsiteX4" fmla="*/ 126573 w 441983"/>
                      <a:gd name="connsiteY4" fmla="*/ 917555 h 1219754"/>
                      <a:gd name="connsiteX5" fmla="*/ 17307 w 441983"/>
                      <a:gd name="connsiteY5" fmla="*/ 1093283 h 1219754"/>
                      <a:gd name="connsiteX6" fmla="*/ 0 w 441983"/>
                      <a:gd name="connsiteY6" fmla="*/ 1219754 h 1219754"/>
                      <a:gd name="connsiteX7" fmla="*/ 441983 w 441983"/>
                      <a:gd name="connsiteY7" fmla="*/ 1205213 h 1219754"/>
                      <a:gd name="connsiteX8" fmla="*/ 441983 w 441983"/>
                      <a:gd name="connsiteY8" fmla="*/ 0 h 12197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41983" h="1219754">
                        <a:moveTo>
                          <a:pt x="441983" y="0"/>
                        </a:moveTo>
                        <a:cubicBezTo>
                          <a:pt x="436351" y="6759"/>
                          <a:pt x="430616" y="13927"/>
                          <a:pt x="424472" y="22120"/>
                        </a:cubicBezTo>
                        <a:cubicBezTo>
                          <a:pt x="348384" y="124116"/>
                          <a:pt x="388015" y="339475"/>
                          <a:pt x="341728" y="418839"/>
                        </a:cubicBezTo>
                        <a:cubicBezTo>
                          <a:pt x="295440" y="498204"/>
                          <a:pt x="179517" y="475470"/>
                          <a:pt x="156374" y="600200"/>
                        </a:cubicBezTo>
                        <a:cubicBezTo>
                          <a:pt x="133230" y="724930"/>
                          <a:pt x="146440" y="855292"/>
                          <a:pt x="126573" y="917555"/>
                        </a:cubicBezTo>
                        <a:cubicBezTo>
                          <a:pt x="106707" y="979818"/>
                          <a:pt x="30619" y="1019551"/>
                          <a:pt x="17307" y="1093283"/>
                        </a:cubicBezTo>
                        <a:cubicBezTo>
                          <a:pt x="4096" y="1167015"/>
                          <a:pt x="0" y="1219754"/>
                          <a:pt x="0" y="1219754"/>
                        </a:cubicBezTo>
                        <a:lnTo>
                          <a:pt x="441983" y="1205213"/>
                        </a:lnTo>
                        <a:lnTo>
                          <a:pt x="441983" y="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70000"/>
                    </a:srgbClr>
                  </a:solidFill>
                  <a:ln w="102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393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827804" y="2127801"/>
                  <a:ext cx="2748321" cy="3058224"/>
                  <a:chOff x="827804" y="2127801"/>
                  <a:chExt cx="2748321" cy="3058224"/>
                </a:xfrm>
              </p:grpSpPr>
              <p:grpSp>
                <p:nvGrpSpPr>
                  <p:cNvPr id="1394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2011776" y="4698984"/>
                    <a:ext cx="453862" cy="181462"/>
                    <a:chOff x="2011776" y="4698984"/>
                    <a:chExt cx="453862" cy="181462"/>
                  </a:xfrm>
                  <a:solidFill>
                    <a:srgbClr val="263238"/>
                  </a:solidFill>
                </p:grpSpPr>
                <p:sp>
                  <p:nvSpPr>
                    <p:cNvPr id="1395" name="Полилиния: фигура 1394">
                      <a:extLst>
                        <a:ext uri="{FF2B5EF4-FFF2-40B4-BE49-F238E27FC236}">
                          <a16:creationId xmlns:a16="http://schemas.microsoft.com/office/drawing/2014/main" id="{B0047DFC-ED1C-42A2-8FEA-4DB03750C5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11776" y="4698984"/>
                      <a:ext cx="453862" cy="181462"/>
                    </a:xfrm>
                    <a:custGeom>
                      <a:avLst/>
                      <a:gdLst>
                        <a:gd name="connsiteX0" fmla="*/ 453862 w 453862"/>
                        <a:gd name="connsiteY0" fmla="*/ 0 h 181462"/>
                        <a:gd name="connsiteX1" fmla="*/ 0 w 453862"/>
                        <a:gd name="connsiteY1" fmla="*/ 52534 h 181462"/>
                        <a:gd name="connsiteX2" fmla="*/ 139374 w 453862"/>
                        <a:gd name="connsiteY2" fmla="*/ 181463 h 181462"/>
                        <a:gd name="connsiteX3" fmla="*/ 452223 w 453862"/>
                        <a:gd name="connsiteY3" fmla="*/ 154325 h 1814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53862" h="181462">
                          <a:moveTo>
                            <a:pt x="453862" y="0"/>
                          </a:moveTo>
                          <a:lnTo>
                            <a:pt x="0" y="52534"/>
                          </a:lnTo>
                          <a:lnTo>
                            <a:pt x="139374" y="181463"/>
                          </a:lnTo>
                          <a:lnTo>
                            <a:pt x="452223" y="154325"/>
                          </a:lnTo>
                        </a:path>
                      </a:pathLst>
                    </a:custGeom>
                    <a:solidFill>
                      <a:srgbClr val="263238"/>
                    </a:solidFill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96" name="Полилиния: фигура 1395">
                      <a:extLst>
                        <a:ext uri="{FF2B5EF4-FFF2-40B4-BE49-F238E27FC236}">
                          <a16:creationId xmlns:a16="http://schemas.microsoft.com/office/drawing/2014/main" id="{46243FA2-0F11-4BDA-8430-8DACBBFFA7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59752" y="4740253"/>
                      <a:ext cx="290729" cy="31745"/>
                    </a:xfrm>
                    <a:custGeom>
                      <a:avLst/>
                      <a:gdLst>
                        <a:gd name="connsiteX0" fmla="*/ 0 w 290729"/>
                        <a:gd name="connsiteY0" fmla="*/ 31746 h 31745"/>
                        <a:gd name="connsiteX1" fmla="*/ 290730 w 290729"/>
                        <a:gd name="connsiteY1" fmla="*/ 0 h 3174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90729" h="31745">
                          <a:moveTo>
                            <a:pt x="0" y="31746"/>
                          </a:moveTo>
                          <a:lnTo>
                            <a:pt x="290730" y="0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97" name="Полилиния: фигура 1396">
                      <a:extLst>
                        <a:ext uri="{FF2B5EF4-FFF2-40B4-BE49-F238E27FC236}">
                          <a16:creationId xmlns:a16="http://schemas.microsoft.com/office/drawing/2014/main" id="{39A1744C-99E0-4CB6-A732-9595D890A4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82384" y="4781113"/>
                      <a:ext cx="263592" cy="22631"/>
                    </a:xfrm>
                    <a:custGeom>
                      <a:avLst/>
                      <a:gdLst>
                        <a:gd name="connsiteX0" fmla="*/ 0 w 263592"/>
                        <a:gd name="connsiteY0" fmla="*/ 22632 h 22631"/>
                        <a:gd name="connsiteX1" fmla="*/ 263592 w 263592"/>
                        <a:gd name="connsiteY1" fmla="*/ 0 h 226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3592" h="22631">
                          <a:moveTo>
                            <a:pt x="0" y="22632"/>
                          </a:moveTo>
                          <a:lnTo>
                            <a:pt x="263592" y="0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98" name="Полилиния: фигура 1397">
                      <a:extLst>
                        <a:ext uri="{FF2B5EF4-FFF2-40B4-BE49-F238E27FC236}">
                          <a16:creationId xmlns:a16="http://schemas.microsoft.com/office/drawing/2014/main" id="{C98F3D28-480C-497C-B76F-4AB050E5C4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09726" y="4808353"/>
                      <a:ext cx="240755" cy="22631"/>
                    </a:xfrm>
                    <a:custGeom>
                      <a:avLst/>
                      <a:gdLst>
                        <a:gd name="connsiteX0" fmla="*/ 0 w 240755"/>
                        <a:gd name="connsiteY0" fmla="*/ 22632 h 22631"/>
                        <a:gd name="connsiteX1" fmla="*/ 240756 w 240755"/>
                        <a:gd name="connsiteY1" fmla="*/ 0 h 226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40755" h="22631">
                          <a:moveTo>
                            <a:pt x="0" y="22632"/>
                          </a:moveTo>
                          <a:lnTo>
                            <a:pt x="240756" y="0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99" name="Полилиния: фигура 1398">
                      <a:extLst>
                        <a:ext uri="{FF2B5EF4-FFF2-40B4-BE49-F238E27FC236}">
                          <a16:creationId xmlns:a16="http://schemas.microsoft.com/office/drawing/2014/main" id="{CB4EA611-77A9-430F-B471-44C5FB235F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88733" y="4753464"/>
                      <a:ext cx="82846" cy="90219"/>
                    </a:xfrm>
                    <a:custGeom>
                      <a:avLst/>
                      <a:gdLst>
                        <a:gd name="connsiteX0" fmla="*/ 0 w 82846"/>
                        <a:gd name="connsiteY0" fmla="*/ 0 h 90219"/>
                        <a:gd name="connsiteX1" fmla="*/ 82846 w 82846"/>
                        <a:gd name="connsiteY1" fmla="*/ 90220 h 9021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82846" h="90219">
                          <a:moveTo>
                            <a:pt x="0" y="0"/>
                          </a:moveTo>
                          <a:lnTo>
                            <a:pt x="82846" y="90220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400" name="Полилиния: фигура 1399">
                      <a:extLst>
                        <a:ext uri="{FF2B5EF4-FFF2-40B4-BE49-F238E27FC236}">
                          <a16:creationId xmlns:a16="http://schemas.microsoft.com/office/drawing/2014/main" id="{9BF92455-083F-4C55-A797-3BFE0A9873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50074" y="4750391"/>
                      <a:ext cx="82334" cy="85099"/>
                    </a:xfrm>
                    <a:custGeom>
                      <a:avLst/>
                      <a:gdLst>
                        <a:gd name="connsiteX0" fmla="*/ 0 w 82334"/>
                        <a:gd name="connsiteY0" fmla="*/ 0 h 85099"/>
                        <a:gd name="connsiteX1" fmla="*/ 82334 w 82334"/>
                        <a:gd name="connsiteY1" fmla="*/ 85099 h 85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82334" h="85099">
                          <a:moveTo>
                            <a:pt x="0" y="0"/>
                          </a:moveTo>
                          <a:lnTo>
                            <a:pt x="82334" y="85099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401" name="Полилиния: фигура 1400">
                      <a:extLst>
                        <a:ext uri="{FF2B5EF4-FFF2-40B4-BE49-F238E27FC236}">
                          <a16:creationId xmlns:a16="http://schemas.microsoft.com/office/drawing/2014/main" id="{78A8DFCE-62BE-4103-9AB2-5CB1B10817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13668" y="4741380"/>
                      <a:ext cx="82334" cy="85099"/>
                    </a:xfrm>
                    <a:custGeom>
                      <a:avLst/>
                      <a:gdLst>
                        <a:gd name="connsiteX0" fmla="*/ 0 w 82334"/>
                        <a:gd name="connsiteY0" fmla="*/ 0 h 85099"/>
                        <a:gd name="connsiteX1" fmla="*/ 82334 w 82334"/>
                        <a:gd name="connsiteY1" fmla="*/ 85099 h 850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82334" h="85099">
                          <a:moveTo>
                            <a:pt x="0" y="0"/>
                          </a:moveTo>
                          <a:lnTo>
                            <a:pt x="82334" y="85099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402" name="Полилиния: фигура 1401">
                      <a:extLst>
                        <a:ext uri="{FF2B5EF4-FFF2-40B4-BE49-F238E27FC236}">
                          <a16:creationId xmlns:a16="http://schemas.microsoft.com/office/drawing/2014/main" id="{4BB06467-E082-4CF7-A814-29CE417CC5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81870" y="4736771"/>
                      <a:ext cx="68611" cy="71581"/>
                    </a:xfrm>
                    <a:custGeom>
                      <a:avLst/>
                      <a:gdLst>
                        <a:gd name="connsiteX0" fmla="*/ 0 w 68611"/>
                        <a:gd name="connsiteY0" fmla="*/ 0 h 71581"/>
                        <a:gd name="connsiteX1" fmla="*/ 68612 w 68611"/>
                        <a:gd name="connsiteY1" fmla="*/ 71582 h 715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8611" h="71581">
                          <a:moveTo>
                            <a:pt x="0" y="0"/>
                          </a:moveTo>
                          <a:lnTo>
                            <a:pt x="68612" y="71582"/>
                          </a:lnTo>
                        </a:path>
                      </a:pathLst>
                    </a:custGeom>
                    <a:ln w="4910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grpSp>
                <p:nvGrpSpPr>
                  <p:cNvPr id="1403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827804" y="2127801"/>
                    <a:ext cx="2284139" cy="2655277"/>
                    <a:chOff x="827804" y="2127801"/>
                    <a:chExt cx="2284139" cy="2655277"/>
                  </a:xfrm>
                </p:grpSpPr>
                <p:sp>
                  <p:nvSpPr>
                    <p:cNvPr id="1404" name="Полилиния: фигура 1403">
                      <a:extLst>
                        <a:ext uri="{FF2B5EF4-FFF2-40B4-BE49-F238E27FC236}">
                          <a16:creationId xmlns:a16="http://schemas.microsoft.com/office/drawing/2014/main" id="{1B3B2424-A828-4ECF-8322-D89EC55DB2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7906" y="2657014"/>
                      <a:ext cx="1269182" cy="2036132"/>
                    </a:xfrm>
                    <a:custGeom>
                      <a:avLst/>
                      <a:gdLst>
                        <a:gd name="connsiteX0" fmla="*/ 1173629 w 1269182"/>
                        <a:gd name="connsiteY0" fmla="*/ 967427 h 2036132"/>
                        <a:gd name="connsiteX1" fmla="*/ 1089452 w 1269182"/>
                        <a:gd name="connsiteY1" fmla="*/ 691648 h 2036132"/>
                        <a:gd name="connsiteX2" fmla="*/ 1053815 w 1269182"/>
                        <a:gd name="connsiteY2" fmla="*/ 590164 h 2036132"/>
                        <a:gd name="connsiteX3" fmla="*/ 979775 w 1269182"/>
                        <a:gd name="connsiteY3" fmla="*/ 373371 h 2036132"/>
                        <a:gd name="connsiteX4" fmla="*/ 877779 w 1269182"/>
                        <a:gd name="connsiteY4" fmla="*/ 312235 h 2036132"/>
                        <a:gd name="connsiteX5" fmla="*/ 847160 w 1269182"/>
                        <a:gd name="connsiteY5" fmla="*/ 295236 h 2036132"/>
                        <a:gd name="connsiteX6" fmla="*/ 714544 w 1269182"/>
                        <a:gd name="connsiteY6" fmla="*/ 223961 h 2036132"/>
                        <a:gd name="connsiteX7" fmla="*/ 714544 w 1269182"/>
                        <a:gd name="connsiteY7" fmla="*/ 224780 h 2036132"/>
                        <a:gd name="connsiteX8" fmla="*/ 695497 w 1269182"/>
                        <a:gd name="connsiteY8" fmla="*/ 184740 h 2036132"/>
                        <a:gd name="connsiteX9" fmla="*/ 466313 w 1269182"/>
                        <a:gd name="connsiteY9" fmla="*/ 0 h 2036132"/>
                        <a:gd name="connsiteX10" fmla="*/ 476451 w 1269182"/>
                        <a:gd name="connsiteY10" fmla="*/ 88274 h 2036132"/>
                        <a:gd name="connsiteX11" fmla="*/ 411936 w 1269182"/>
                        <a:gd name="connsiteY11" fmla="*/ 145928 h 2036132"/>
                        <a:gd name="connsiteX12" fmla="*/ 393298 w 1269182"/>
                        <a:gd name="connsiteY12" fmla="*/ 189860 h 2036132"/>
                        <a:gd name="connsiteX13" fmla="*/ 85466 w 1269182"/>
                        <a:gd name="connsiteY13" fmla="*/ 366612 h 2036132"/>
                        <a:gd name="connsiteX14" fmla="*/ 469 w 1269182"/>
                        <a:gd name="connsiteY14" fmla="*/ 499023 h 2036132"/>
                        <a:gd name="connsiteX15" fmla="*/ 3849 w 1269182"/>
                        <a:gd name="connsiteY15" fmla="*/ 553298 h 2036132"/>
                        <a:gd name="connsiteX16" fmla="*/ 69184 w 1269182"/>
                        <a:gd name="connsiteY16" fmla="*/ 843823 h 2036132"/>
                        <a:gd name="connsiteX17" fmla="*/ 65087 w 1269182"/>
                        <a:gd name="connsiteY17" fmla="*/ 841877 h 2036132"/>
                        <a:gd name="connsiteX18" fmla="*/ 63961 w 1269182"/>
                        <a:gd name="connsiteY18" fmla="*/ 2036133 h 2036132"/>
                        <a:gd name="connsiteX19" fmla="*/ 1021352 w 1269182"/>
                        <a:gd name="connsiteY19" fmla="*/ 1999369 h 2036132"/>
                        <a:gd name="connsiteX20" fmla="*/ 1022786 w 1269182"/>
                        <a:gd name="connsiteY20" fmla="*/ 1112228 h 2036132"/>
                        <a:gd name="connsiteX21" fmla="*/ 1110240 w 1269182"/>
                        <a:gd name="connsiteY21" fmla="*/ 1079766 h 2036132"/>
                        <a:gd name="connsiteX22" fmla="*/ 1115360 w 1269182"/>
                        <a:gd name="connsiteY22" fmla="*/ 1084374 h 2036132"/>
                        <a:gd name="connsiteX23" fmla="*/ 1158576 w 1269182"/>
                        <a:gd name="connsiteY23" fmla="*/ 1116017 h 2036132"/>
                        <a:gd name="connsiteX24" fmla="*/ 1207935 w 1269182"/>
                        <a:gd name="connsiteY24" fmla="*/ 1125132 h 2036132"/>
                        <a:gd name="connsiteX25" fmla="*/ 1201381 w 1269182"/>
                        <a:gd name="connsiteY25" fmla="*/ 1091030 h 2036132"/>
                        <a:gd name="connsiteX26" fmla="*/ 1172810 w 1269182"/>
                        <a:gd name="connsiteY26" fmla="*/ 1068399 h 2036132"/>
                        <a:gd name="connsiteX27" fmla="*/ 1132872 w 1269182"/>
                        <a:gd name="connsiteY27" fmla="*/ 1018630 h 2036132"/>
                        <a:gd name="connsiteX28" fmla="*/ 1211212 w 1269182"/>
                        <a:gd name="connsiteY28" fmla="*/ 1031942 h 2036132"/>
                        <a:gd name="connsiteX29" fmla="*/ 1269071 w 1269182"/>
                        <a:gd name="connsiteY29" fmla="*/ 1011564 h 2036132"/>
                        <a:gd name="connsiteX30" fmla="*/ 1173834 w 1269182"/>
                        <a:gd name="connsiteY30" fmla="*/ 967427 h 203613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</a:cxnLst>
                      <a:rect l="l" t="t" r="r" b="b"/>
                      <a:pathLst>
                        <a:path w="1269182" h="2036132">
                          <a:moveTo>
                            <a:pt x="1173629" y="967427"/>
                          </a:moveTo>
                          <a:cubicBezTo>
                            <a:pt x="1158678" y="960975"/>
                            <a:pt x="1089452" y="691648"/>
                            <a:pt x="1089452" y="691648"/>
                          </a:cubicBezTo>
                          <a:lnTo>
                            <a:pt x="1053815" y="590164"/>
                          </a:lnTo>
                          <a:cubicBezTo>
                            <a:pt x="1053815" y="590164"/>
                            <a:pt x="1000256" y="407268"/>
                            <a:pt x="979775" y="373371"/>
                          </a:cubicBezTo>
                          <a:cubicBezTo>
                            <a:pt x="959396" y="339475"/>
                            <a:pt x="877779" y="312235"/>
                            <a:pt x="877779" y="312235"/>
                          </a:cubicBezTo>
                          <a:lnTo>
                            <a:pt x="847160" y="295236"/>
                          </a:lnTo>
                          <a:lnTo>
                            <a:pt x="714544" y="223961"/>
                          </a:lnTo>
                          <a:lnTo>
                            <a:pt x="714544" y="224780"/>
                          </a:lnTo>
                          <a:cubicBezTo>
                            <a:pt x="714544" y="224780"/>
                            <a:pt x="695497" y="184740"/>
                            <a:pt x="695497" y="184740"/>
                          </a:cubicBezTo>
                          <a:lnTo>
                            <a:pt x="466313" y="0"/>
                          </a:lnTo>
                          <a:cubicBezTo>
                            <a:pt x="466313" y="0"/>
                            <a:pt x="470409" y="44444"/>
                            <a:pt x="476451" y="88274"/>
                          </a:cubicBezTo>
                          <a:cubicBezTo>
                            <a:pt x="475837" y="88683"/>
                            <a:pt x="428833" y="118996"/>
                            <a:pt x="411936" y="145928"/>
                          </a:cubicBezTo>
                          <a:cubicBezTo>
                            <a:pt x="408761" y="150946"/>
                            <a:pt x="406099" y="161699"/>
                            <a:pt x="393298" y="189860"/>
                          </a:cubicBezTo>
                          <a:cubicBezTo>
                            <a:pt x="342505" y="216281"/>
                            <a:pt x="149265" y="317355"/>
                            <a:pt x="85466" y="366612"/>
                          </a:cubicBezTo>
                          <a:cubicBezTo>
                            <a:pt x="10608" y="424369"/>
                            <a:pt x="-2910" y="465024"/>
                            <a:pt x="469" y="499023"/>
                          </a:cubicBezTo>
                          <a:lnTo>
                            <a:pt x="3849" y="553298"/>
                          </a:lnTo>
                          <a:cubicBezTo>
                            <a:pt x="3849" y="553298"/>
                            <a:pt x="35799" y="747459"/>
                            <a:pt x="69184" y="843823"/>
                          </a:cubicBezTo>
                          <a:lnTo>
                            <a:pt x="65087" y="841877"/>
                          </a:lnTo>
                          <a:lnTo>
                            <a:pt x="63961" y="2036133"/>
                          </a:lnTo>
                          <a:lnTo>
                            <a:pt x="1021352" y="1999369"/>
                          </a:lnTo>
                          <a:lnTo>
                            <a:pt x="1022786" y="1112228"/>
                          </a:lnTo>
                          <a:cubicBezTo>
                            <a:pt x="1055555" y="1101476"/>
                            <a:pt x="1089657" y="1088880"/>
                            <a:pt x="1110240" y="1079766"/>
                          </a:cubicBezTo>
                          <a:lnTo>
                            <a:pt x="1115360" y="1084374"/>
                          </a:lnTo>
                          <a:cubicBezTo>
                            <a:pt x="1115360" y="1084374"/>
                            <a:pt x="1145058" y="1106084"/>
                            <a:pt x="1158576" y="1116017"/>
                          </a:cubicBezTo>
                          <a:cubicBezTo>
                            <a:pt x="1172093" y="1125849"/>
                            <a:pt x="1189502" y="1130354"/>
                            <a:pt x="1207935" y="1125132"/>
                          </a:cubicBezTo>
                          <a:cubicBezTo>
                            <a:pt x="1226266" y="1119909"/>
                            <a:pt x="1214796" y="1098199"/>
                            <a:pt x="1201381" y="1091030"/>
                          </a:cubicBezTo>
                          <a:cubicBezTo>
                            <a:pt x="1192984" y="1086627"/>
                            <a:pt x="1172810" y="1068399"/>
                            <a:pt x="1172810" y="1068399"/>
                          </a:cubicBezTo>
                          <a:lnTo>
                            <a:pt x="1132872" y="1018630"/>
                          </a:lnTo>
                          <a:cubicBezTo>
                            <a:pt x="1156835" y="1022931"/>
                            <a:pt x="1195237" y="1029689"/>
                            <a:pt x="1211212" y="1031942"/>
                          </a:cubicBezTo>
                          <a:cubicBezTo>
                            <a:pt x="1234970" y="1035322"/>
                            <a:pt x="1265590" y="1042080"/>
                            <a:pt x="1269071" y="1011564"/>
                          </a:cubicBezTo>
                          <a:cubicBezTo>
                            <a:pt x="1272451" y="981047"/>
                            <a:pt x="1197695" y="977667"/>
                            <a:pt x="1173834" y="967427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grpSp>
                  <p:nvGrpSpPr>
                    <p:cNvPr id="1405" name="Рисунок 1282">
                      <a:extLst>
                        <a:ext uri="{FF2B5EF4-FFF2-40B4-BE49-F238E27FC236}">
                          <a16:creationId xmlns:a16="http://schemas.microsoft.com/office/drawing/2014/main" id="{1C513778-6A5B-40D9-9E8A-2FA6961B24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27804" y="2656912"/>
                      <a:ext cx="969739" cy="2030090"/>
                      <a:chOff x="827804" y="2656912"/>
                      <a:chExt cx="969739" cy="2030090"/>
                    </a:xfrm>
                    <a:noFill/>
                  </p:grpSpPr>
                  <p:sp>
                    <p:nvSpPr>
                      <p:cNvPr id="1406" name="Полилиния: фигура 1405">
                        <a:extLst>
                          <a:ext uri="{FF2B5EF4-FFF2-40B4-BE49-F238E27FC236}">
                            <a16:creationId xmlns:a16="http://schemas.microsoft.com/office/drawing/2014/main" id="{671673DC-6308-47A6-867E-72B7379A60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4219" y="2656912"/>
                        <a:ext cx="187607" cy="419525"/>
                      </a:xfrm>
                      <a:custGeom>
                        <a:avLst/>
                        <a:gdLst>
                          <a:gd name="connsiteX0" fmla="*/ 0 w 187607"/>
                          <a:gd name="connsiteY0" fmla="*/ 0 h 419525"/>
                          <a:gd name="connsiteX1" fmla="*/ 21608 w 187607"/>
                          <a:gd name="connsiteY1" fmla="*/ 170505 h 419525"/>
                          <a:gd name="connsiteX2" fmla="*/ 102099 w 187607"/>
                          <a:gd name="connsiteY2" fmla="*/ 380232 h 419525"/>
                          <a:gd name="connsiteX3" fmla="*/ 183716 w 187607"/>
                          <a:gd name="connsiteY3" fmla="*/ 366612 h 419525"/>
                          <a:gd name="connsiteX4" fmla="*/ 186890 w 187607"/>
                          <a:gd name="connsiteY4" fmla="*/ 197028 h 4195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87607" h="419525">
                            <a:moveTo>
                              <a:pt x="0" y="0"/>
                            </a:moveTo>
                            <a:cubicBezTo>
                              <a:pt x="0" y="0"/>
                              <a:pt x="13108" y="144392"/>
                              <a:pt x="21608" y="170505"/>
                            </a:cubicBezTo>
                            <a:cubicBezTo>
                              <a:pt x="29288" y="193956"/>
                              <a:pt x="68100" y="322578"/>
                              <a:pt x="102099" y="380232"/>
                            </a:cubicBezTo>
                            <a:cubicBezTo>
                              <a:pt x="136097" y="437989"/>
                              <a:pt x="177571" y="430923"/>
                              <a:pt x="183716" y="366612"/>
                            </a:cubicBezTo>
                            <a:cubicBezTo>
                              <a:pt x="189860" y="301687"/>
                              <a:pt x="186890" y="197028"/>
                              <a:pt x="186890" y="197028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07" name="Полилиния: фигура 1406">
                        <a:extLst>
                          <a:ext uri="{FF2B5EF4-FFF2-40B4-BE49-F238E27FC236}">
                            <a16:creationId xmlns:a16="http://schemas.microsoft.com/office/drawing/2014/main" id="{B61C2149-313F-4637-BFC2-BA9F92CC00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1363" y="2748258"/>
                        <a:ext cx="150536" cy="390677"/>
                      </a:xfrm>
                      <a:custGeom>
                        <a:avLst/>
                        <a:gdLst>
                          <a:gd name="connsiteX0" fmla="*/ 150536 w 150536"/>
                          <a:gd name="connsiteY0" fmla="*/ 0 h 390677"/>
                          <a:gd name="connsiteX1" fmla="*/ 88376 w 150536"/>
                          <a:gd name="connsiteY1" fmla="*/ 54685 h 390677"/>
                          <a:gd name="connsiteX2" fmla="*/ 0 w 150536"/>
                          <a:gd name="connsiteY2" fmla="*/ 333023 h 390677"/>
                          <a:gd name="connsiteX3" fmla="*/ 135995 w 150536"/>
                          <a:gd name="connsiteY3" fmla="*/ 339782 h 390677"/>
                          <a:gd name="connsiteX4" fmla="*/ 20379 w 150536"/>
                          <a:gd name="connsiteY4" fmla="*/ 390678 h 3906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0536" h="390677">
                            <a:moveTo>
                              <a:pt x="150536" y="0"/>
                            </a:moveTo>
                            <a:cubicBezTo>
                              <a:pt x="150536" y="0"/>
                              <a:pt x="105375" y="27445"/>
                              <a:pt x="88376" y="54685"/>
                            </a:cubicBezTo>
                            <a:cubicBezTo>
                              <a:pt x="71377" y="81822"/>
                              <a:pt x="0" y="333023"/>
                              <a:pt x="0" y="333023"/>
                            </a:cubicBezTo>
                            <a:lnTo>
                              <a:pt x="135995" y="339782"/>
                            </a:lnTo>
                            <a:lnTo>
                              <a:pt x="20379" y="390678"/>
                            </a:ln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08" name="Полилиния: фигура 1407">
                        <a:extLst>
                          <a:ext uri="{FF2B5EF4-FFF2-40B4-BE49-F238E27FC236}">
                            <a16:creationId xmlns:a16="http://schemas.microsoft.com/office/drawing/2014/main" id="{3B82B82F-9C82-425A-B228-E0BC292084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5122" y="3169555"/>
                        <a:ext cx="159855" cy="251201"/>
                      </a:xfrm>
                      <a:custGeom>
                        <a:avLst/>
                        <a:gdLst>
                          <a:gd name="connsiteX0" fmla="*/ 0 w 159855"/>
                          <a:gd name="connsiteY0" fmla="*/ 0 h 251201"/>
                          <a:gd name="connsiteX1" fmla="*/ 132615 w 159855"/>
                          <a:gd name="connsiteY1" fmla="*/ 210444 h 251201"/>
                          <a:gd name="connsiteX2" fmla="*/ 159855 w 159855"/>
                          <a:gd name="connsiteY2" fmla="*/ 251201 h 25120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159855" h="251201">
                            <a:moveTo>
                              <a:pt x="0" y="0"/>
                            </a:moveTo>
                            <a:cubicBezTo>
                              <a:pt x="0" y="0"/>
                              <a:pt x="115616" y="190065"/>
                              <a:pt x="132615" y="210444"/>
                            </a:cubicBezTo>
                            <a:cubicBezTo>
                              <a:pt x="149615" y="230822"/>
                              <a:pt x="159855" y="251201"/>
                              <a:pt x="159855" y="251201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09" name="Полилиния: фигура 1408">
                        <a:extLst>
                          <a:ext uri="{FF2B5EF4-FFF2-40B4-BE49-F238E27FC236}">
                            <a16:creationId xmlns:a16="http://schemas.microsoft.com/office/drawing/2014/main" id="{27ED9CD2-A564-459B-B1DF-F4EEB5637D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219" y="2806322"/>
                        <a:ext cx="159855" cy="644951"/>
                      </a:xfrm>
                      <a:custGeom>
                        <a:avLst/>
                        <a:gdLst>
                          <a:gd name="connsiteX0" fmla="*/ 0 w 159855"/>
                          <a:gd name="connsiteY0" fmla="*/ 0 h 644951"/>
                          <a:gd name="connsiteX1" fmla="*/ 91858 w 159855"/>
                          <a:gd name="connsiteY1" fmla="*/ 363233 h 644951"/>
                          <a:gd name="connsiteX2" fmla="*/ 159855 w 159855"/>
                          <a:gd name="connsiteY2" fmla="*/ 644951 h 64495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159855" h="644951">
                            <a:moveTo>
                              <a:pt x="0" y="0"/>
                            </a:moveTo>
                            <a:cubicBezTo>
                              <a:pt x="0" y="0"/>
                              <a:pt x="57859" y="237684"/>
                              <a:pt x="91858" y="363233"/>
                            </a:cubicBezTo>
                            <a:cubicBezTo>
                              <a:pt x="125857" y="488885"/>
                              <a:pt x="159855" y="644951"/>
                              <a:pt x="159855" y="644951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0" name="Полилиния: фигура 1409">
                        <a:extLst>
                          <a:ext uri="{FF2B5EF4-FFF2-40B4-BE49-F238E27FC236}">
                            <a16:creationId xmlns:a16="http://schemas.microsoft.com/office/drawing/2014/main" id="{68E43742-ADF9-47DB-9163-D0ACA77036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212" y="2880975"/>
                        <a:ext cx="13619" cy="556779"/>
                      </a:xfrm>
                      <a:custGeom>
                        <a:avLst/>
                        <a:gdLst>
                          <a:gd name="connsiteX0" fmla="*/ 0 w 13619"/>
                          <a:gd name="connsiteY0" fmla="*/ 0 h 556779"/>
                          <a:gd name="connsiteX1" fmla="*/ 13620 w 13619"/>
                          <a:gd name="connsiteY1" fmla="*/ 383612 h 556779"/>
                          <a:gd name="connsiteX2" fmla="*/ 13620 w 13619"/>
                          <a:gd name="connsiteY2" fmla="*/ 556780 h 5567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13619" h="556779">
                            <a:moveTo>
                              <a:pt x="0" y="0"/>
                            </a:moveTo>
                            <a:cubicBezTo>
                              <a:pt x="0" y="0"/>
                              <a:pt x="13620" y="274959"/>
                              <a:pt x="13620" y="383612"/>
                            </a:cubicBezTo>
                            <a:lnTo>
                              <a:pt x="13620" y="556780"/>
                            </a:ln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1" name="Полилиния: фигура 1410">
                        <a:extLst>
                          <a:ext uri="{FF2B5EF4-FFF2-40B4-BE49-F238E27FC236}">
                            <a16:creationId xmlns:a16="http://schemas.microsoft.com/office/drawing/2014/main" id="{CA5C709B-E1AF-446F-B858-67F2D78E14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8831" y="2853838"/>
                        <a:ext cx="132615" cy="604193"/>
                      </a:xfrm>
                      <a:custGeom>
                        <a:avLst/>
                        <a:gdLst>
                          <a:gd name="connsiteX0" fmla="*/ 0 w 132615"/>
                          <a:gd name="connsiteY0" fmla="*/ 0 h 604193"/>
                          <a:gd name="connsiteX1" fmla="*/ 91858 w 132615"/>
                          <a:gd name="connsiteY1" fmla="*/ 186686 h 604193"/>
                          <a:gd name="connsiteX2" fmla="*/ 16999 w 132615"/>
                          <a:gd name="connsiteY2" fmla="*/ 210444 h 604193"/>
                          <a:gd name="connsiteX3" fmla="*/ 132615 w 132615"/>
                          <a:gd name="connsiteY3" fmla="*/ 274959 h 604193"/>
                          <a:gd name="connsiteX4" fmla="*/ 27240 w 132615"/>
                          <a:gd name="connsiteY4" fmla="*/ 604194 h 60419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32615" h="604193">
                            <a:moveTo>
                              <a:pt x="0" y="0"/>
                            </a:moveTo>
                            <a:lnTo>
                              <a:pt x="91858" y="186686"/>
                            </a:lnTo>
                            <a:lnTo>
                              <a:pt x="16999" y="210444"/>
                            </a:lnTo>
                            <a:lnTo>
                              <a:pt x="132615" y="274959"/>
                            </a:lnTo>
                            <a:lnTo>
                              <a:pt x="27240" y="604194"/>
                            </a:ln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2" name="Полилиния: фигура 1411">
                        <a:extLst>
                          <a:ext uri="{FF2B5EF4-FFF2-40B4-BE49-F238E27FC236}">
                            <a16:creationId xmlns:a16="http://schemas.microsoft.com/office/drawing/2014/main" id="{7F5DDD96-2649-4127-9F2C-757685D9E0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2451" y="2880975"/>
                        <a:ext cx="132615" cy="71274"/>
                      </a:xfrm>
                      <a:custGeom>
                        <a:avLst/>
                        <a:gdLst>
                          <a:gd name="connsiteX0" fmla="*/ 0 w 132615"/>
                          <a:gd name="connsiteY0" fmla="*/ 0 h 71274"/>
                          <a:gd name="connsiteX1" fmla="*/ 132615 w 132615"/>
                          <a:gd name="connsiteY1" fmla="*/ 71274 h 7127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2615" h="71274">
                            <a:moveTo>
                              <a:pt x="0" y="0"/>
                            </a:moveTo>
                            <a:lnTo>
                              <a:pt x="132615" y="71274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3" name="Полилиния: фигура 1412">
                        <a:extLst>
                          <a:ext uri="{FF2B5EF4-FFF2-40B4-BE49-F238E27FC236}">
                            <a16:creationId xmlns:a16="http://schemas.microsoft.com/office/drawing/2014/main" id="{8831E357-6A2A-40B1-B746-7DF77977DF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80544" y="3159314"/>
                        <a:ext cx="16999" cy="319096"/>
                      </a:xfrm>
                      <a:custGeom>
                        <a:avLst/>
                        <a:gdLst>
                          <a:gd name="connsiteX0" fmla="*/ 0 w 16999"/>
                          <a:gd name="connsiteY0" fmla="*/ 0 h 319096"/>
                          <a:gd name="connsiteX1" fmla="*/ 16999 w 16999"/>
                          <a:gd name="connsiteY1" fmla="*/ 319096 h 3190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6999" h="319096">
                            <a:moveTo>
                              <a:pt x="0" y="0"/>
                            </a:moveTo>
                            <a:lnTo>
                              <a:pt x="16999" y="319096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4" name="Полилиния: фигура 1413">
                        <a:extLst>
                          <a:ext uri="{FF2B5EF4-FFF2-40B4-BE49-F238E27FC236}">
                            <a16:creationId xmlns:a16="http://schemas.microsoft.com/office/drawing/2014/main" id="{06F1B35B-111A-498C-A3D5-67FBABCD79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7804" y="2846977"/>
                        <a:ext cx="391556" cy="308957"/>
                      </a:xfrm>
                      <a:custGeom>
                        <a:avLst/>
                        <a:gdLst>
                          <a:gd name="connsiteX0" fmla="*/ 391557 w 391556"/>
                          <a:gd name="connsiteY0" fmla="*/ 0 h 308957"/>
                          <a:gd name="connsiteX1" fmla="*/ 85466 w 391556"/>
                          <a:gd name="connsiteY1" fmla="*/ 176547 h 308957"/>
                          <a:gd name="connsiteX2" fmla="*/ 469 w 391556"/>
                          <a:gd name="connsiteY2" fmla="*/ 308958 h 308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391556" h="308957">
                            <a:moveTo>
                              <a:pt x="391557" y="0"/>
                            </a:moveTo>
                            <a:cubicBezTo>
                              <a:pt x="391557" y="0"/>
                              <a:pt x="160325" y="118791"/>
                              <a:pt x="85466" y="176547"/>
                            </a:cubicBezTo>
                            <a:cubicBezTo>
                              <a:pt x="10608" y="234304"/>
                              <a:pt x="-2910" y="274959"/>
                              <a:pt x="469" y="308958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5" name="Полилиния: фигура 1414">
                        <a:extLst>
                          <a:ext uri="{FF2B5EF4-FFF2-40B4-BE49-F238E27FC236}">
                            <a16:creationId xmlns:a16="http://schemas.microsoft.com/office/drawing/2014/main" id="{7A2F8299-FA46-44F0-8F9B-8B236DA7DC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2891" y="3498789"/>
                        <a:ext cx="10240" cy="1188213"/>
                      </a:xfrm>
                      <a:custGeom>
                        <a:avLst/>
                        <a:gdLst>
                          <a:gd name="connsiteX0" fmla="*/ 0 w 10240"/>
                          <a:gd name="connsiteY0" fmla="*/ 0 h 1188213"/>
                          <a:gd name="connsiteX1" fmla="*/ 0 w 10240"/>
                          <a:gd name="connsiteY1" fmla="*/ 1188213 h 11882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240" h="1188213">
                            <a:moveTo>
                              <a:pt x="0" y="0"/>
                            </a:moveTo>
                            <a:lnTo>
                              <a:pt x="0" y="1188213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6" name="Полилиния: фигура 1415">
                        <a:extLst>
                          <a:ext uri="{FF2B5EF4-FFF2-40B4-BE49-F238E27FC236}">
                            <a16:creationId xmlns:a16="http://schemas.microsoft.com/office/drawing/2014/main" id="{4EE9B163-6493-4017-9999-C3D16BEC6F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453" y="3790748"/>
                        <a:ext cx="10240" cy="852117"/>
                      </a:xfrm>
                      <a:custGeom>
                        <a:avLst/>
                        <a:gdLst>
                          <a:gd name="connsiteX0" fmla="*/ 0 w 10240"/>
                          <a:gd name="connsiteY0" fmla="*/ 0 h 852117"/>
                          <a:gd name="connsiteX1" fmla="*/ 0 w 10240"/>
                          <a:gd name="connsiteY1" fmla="*/ 852118 h 85211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240" h="852117">
                            <a:moveTo>
                              <a:pt x="0" y="0"/>
                            </a:moveTo>
                            <a:lnTo>
                              <a:pt x="0" y="852118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7" name="Полилиния: фигура 1416">
                        <a:extLst>
                          <a:ext uri="{FF2B5EF4-FFF2-40B4-BE49-F238E27FC236}">
                            <a16:creationId xmlns:a16="http://schemas.microsoft.com/office/drawing/2014/main" id="{89AC7552-482D-44C5-A241-F8CFD6BF49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5840" y="3139140"/>
                        <a:ext cx="113260" cy="93496"/>
                      </a:xfrm>
                      <a:custGeom>
                        <a:avLst/>
                        <a:gdLst>
                          <a:gd name="connsiteX0" fmla="*/ 0 w 113260"/>
                          <a:gd name="connsiteY0" fmla="*/ 0 h 93496"/>
                          <a:gd name="connsiteX1" fmla="*/ 113261 w 113260"/>
                          <a:gd name="connsiteY1" fmla="*/ 93496 h 934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13260" h="93496">
                            <a:moveTo>
                              <a:pt x="0" y="0"/>
                            </a:moveTo>
                            <a:cubicBezTo>
                              <a:pt x="0" y="0"/>
                              <a:pt x="78136" y="27240"/>
                              <a:pt x="113261" y="93496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8" name="Полилиния: фигура 1417">
                        <a:extLst>
                          <a:ext uri="{FF2B5EF4-FFF2-40B4-BE49-F238E27FC236}">
                            <a16:creationId xmlns:a16="http://schemas.microsoft.com/office/drawing/2014/main" id="{4AC61F04-C0CB-4294-A23D-2373CF8DFC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6633" y="3135249"/>
                        <a:ext cx="101484" cy="93496"/>
                      </a:xfrm>
                      <a:custGeom>
                        <a:avLst/>
                        <a:gdLst>
                          <a:gd name="connsiteX0" fmla="*/ 0 w 101484"/>
                          <a:gd name="connsiteY0" fmla="*/ 0 h 93496"/>
                          <a:gd name="connsiteX1" fmla="*/ 101484 w 101484"/>
                          <a:gd name="connsiteY1" fmla="*/ 93496 h 9349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1484" h="93496">
                            <a:moveTo>
                              <a:pt x="0" y="0"/>
                            </a:moveTo>
                            <a:cubicBezTo>
                              <a:pt x="0" y="0"/>
                              <a:pt x="70250" y="27240"/>
                              <a:pt x="101484" y="93496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19" name="Полилиния: фигура 1418">
                        <a:extLst>
                          <a:ext uri="{FF2B5EF4-FFF2-40B4-BE49-F238E27FC236}">
                            <a16:creationId xmlns:a16="http://schemas.microsoft.com/office/drawing/2014/main" id="{DC177191-2289-43C1-A37E-065203BE00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9834" y="4225665"/>
                        <a:ext cx="258779" cy="50793"/>
                      </a:xfrm>
                      <a:custGeom>
                        <a:avLst/>
                        <a:gdLst>
                          <a:gd name="connsiteX0" fmla="*/ 0 w 258779"/>
                          <a:gd name="connsiteY0" fmla="*/ 0 h 50793"/>
                          <a:gd name="connsiteX1" fmla="*/ 258779 w 258779"/>
                          <a:gd name="connsiteY1" fmla="*/ 0 h 50793"/>
                          <a:gd name="connsiteX2" fmla="*/ 258779 w 258779"/>
                          <a:gd name="connsiteY2" fmla="*/ 50793 h 50793"/>
                          <a:gd name="connsiteX3" fmla="*/ 9217 w 258779"/>
                          <a:gd name="connsiteY3" fmla="*/ 50793 h 5079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258779" h="50793">
                            <a:moveTo>
                              <a:pt x="0" y="0"/>
                            </a:moveTo>
                            <a:lnTo>
                              <a:pt x="258779" y="0"/>
                            </a:lnTo>
                            <a:lnTo>
                              <a:pt x="258779" y="50793"/>
                            </a:lnTo>
                            <a:lnTo>
                              <a:pt x="9217" y="50793"/>
                            </a:ln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</p:grpSp>
                <p:grpSp>
                  <p:nvGrpSpPr>
                    <p:cNvPr id="1420" name="Рисунок 1282">
                      <a:extLst>
                        <a:ext uri="{FF2B5EF4-FFF2-40B4-BE49-F238E27FC236}">
                          <a16:creationId xmlns:a16="http://schemas.microsoft.com/office/drawing/2014/main" id="{1C513778-6A5B-40D9-9E8A-2FA6961B24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43733" y="3247178"/>
                      <a:ext cx="693491" cy="1433782"/>
                      <a:chOff x="1243733" y="3247178"/>
                      <a:chExt cx="693491" cy="1433782"/>
                    </a:xfrm>
                  </p:grpSpPr>
                  <p:sp>
                    <p:nvSpPr>
                      <p:cNvPr id="1421" name="Полилиния: фигура 1420">
                        <a:extLst>
                          <a:ext uri="{FF2B5EF4-FFF2-40B4-BE49-F238E27FC236}">
                            <a16:creationId xmlns:a16="http://schemas.microsoft.com/office/drawing/2014/main" id="{D963CB18-416C-469F-A400-02DC317DFC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3733" y="3247178"/>
                        <a:ext cx="693491" cy="1433782"/>
                      </a:xfrm>
                      <a:custGeom>
                        <a:avLst/>
                        <a:gdLst>
                          <a:gd name="connsiteX0" fmla="*/ 693389 w 693491"/>
                          <a:gd name="connsiteY0" fmla="*/ 146235 h 1433782"/>
                          <a:gd name="connsiteX1" fmla="*/ 637885 w 693491"/>
                          <a:gd name="connsiteY1" fmla="*/ 0 h 1433782"/>
                          <a:gd name="connsiteX2" fmla="*/ 594056 w 693491"/>
                          <a:gd name="connsiteY2" fmla="*/ 110393 h 1433782"/>
                          <a:gd name="connsiteX3" fmla="*/ 506601 w 693491"/>
                          <a:gd name="connsiteY3" fmla="*/ 251304 h 1433782"/>
                          <a:gd name="connsiteX4" fmla="*/ 523908 w 693491"/>
                          <a:gd name="connsiteY4" fmla="*/ 472397 h 1433782"/>
                          <a:gd name="connsiteX5" fmla="*/ 400611 w 693491"/>
                          <a:gd name="connsiteY5" fmla="*/ 776338 h 1433782"/>
                          <a:gd name="connsiteX6" fmla="*/ 425905 w 693491"/>
                          <a:gd name="connsiteY6" fmla="*/ 864714 h 1433782"/>
                          <a:gd name="connsiteX7" fmla="*/ 0 w 693491"/>
                          <a:gd name="connsiteY7" fmla="*/ 1433782 h 1433782"/>
                          <a:gd name="connsiteX8" fmla="*/ 609621 w 693491"/>
                          <a:gd name="connsiteY8" fmla="*/ 1415861 h 1433782"/>
                          <a:gd name="connsiteX9" fmla="*/ 609621 w 693491"/>
                          <a:gd name="connsiteY9" fmla="*/ 601941 h 1433782"/>
                          <a:gd name="connsiteX10" fmla="*/ 693491 w 693491"/>
                          <a:gd name="connsiteY10" fmla="*/ 146338 h 143378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693491" h="1433782">
                            <a:moveTo>
                              <a:pt x="693389" y="146235"/>
                            </a:moveTo>
                            <a:cubicBezTo>
                              <a:pt x="668914" y="85304"/>
                              <a:pt x="648535" y="33282"/>
                              <a:pt x="637885" y="0"/>
                            </a:cubicBezTo>
                            <a:cubicBezTo>
                              <a:pt x="640138" y="24168"/>
                              <a:pt x="630512" y="74756"/>
                              <a:pt x="594056" y="110393"/>
                            </a:cubicBezTo>
                            <a:cubicBezTo>
                              <a:pt x="523396" y="179415"/>
                              <a:pt x="503324" y="155452"/>
                              <a:pt x="506601" y="251304"/>
                            </a:cubicBezTo>
                            <a:cubicBezTo>
                              <a:pt x="509776" y="347053"/>
                              <a:pt x="547666" y="390678"/>
                              <a:pt x="523908" y="472397"/>
                            </a:cubicBezTo>
                            <a:cubicBezTo>
                              <a:pt x="500150" y="554117"/>
                              <a:pt x="397334" y="634506"/>
                              <a:pt x="400611" y="776338"/>
                            </a:cubicBezTo>
                            <a:cubicBezTo>
                              <a:pt x="401328" y="806240"/>
                              <a:pt x="410647" y="836143"/>
                              <a:pt x="425905" y="864714"/>
                            </a:cubicBezTo>
                            <a:lnTo>
                              <a:pt x="0" y="1433782"/>
                            </a:lnTo>
                            <a:lnTo>
                              <a:pt x="609621" y="1415861"/>
                            </a:lnTo>
                            <a:lnTo>
                              <a:pt x="609621" y="601941"/>
                            </a:lnTo>
                            <a:lnTo>
                              <a:pt x="693491" y="146338"/>
                            </a:lnTo>
                            <a:close/>
                          </a:path>
                        </a:pathLst>
                      </a:custGeom>
                      <a:solidFill>
                        <a:srgbClr val="92E3A9"/>
                      </a:solidFill>
                      <a:ln w="10228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422" name="Полилиния: фигура 1421">
                        <a:extLst>
                          <a:ext uri="{FF2B5EF4-FFF2-40B4-BE49-F238E27FC236}">
                            <a16:creationId xmlns:a16="http://schemas.microsoft.com/office/drawing/2014/main" id="{42BCE1D8-FAA9-4BF1-A454-0B2F5F08F2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3733" y="3247178"/>
                        <a:ext cx="693491" cy="1433782"/>
                      </a:xfrm>
                      <a:custGeom>
                        <a:avLst/>
                        <a:gdLst>
                          <a:gd name="connsiteX0" fmla="*/ 693389 w 693491"/>
                          <a:gd name="connsiteY0" fmla="*/ 146235 h 1433782"/>
                          <a:gd name="connsiteX1" fmla="*/ 637885 w 693491"/>
                          <a:gd name="connsiteY1" fmla="*/ 0 h 1433782"/>
                          <a:gd name="connsiteX2" fmla="*/ 594056 w 693491"/>
                          <a:gd name="connsiteY2" fmla="*/ 110393 h 1433782"/>
                          <a:gd name="connsiteX3" fmla="*/ 506601 w 693491"/>
                          <a:gd name="connsiteY3" fmla="*/ 251304 h 1433782"/>
                          <a:gd name="connsiteX4" fmla="*/ 523908 w 693491"/>
                          <a:gd name="connsiteY4" fmla="*/ 472397 h 1433782"/>
                          <a:gd name="connsiteX5" fmla="*/ 400611 w 693491"/>
                          <a:gd name="connsiteY5" fmla="*/ 776338 h 1433782"/>
                          <a:gd name="connsiteX6" fmla="*/ 425905 w 693491"/>
                          <a:gd name="connsiteY6" fmla="*/ 864714 h 1433782"/>
                          <a:gd name="connsiteX7" fmla="*/ 0 w 693491"/>
                          <a:gd name="connsiteY7" fmla="*/ 1433782 h 1433782"/>
                          <a:gd name="connsiteX8" fmla="*/ 609621 w 693491"/>
                          <a:gd name="connsiteY8" fmla="*/ 1415861 h 1433782"/>
                          <a:gd name="connsiteX9" fmla="*/ 609621 w 693491"/>
                          <a:gd name="connsiteY9" fmla="*/ 601941 h 1433782"/>
                          <a:gd name="connsiteX10" fmla="*/ 693491 w 693491"/>
                          <a:gd name="connsiteY10" fmla="*/ 146338 h 143378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693491" h="1433782">
                            <a:moveTo>
                              <a:pt x="693389" y="146235"/>
                            </a:moveTo>
                            <a:cubicBezTo>
                              <a:pt x="668914" y="85304"/>
                              <a:pt x="648535" y="33282"/>
                              <a:pt x="637885" y="0"/>
                            </a:cubicBezTo>
                            <a:cubicBezTo>
                              <a:pt x="640138" y="24168"/>
                              <a:pt x="630512" y="74756"/>
                              <a:pt x="594056" y="110393"/>
                            </a:cubicBezTo>
                            <a:cubicBezTo>
                              <a:pt x="523396" y="179415"/>
                              <a:pt x="503324" y="155452"/>
                              <a:pt x="506601" y="251304"/>
                            </a:cubicBezTo>
                            <a:cubicBezTo>
                              <a:pt x="509776" y="347053"/>
                              <a:pt x="547666" y="390678"/>
                              <a:pt x="523908" y="472397"/>
                            </a:cubicBezTo>
                            <a:cubicBezTo>
                              <a:pt x="500150" y="554117"/>
                              <a:pt x="397334" y="634506"/>
                              <a:pt x="400611" y="776338"/>
                            </a:cubicBezTo>
                            <a:cubicBezTo>
                              <a:pt x="401328" y="806240"/>
                              <a:pt x="410647" y="836143"/>
                              <a:pt x="425905" y="864714"/>
                            </a:cubicBezTo>
                            <a:lnTo>
                              <a:pt x="0" y="1433782"/>
                            </a:lnTo>
                            <a:lnTo>
                              <a:pt x="609621" y="1415861"/>
                            </a:lnTo>
                            <a:lnTo>
                              <a:pt x="609621" y="601941"/>
                            </a:lnTo>
                            <a:lnTo>
                              <a:pt x="693491" y="146338"/>
                            </a:lnTo>
                            <a:close/>
                          </a:path>
                        </a:pathLst>
                      </a:custGeom>
                      <a:solidFill>
                        <a:srgbClr val="FFFFFF">
                          <a:alpha val="70000"/>
                        </a:srgbClr>
                      </a:solidFill>
                      <a:ln w="10228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</p:grpSp>
                <p:sp>
                  <p:nvSpPr>
                    <p:cNvPr id="1423" name="Полилиния: фигура 1422">
                      <a:extLst>
                        <a:ext uri="{FF2B5EF4-FFF2-40B4-BE49-F238E27FC236}">
                          <a16:creationId xmlns:a16="http://schemas.microsoft.com/office/drawing/2014/main" id="{2CC88329-7405-4AE5-9D18-163C12858D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853764" y="4274000"/>
                      <a:ext cx="10240" cy="353504"/>
                    </a:xfrm>
                    <a:custGeom>
                      <a:avLst/>
                      <a:gdLst>
                        <a:gd name="connsiteX0" fmla="*/ 0 w 10240"/>
                        <a:gd name="connsiteY0" fmla="*/ 0 h 353504"/>
                        <a:gd name="connsiteX1" fmla="*/ 0 w 10240"/>
                        <a:gd name="connsiteY1" fmla="*/ 353504 h 353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0240" h="353504">
                          <a:moveTo>
                            <a:pt x="0" y="0"/>
                          </a:moveTo>
                          <a:lnTo>
                            <a:pt x="0" y="353504"/>
                          </a:lnTo>
                        </a:path>
                      </a:pathLst>
                    </a:custGeom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grpSp>
                  <p:nvGrpSpPr>
                    <p:cNvPr id="1424" name="Рисунок 1282">
                      <a:extLst>
                        <a:ext uri="{FF2B5EF4-FFF2-40B4-BE49-F238E27FC236}">
                          <a16:creationId xmlns:a16="http://schemas.microsoft.com/office/drawing/2014/main" id="{1C513778-6A5B-40D9-9E8A-2FA6961B24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89101" y="2127801"/>
                      <a:ext cx="572863" cy="725013"/>
                      <a:chOff x="1189101" y="2127801"/>
                      <a:chExt cx="572863" cy="725013"/>
                    </a:xfrm>
                  </p:grpSpPr>
                  <p:sp>
                    <p:nvSpPr>
                      <p:cNvPr id="1425" name="Полилиния: фигура 1424">
                        <a:extLst>
                          <a:ext uri="{FF2B5EF4-FFF2-40B4-BE49-F238E27FC236}">
                            <a16:creationId xmlns:a16="http://schemas.microsoft.com/office/drawing/2014/main" id="{1654795F-6869-44DF-8FD3-EB8D20C0E1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9101" y="2127838"/>
                        <a:ext cx="572863" cy="724976"/>
                      </a:xfrm>
                      <a:custGeom>
                        <a:avLst/>
                        <a:gdLst>
                          <a:gd name="connsiteX0" fmla="*/ 465586 w 572863"/>
                          <a:gd name="connsiteY0" fmla="*/ 247356 h 724976"/>
                          <a:gd name="connsiteX1" fmla="*/ 570961 w 572863"/>
                          <a:gd name="connsiteY1" fmla="*/ 114945 h 724976"/>
                          <a:gd name="connsiteX2" fmla="*/ 298870 w 572863"/>
                          <a:gd name="connsiteY2" fmla="*/ 9672 h 724976"/>
                          <a:gd name="connsiteX3" fmla="*/ 115256 w 572863"/>
                          <a:gd name="connsiteY3" fmla="*/ 114945 h 724976"/>
                          <a:gd name="connsiteX4" fmla="*/ 13260 w 572863"/>
                          <a:gd name="connsiteY4" fmla="*/ 145462 h 724976"/>
                          <a:gd name="connsiteX5" fmla="*/ 23501 w 572863"/>
                          <a:gd name="connsiteY5" fmla="*/ 257494 h 724976"/>
                          <a:gd name="connsiteX6" fmla="*/ 37223 w 572863"/>
                          <a:gd name="connsiteY6" fmla="*/ 384989 h 724976"/>
                          <a:gd name="connsiteX7" fmla="*/ 34560 w 572863"/>
                          <a:gd name="connsiteY7" fmla="*/ 385603 h 724976"/>
                          <a:gd name="connsiteX8" fmla="*/ 11826 w 572863"/>
                          <a:gd name="connsiteY8" fmla="*/ 415711 h 724976"/>
                          <a:gd name="connsiteX9" fmla="*/ 36301 w 572863"/>
                          <a:gd name="connsiteY9" fmla="*/ 494461 h 724976"/>
                          <a:gd name="connsiteX10" fmla="*/ 102763 w 572863"/>
                          <a:gd name="connsiteY10" fmla="*/ 534092 h 724976"/>
                          <a:gd name="connsiteX11" fmla="*/ 102967 w 572863"/>
                          <a:gd name="connsiteY11" fmla="*/ 534092 h 724976"/>
                          <a:gd name="connsiteX12" fmla="*/ 124268 w 572863"/>
                          <a:gd name="connsiteY12" fmla="*/ 568398 h 724976"/>
                          <a:gd name="connsiteX13" fmla="*/ 267841 w 572863"/>
                          <a:gd name="connsiteY13" fmla="*/ 724157 h 724976"/>
                          <a:gd name="connsiteX14" fmla="*/ 288117 w 572863"/>
                          <a:gd name="connsiteY14" fmla="*/ 724976 h 724976"/>
                          <a:gd name="connsiteX15" fmla="*/ 377620 w 572863"/>
                          <a:gd name="connsiteY15" fmla="*/ 691592 h 724976"/>
                          <a:gd name="connsiteX16" fmla="*/ 460159 w 572863"/>
                          <a:gd name="connsiteY16" fmla="*/ 488931 h 724976"/>
                          <a:gd name="connsiteX17" fmla="*/ 462309 w 572863"/>
                          <a:gd name="connsiteY17" fmla="*/ 450631 h 724976"/>
                          <a:gd name="connsiteX18" fmla="*/ 473778 w 572863"/>
                          <a:gd name="connsiteY18" fmla="*/ 417042 h 724976"/>
                          <a:gd name="connsiteX19" fmla="*/ 462104 w 572863"/>
                          <a:gd name="connsiteY19" fmla="*/ 383248 h 724976"/>
                          <a:gd name="connsiteX20" fmla="*/ 456984 w 572863"/>
                          <a:gd name="connsiteY20" fmla="*/ 246537 h 724976"/>
                          <a:gd name="connsiteX21" fmla="*/ 465484 w 572863"/>
                          <a:gd name="connsiteY21" fmla="*/ 247253 h 7249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</a:cxnLst>
                        <a:rect l="l" t="t" r="r" b="b"/>
                        <a:pathLst>
                          <a:path w="572863" h="724976">
                            <a:moveTo>
                              <a:pt x="465586" y="247356"/>
                            </a:moveTo>
                            <a:cubicBezTo>
                              <a:pt x="485965" y="243976"/>
                              <a:pt x="587961" y="179461"/>
                              <a:pt x="570961" y="114945"/>
                            </a:cubicBezTo>
                            <a:cubicBezTo>
                              <a:pt x="553962" y="50430"/>
                              <a:pt x="411106" y="-27603"/>
                              <a:pt x="298870" y="9672"/>
                            </a:cubicBezTo>
                            <a:cubicBezTo>
                              <a:pt x="186633" y="46948"/>
                              <a:pt x="115256" y="114945"/>
                              <a:pt x="115256" y="114945"/>
                            </a:cubicBezTo>
                            <a:cubicBezTo>
                              <a:pt x="115256" y="114945"/>
                              <a:pt x="40398" y="114945"/>
                              <a:pt x="13260" y="145462"/>
                            </a:cubicBezTo>
                            <a:cubicBezTo>
                              <a:pt x="-13980" y="175979"/>
                              <a:pt x="6501" y="223495"/>
                              <a:pt x="23501" y="257494"/>
                            </a:cubicBezTo>
                            <a:cubicBezTo>
                              <a:pt x="38247" y="286987"/>
                              <a:pt x="37633" y="364918"/>
                              <a:pt x="37223" y="384989"/>
                            </a:cubicBezTo>
                            <a:cubicBezTo>
                              <a:pt x="36301" y="384989"/>
                              <a:pt x="35380" y="385092"/>
                              <a:pt x="34560" y="385603"/>
                            </a:cubicBezTo>
                            <a:cubicBezTo>
                              <a:pt x="22374" y="392874"/>
                              <a:pt x="14694" y="403013"/>
                              <a:pt x="11826" y="415711"/>
                            </a:cubicBezTo>
                            <a:cubicBezTo>
                              <a:pt x="7218" y="436294"/>
                              <a:pt x="15718" y="463534"/>
                              <a:pt x="36301" y="494461"/>
                            </a:cubicBezTo>
                            <a:cubicBezTo>
                              <a:pt x="60776" y="531224"/>
                              <a:pt x="93136" y="534092"/>
                              <a:pt x="102763" y="534092"/>
                            </a:cubicBezTo>
                            <a:lnTo>
                              <a:pt x="102967" y="534092"/>
                            </a:lnTo>
                            <a:cubicBezTo>
                              <a:pt x="106654" y="538188"/>
                              <a:pt x="116485" y="550272"/>
                              <a:pt x="124268" y="568398"/>
                            </a:cubicBezTo>
                            <a:cubicBezTo>
                              <a:pt x="132870" y="588469"/>
                              <a:pt x="218583" y="720368"/>
                              <a:pt x="267841" y="724157"/>
                            </a:cubicBezTo>
                            <a:cubicBezTo>
                              <a:pt x="274907" y="724669"/>
                              <a:pt x="281665" y="724976"/>
                              <a:pt x="288117" y="724976"/>
                            </a:cubicBezTo>
                            <a:cubicBezTo>
                              <a:pt x="330411" y="724976"/>
                              <a:pt x="361132" y="713609"/>
                              <a:pt x="377620" y="691592"/>
                            </a:cubicBezTo>
                            <a:cubicBezTo>
                              <a:pt x="399330" y="662611"/>
                              <a:pt x="453502" y="545766"/>
                              <a:pt x="460159" y="488931"/>
                            </a:cubicBezTo>
                            <a:cubicBezTo>
                              <a:pt x="461285" y="479202"/>
                              <a:pt x="462002" y="465890"/>
                              <a:pt x="462309" y="450631"/>
                            </a:cubicBezTo>
                            <a:cubicBezTo>
                              <a:pt x="469375" y="441210"/>
                              <a:pt x="473778" y="429740"/>
                              <a:pt x="473778" y="417042"/>
                            </a:cubicBezTo>
                            <a:cubicBezTo>
                              <a:pt x="473778" y="404344"/>
                              <a:pt x="469273" y="392669"/>
                              <a:pt x="462104" y="383248"/>
                            </a:cubicBezTo>
                            <a:cubicBezTo>
                              <a:pt x="460875" y="323238"/>
                              <a:pt x="457701" y="260873"/>
                              <a:pt x="456984" y="246537"/>
                            </a:cubicBezTo>
                            <a:cubicBezTo>
                              <a:pt x="459954" y="247356"/>
                              <a:pt x="462821" y="247765"/>
                              <a:pt x="465484" y="247253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0228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grpSp>
                    <p:nvGrpSpPr>
                      <p:cNvPr id="1426" name="Рисунок 1282">
                        <a:extLst>
                          <a:ext uri="{FF2B5EF4-FFF2-40B4-BE49-F238E27FC236}">
                            <a16:creationId xmlns:a16="http://schemas.microsoft.com/office/drawing/2014/main" id="{1C513778-6A5B-40D9-9E8A-2FA6961B248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189147" y="2127801"/>
                        <a:ext cx="572818" cy="719978"/>
                        <a:chOff x="1189147" y="2127801"/>
                        <a:chExt cx="572818" cy="719978"/>
                      </a:xfrm>
                    </p:grpSpPr>
                    <p:sp>
                      <p:nvSpPr>
                        <p:cNvPr id="1427" name="Полилиния: фигура 1426">
                          <a:extLst>
                            <a:ext uri="{FF2B5EF4-FFF2-40B4-BE49-F238E27FC236}">
                              <a16:creationId xmlns:a16="http://schemas.microsoft.com/office/drawing/2014/main" id="{D946573D-4768-49F0-83BF-2FD360CB518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204672" y="2371712"/>
                          <a:ext cx="442141" cy="476067"/>
                        </a:xfrm>
                        <a:custGeom>
                          <a:avLst/>
                          <a:gdLst>
                            <a:gd name="connsiteX0" fmla="*/ 436396 w 442141"/>
                            <a:gd name="connsiteY0" fmla="*/ 0 h 476067"/>
                            <a:gd name="connsiteX1" fmla="*/ 439775 w 442141"/>
                            <a:gd name="connsiteY1" fmla="*/ 244443 h 476067"/>
                            <a:gd name="connsiteX2" fmla="*/ 358158 w 442141"/>
                            <a:gd name="connsiteY2" fmla="*/ 444748 h 476067"/>
                            <a:gd name="connsiteX3" fmla="*/ 252782 w 442141"/>
                            <a:gd name="connsiteY3" fmla="*/ 475265 h 476067"/>
                            <a:gd name="connsiteX4" fmla="*/ 113306 w 442141"/>
                            <a:gd name="connsiteY4" fmla="*/ 322476 h 476067"/>
                            <a:gd name="connsiteX5" fmla="*/ 89548 w 442141"/>
                            <a:gd name="connsiteY5" fmla="*/ 285097 h 476067"/>
                            <a:gd name="connsiteX6" fmla="*/ 24930 w 442141"/>
                            <a:gd name="connsiteY6" fmla="*/ 247719 h 476067"/>
                            <a:gd name="connsiteX7" fmla="*/ 21550 w 442141"/>
                            <a:gd name="connsiteY7" fmla="*/ 145826 h 47606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442141" h="476067">
                              <a:moveTo>
                                <a:pt x="436396" y="0"/>
                              </a:moveTo>
                              <a:cubicBezTo>
                                <a:pt x="436396" y="0"/>
                                <a:pt x="446636" y="186686"/>
                                <a:pt x="439775" y="244443"/>
                              </a:cubicBezTo>
                              <a:cubicBezTo>
                                <a:pt x="433016" y="302199"/>
                                <a:pt x="378536" y="417610"/>
                                <a:pt x="358158" y="444748"/>
                              </a:cubicBezTo>
                              <a:cubicBezTo>
                                <a:pt x="337779" y="471886"/>
                                <a:pt x="296919" y="478644"/>
                                <a:pt x="252782" y="475265"/>
                              </a:cubicBezTo>
                              <a:cubicBezTo>
                                <a:pt x="208543" y="471886"/>
                                <a:pt x="123546" y="346234"/>
                                <a:pt x="113306" y="322476"/>
                              </a:cubicBezTo>
                              <a:cubicBezTo>
                                <a:pt x="103065" y="298717"/>
                                <a:pt x="89548" y="285097"/>
                                <a:pt x="89548" y="285097"/>
                              </a:cubicBezTo>
                              <a:cubicBezTo>
                                <a:pt x="89548" y="285097"/>
                                <a:pt x="52169" y="288477"/>
                                <a:pt x="24930" y="247719"/>
                              </a:cubicBezTo>
                              <a:cubicBezTo>
                                <a:pt x="-2310" y="206962"/>
                                <a:pt x="-12449" y="166205"/>
                                <a:pt x="21550" y="145826"/>
                              </a:cubicBezTo>
                            </a:path>
                          </a:pathLst>
                        </a:custGeom>
                        <a:noFill/>
                        <a:ln w="9921" cap="rnd">
                          <a:solidFill>
                            <a:srgbClr val="263238"/>
                          </a:solidFill>
                          <a:prstDash val="solid"/>
                          <a:round/>
                        </a:ln>
                      </p:spPr>
                      <p:txBody>
                        <a:bodyPr rtlCol="0" anchor="ctr"/>
                        <a:lstStyle/>
                        <a:p>
                          <a:endParaRPr lang="ru-RU"/>
                        </a:p>
                      </p:txBody>
                    </p:sp>
                    <p:sp>
                      <p:nvSpPr>
                        <p:cNvPr id="1428" name="Полилиния: фигура 1427">
                          <a:extLst>
                            <a:ext uri="{FF2B5EF4-FFF2-40B4-BE49-F238E27FC236}">
                              <a16:creationId xmlns:a16="http://schemas.microsoft.com/office/drawing/2014/main" id="{38A5F048-EA5B-488C-8DFE-D14ECD132B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494832" y="2530683"/>
                          <a:ext cx="64618" cy="183985"/>
                        </a:xfrm>
                        <a:custGeom>
                          <a:avLst/>
                          <a:gdLst>
                            <a:gd name="connsiteX0" fmla="*/ 0 w 64618"/>
                            <a:gd name="connsiteY0" fmla="*/ 24437 h 183985"/>
                            <a:gd name="connsiteX1" fmla="*/ 47619 w 64618"/>
                            <a:gd name="connsiteY1" fmla="*/ 7438 h 183985"/>
                            <a:gd name="connsiteX2" fmla="*/ 64618 w 64618"/>
                            <a:gd name="connsiteY2" fmla="*/ 116090 h 183985"/>
                            <a:gd name="connsiteX3" fmla="*/ 13620 w 64618"/>
                            <a:gd name="connsiteY3" fmla="*/ 129710 h 183985"/>
                            <a:gd name="connsiteX4" fmla="*/ 20379 w 64618"/>
                            <a:gd name="connsiteY4" fmla="*/ 183985 h 1839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64618" h="183985">
                              <a:moveTo>
                                <a:pt x="0" y="24437"/>
                              </a:moveTo>
                              <a:cubicBezTo>
                                <a:pt x="0" y="24437"/>
                                <a:pt x="23758" y="-16320"/>
                                <a:pt x="47619" y="7438"/>
                              </a:cubicBezTo>
                              <a:lnTo>
                                <a:pt x="64618" y="116090"/>
                              </a:lnTo>
                              <a:lnTo>
                                <a:pt x="13620" y="129710"/>
                              </a:lnTo>
                              <a:lnTo>
                                <a:pt x="20379" y="183985"/>
                              </a:lnTo>
                            </a:path>
                          </a:pathLst>
                        </a:custGeom>
                        <a:noFill/>
                        <a:ln w="9921" cap="rnd">
                          <a:solidFill>
                            <a:srgbClr val="263238"/>
                          </a:solidFill>
                          <a:prstDash val="solid"/>
                          <a:round/>
                        </a:ln>
                      </p:spPr>
                      <p:txBody>
                        <a:bodyPr rtlCol="0" anchor="ctr"/>
                        <a:lstStyle/>
                        <a:p>
                          <a:endParaRPr lang="ru-RU"/>
                        </a:p>
                      </p:txBody>
                    </p:sp>
                    <p:grpSp>
                      <p:nvGrpSpPr>
                        <p:cNvPr id="1429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290738" y="2493984"/>
                          <a:ext cx="367329" cy="112031"/>
                          <a:chOff x="1290738" y="2493984"/>
                          <a:chExt cx="367329" cy="112031"/>
                        </a:xfrm>
                      </p:grpSpPr>
                      <p:grpSp>
                        <p:nvGrpSpPr>
                          <p:cNvPr id="1430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1392836" y="2504225"/>
                            <a:ext cx="101996" cy="101791"/>
                            <a:chOff x="1392836" y="2504225"/>
                            <a:chExt cx="101996" cy="101791"/>
                          </a:xfrm>
                        </p:grpSpPr>
                        <p:sp>
                          <p:nvSpPr>
                            <p:cNvPr id="1431" name="Полилиния: фигура 1430">
                              <a:extLst>
                                <a:ext uri="{FF2B5EF4-FFF2-40B4-BE49-F238E27FC236}">
                                  <a16:creationId xmlns:a16="http://schemas.microsoft.com/office/drawing/2014/main" id="{878C6529-FCC2-4DAD-85D0-AE476ED5856A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392836" y="2504225"/>
                              <a:ext cx="101996" cy="101791"/>
                            </a:xfrm>
                            <a:custGeom>
                              <a:avLst/>
                              <a:gdLst>
                                <a:gd name="connsiteX0" fmla="*/ 101996 w 101996"/>
                                <a:gd name="connsiteY0" fmla="*/ 50896 h 101791"/>
                                <a:gd name="connsiteX1" fmla="*/ 50998 w 101996"/>
                                <a:gd name="connsiteY1" fmla="*/ 0 h 101791"/>
                                <a:gd name="connsiteX2" fmla="*/ 0 w 101996"/>
                                <a:gd name="connsiteY2" fmla="*/ 50896 h 101791"/>
                                <a:gd name="connsiteX3" fmla="*/ 50998 w 101996"/>
                                <a:gd name="connsiteY3" fmla="*/ 101791 h 101791"/>
                                <a:gd name="connsiteX4" fmla="*/ 101996 w 101996"/>
                                <a:gd name="connsiteY4" fmla="*/ 50896 h 10179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1996" h="101791">
                                  <a:moveTo>
                                    <a:pt x="101996" y="50896"/>
                                  </a:moveTo>
                                  <a:cubicBezTo>
                                    <a:pt x="101996" y="22734"/>
                                    <a:pt x="79160" y="0"/>
                                    <a:pt x="50998" y="0"/>
                                  </a:cubicBezTo>
                                  <a:cubicBezTo>
                                    <a:pt x="22837" y="0"/>
                                    <a:pt x="0" y="22836"/>
                                    <a:pt x="0" y="50896"/>
                                  </a:cubicBezTo>
                                  <a:cubicBezTo>
                                    <a:pt x="0" y="78955"/>
                                    <a:pt x="22837" y="101791"/>
                                    <a:pt x="50998" y="101791"/>
                                  </a:cubicBezTo>
                                  <a:cubicBezTo>
                                    <a:pt x="79160" y="101791"/>
                                    <a:pt x="101996" y="78955"/>
                                    <a:pt x="101996" y="5089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92E3A9"/>
                            </a:solidFill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32" name="Полилиния: фигура 1431">
                              <a:extLst>
                                <a:ext uri="{FF2B5EF4-FFF2-40B4-BE49-F238E27FC236}">
                                  <a16:creationId xmlns:a16="http://schemas.microsoft.com/office/drawing/2014/main" id="{4E297BD7-CAAD-4F8A-950B-AA776F43BF86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392836" y="2504225"/>
                              <a:ext cx="101996" cy="101791"/>
                            </a:xfrm>
                            <a:custGeom>
                              <a:avLst/>
                              <a:gdLst>
                                <a:gd name="connsiteX0" fmla="*/ 101996 w 101996"/>
                                <a:gd name="connsiteY0" fmla="*/ 50896 h 101791"/>
                                <a:gd name="connsiteX1" fmla="*/ 50998 w 101996"/>
                                <a:gd name="connsiteY1" fmla="*/ 0 h 101791"/>
                                <a:gd name="connsiteX2" fmla="*/ 0 w 101996"/>
                                <a:gd name="connsiteY2" fmla="*/ 50896 h 101791"/>
                                <a:gd name="connsiteX3" fmla="*/ 50998 w 101996"/>
                                <a:gd name="connsiteY3" fmla="*/ 101791 h 101791"/>
                                <a:gd name="connsiteX4" fmla="*/ 101996 w 101996"/>
                                <a:gd name="connsiteY4" fmla="*/ 50896 h 10179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1996" h="101791">
                                  <a:moveTo>
                                    <a:pt x="101996" y="50896"/>
                                  </a:moveTo>
                                  <a:cubicBezTo>
                                    <a:pt x="101996" y="22734"/>
                                    <a:pt x="79160" y="0"/>
                                    <a:pt x="50998" y="0"/>
                                  </a:cubicBezTo>
                                  <a:cubicBezTo>
                                    <a:pt x="22837" y="0"/>
                                    <a:pt x="0" y="22836"/>
                                    <a:pt x="0" y="50896"/>
                                  </a:cubicBezTo>
                                  <a:cubicBezTo>
                                    <a:pt x="0" y="78955"/>
                                    <a:pt x="22837" y="101791"/>
                                    <a:pt x="50998" y="101791"/>
                                  </a:cubicBezTo>
                                  <a:cubicBezTo>
                                    <a:pt x="79160" y="101791"/>
                                    <a:pt x="101996" y="78955"/>
                                    <a:pt x="101996" y="5089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FFFFFF">
                                <a:alpha val="40000"/>
                              </a:srgbClr>
                            </a:solidFill>
                            <a:ln w="11967" cap="flat">
                              <a:solidFill>
                                <a:srgbClr val="263238">
                                  <a:alpha val="40000"/>
                                </a:srgbClr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grpSp>
                        <p:nvGrpSpPr>
                          <p:cNvPr id="1433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1556071" y="2493984"/>
                            <a:ext cx="101996" cy="101791"/>
                            <a:chOff x="1556071" y="2493984"/>
                            <a:chExt cx="101996" cy="101791"/>
                          </a:xfrm>
                        </p:grpSpPr>
                        <p:sp>
                          <p:nvSpPr>
                            <p:cNvPr id="1434" name="Полилиния: фигура 1433">
                              <a:extLst>
                                <a:ext uri="{FF2B5EF4-FFF2-40B4-BE49-F238E27FC236}">
                                  <a16:creationId xmlns:a16="http://schemas.microsoft.com/office/drawing/2014/main" id="{39DA277A-0E28-40CC-9B8B-A45AFFA6298E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556071" y="2493984"/>
                              <a:ext cx="101996" cy="101791"/>
                            </a:xfrm>
                            <a:custGeom>
                              <a:avLst/>
                              <a:gdLst>
                                <a:gd name="connsiteX0" fmla="*/ 101996 w 101996"/>
                                <a:gd name="connsiteY0" fmla="*/ 50896 h 101791"/>
                                <a:gd name="connsiteX1" fmla="*/ 50998 w 101996"/>
                                <a:gd name="connsiteY1" fmla="*/ 0 h 101791"/>
                                <a:gd name="connsiteX2" fmla="*/ 0 w 101996"/>
                                <a:gd name="connsiteY2" fmla="*/ 50896 h 101791"/>
                                <a:gd name="connsiteX3" fmla="*/ 50998 w 101996"/>
                                <a:gd name="connsiteY3" fmla="*/ 101791 h 101791"/>
                                <a:gd name="connsiteX4" fmla="*/ 101996 w 101996"/>
                                <a:gd name="connsiteY4" fmla="*/ 50896 h 10179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1996" h="101791">
                                  <a:moveTo>
                                    <a:pt x="101996" y="50896"/>
                                  </a:moveTo>
                                  <a:cubicBezTo>
                                    <a:pt x="101996" y="22734"/>
                                    <a:pt x="79160" y="0"/>
                                    <a:pt x="50998" y="0"/>
                                  </a:cubicBezTo>
                                  <a:cubicBezTo>
                                    <a:pt x="22837" y="0"/>
                                    <a:pt x="0" y="22836"/>
                                    <a:pt x="0" y="50896"/>
                                  </a:cubicBezTo>
                                  <a:cubicBezTo>
                                    <a:pt x="0" y="78955"/>
                                    <a:pt x="22837" y="101791"/>
                                    <a:pt x="50998" y="101791"/>
                                  </a:cubicBezTo>
                                  <a:cubicBezTo>
                                    <a:pt x="79160" y="101791"/>
                                    <a:pt x="101996" y="78955"/>
                                    <a:pt x="101996" y="5089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92E3A9"/>
                            </a:solidFill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35" name="Полилиния: фигура 1434">
                              <a:extLst>
                                <a:ext uri="{FF2B5EF4-FFF2-40B4-BE49-F238E27FC236}">
                                  <a16:creationId xmlns:a16="http://schemas.microsoft.com/office/drawing/2014/main" id="{ACD3FD80-E174-4649-8900-E83F3A74C66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556071" y="2493984"/>
                              <a:ext cx="101996" cy="101791"/>
                            </a:xfrm>
                            <a:custGeom>
                              <a:avLst/>
                              <a:gdLst>
                                <a:gd name="connsiteX0" fmla="*/ 101996 w 101996"/>
                                <a:gd name="connsiteY0" fmla="*/ 50896 h 101791"/>
                                <a:gd name="connsiteX1" fmla="*/ 50998 w 101996"/>
                                <a:gd name="connsiteY1" fmla="*/ 0 h 101791"/>
                                <a:gd name="connsiteX2" fmla="*/ 0 w 101996"/>
                                <a:gd name="connsiteY2" fmla="*/ 50896 h 101791"/>
                                <a:gd name="connsiteX3" fmla="*/ 50998 w 101996"/>
                                <a:gd name="connsiteY3" fmla="*/ 101791 h 101791"/>
                                <a:gd name="connsiteX4" fmla="*/ 101996 w 101996"/>
                                <a:gd name="connsiteY4" fmla="*/ 50896 h 10179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1996" h="101791">
                                  <a:moveTo>
                                    <a:pt x="101996" y="50896"/>
                                  </a:moveTo>
                                  <a:cubicBezTo>
                                    <a:pt x="101996" y="22734"/>
                                    <a:pt x="79160" y="0"/>
                                    <a:pt x="50998" y="0"/>
                                  </a:cubicBezTo>
                                  <a:cubicBezTo>
                                    <a:pt x="22837" y="0"/>
                                    <a:pt x="0" y="22836"/>
                                    <a:pt x="0" y="50896"/>
                                  </a:cubicBezTo>
                                  <a:cubicBezTo>
                                    <a:pt x="0" y="78955"/>
                                    <a:pt x="22837" y="101791"/>
                                    <a:pt x="50998" y="101791"/>
                                  </a:cubicBezTo>
                                  <a:cubicBezTo>
                                    <a:pt x="79160" y="101791"/>
                                    <a:pt x="101996" y="78955"/>
                                    <a:pt x="101996" y="5089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FFFFFF">
                                <a:alpha val="40000"/>
                              </a:srgbClr>
                            </a:solidFill>
                            <a:ln w="11967" cap="flat">
                              <a:solidFill>
                                <a:srgbClr val="263238">
                                  <a:alpha val="40000"/>
                                </a:srgbClr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436" name="Полилиния: фигура 1435">
                            <a:extLst>
                              <a:ext uri="{FF2B5EF4-FFF2-40B4-BE49-F238E27FC236}">
                                <a16:creationId xmlns:a16="http://schemas.microsoft.com/office/drawing/2014/main" id="{235F1CAE-23AF-4D7F-AD9F-B29B66A1668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290738" y="2555120"/>
                            <a:ext cx="102098" cy="6758"/>
                          </a:xfrm>
                          <a:custGeom>
                            <a:avLst/>
                            <a:gdLst>
                              <a:gd name="connsiteX0" fmla="*/ 102098 w 102098"/>
                              <a:gd name="connsiteY0" fmla="*/ 0 h 6758"/>
                              <a:gd name="connsiteX1" fmla="*/ 0 w 102098"/>
                              <a:gd name="connsiteY1" fmla="*/ 6759 h 675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02098" h="6758">
                                <a:moveTo>
                                  <a:pt x="102098" y="0"/>
                                </a:moveTo>
                                <a:lnTo>
                                  <a:pt x="0" y="6759"/>
                                </a:lnTo>
                              </a:path>
                            </a:pathLst>
                          </a:custGeom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  <p:grpSp>
                      <p:nvGrpSpPr>
                        <p:cNvPr id="1437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393655" y="2458597"/>
                          <a:ext cx="238093" cy="25760"/>
                          <a:chOff x="1393655" y="2458597"/>
                          <a:chExt cx="238093" cy="25760"/>
                        </a:xfrm>
                        <a:noFill/>
                      </p:grpSpPr>
                      <p:sp>
                        <p:nvSpPr>
                          <p:cNvPr id="1438" name="Полилиния: фигура 1437">
                            <a:extLst>
                              <a:ext uri="{FF2B5EF4-FFF2-40B4-BE49-F238E27FC236}">
                                <a16:creationId xmlns:a16="http://schemas.microsoft.com/office/drawing/2014/main" id="{24D3BD44-4F35-4703-93D1-3FDB4DDD523E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393655" y="2467880"/>
                            <a:ext cx="78135" cy="16478"/>
                          </a:xfrm>
                          <a:custGeom>
                            <a:avLst/>
                            <a:gdLst>
                              <a:gd name="connsiteX0" fmla="*/ 0 w 78135"/>
                              <a:gd name="connsiteY0" fmla="*/ 16478 h 16478"/>
                              <a:gd name="connsiteX1" fmla="*/ 78136 w 78135"/>
                              <a:gd name="connsiteY1" fmla="*/ 4804 h 1647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78135" h="16478">
                                <a:moveTo>
                                  <a:pt x="0" y="16478"/>
                                </a:moveTo>
                                <a:cubicBezTo>
                                  <a:pt x="0" y="16478"/>
                                  <a:pt x="27342" y="-10761"/>
                                  <a:pt x="78136" y="4804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39" name="Полилиния: фигура 1438">
                            <a:extLst>
                              <a:ext uri="{FF2B5EF4-FFF2-40B4-BE49-F238E27FC236}">
                                <a16:creationId xmlns:a16="http://schemas.microsoft.com/office/drawing/2014/main" id="{9F4C9B29-6353-4D8D-994C-EC9858CE5801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565390" y="2458597"/>
                            <a:ext cx="66358" cy="17875"/>
                          </a:xfrm>
                          <a:custGeom>
                            <a:avLst/>
                            <a:gdLst>
                              <a:gd name="connsiteX0" fmla="*/ 0 w 66358"/>
                              <a:gd name="connsiteY0" fmla="*/ 10093 h 17875"/>
                              <a:gd name="connsiteX1" fmla="*/ 66359 w 66358"/>
                              <a:gd name="connsiteY1" fmla="*/ 17876 h 1787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66358" h="17875">
                                <a:moveTo>
                                  <a:pt x="0" y="10093"/>
                                </a:moveTo>
                                <a:cubicBezTo>
                                  <a:pt x="0" y="10093"/>
                                  <a:pt x="50793" y="-17147"/>
                                  <a:pt x="66359" y="17876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  <p:grpSp>
                      <p:nvGrpSpPr>
                        <p:cNvPr id="1440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189147" y="2127801"/>
                          <a:ext cx="572818" cy="434078"/>
                          <a:chOff x="1189147" y="2127801"/>
                          <a:chExt cx="572818" cy="434078"/>
                        </a:xfrm>
                      </p:grpSpPr>
                      <p:sp>
                        <p:nvSpPr>
                          <p:cNvPr id="1441" name="Полилиния: фигура 1440">
                            <a:extLst>
                              <a:ext uri="{FF2B5EF4-FFF2-40B4-BE49-F238E27FC236}">
                                <a16:creationId xmlns:a16="http://schemas.microsoft.com/office/drawing/2014/main" id="{0D5BFA20-E3D4-4747-B9DE-0017B27ACED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189147" y="2127801"/>
                            <a:ext cx="572818" cy="434078"/>
                          </a:xfrm>
                          <a:custGeom>
                            <a:avLst/>
                            <a:gdLst>
                              <a:gd name="connsiteX0" fmla="*/ 142451 w 572818"/>
                              <a:gd name="connsiteY0" fmla="*/ 250772 h 434078"/>
                              <a:gd name="connsiteX1" fmla="*/ 176449 w 572818"/>
                              <a:gd name="connsiteY1" fmla="*/ 325426 h 434078"/>
                              <a:gd name="connsiteX2" fmla="*/ 142451 w 572818"/>
                              <a:gd name="connsiteY2" fmla="*/ 383183 h 434078"/>
                              <a:gd name="connsiteX3" fmla="*/ 142451 w 572818"/>
                              <a:gd name="connsiteY3" fmla="*/ 430699 h 434078"/>
                              <a:gd name="connsiteX4" fmla="*/ 101693 w 572818"/>
                              <a:gd name="connsiteY4" fmla="*/ 434079 h 434078"/>
                              <a:gd name="connsiteX5" fmla="*/ 60833 w 572818"/>
                              <a:gd name="connsiteY5" fmla="*/ 396700 h 434078"/>
                              <a:gd name="connsiteX6" fmla="*/ 37075 w 572818"/>
                              <a:gd name="connsiteY6" fmla="*/ 389942 h 434078"/>
                              <a:gd name="connsiteX7" fmla="*/ 23455 w 572818"/>
                              <a:gd name="connsiteY7" fmla="*/ 257531 h 434078"/>
                              <a:gd name="connsiteX8" fmla="*/ 13215 w 572818"/>
                              <a:gd name="connsiteY8" fmla="*/ 145499 h 434078"/>
                              <a:gd name="connsiteX9" fmla="*/ 115211 w 572818"/>
                              <a:gd name="connsiteY9" fmla="*/ 114982 h 434078"/>
                              <a:gd name="connsiteX10" fmla="*/ 298824 w 572818"/>
                              <a:gd name="connsiteY10" fmla="*/ 9709 h 434078"/>
                              <a:gd name="connsiteX11" fmla="*/ 570916 w 572818"/>
                              <a:gd name="connsiteY11" fmla="*/ 114982 h 434078"/>
                              <a:gd name="connsiteX12" fmla="*/ 465541 w 572818"/>
                              <a:gd name="connsiteY12" fmla="*/ 247393 h 434078"/>
                              <a:gd name="connsiteX13" fmla="*/ 383923 w 572818"/>
                              <a:gd name="connsiteY13" fmla="*/ 210015 h 434078"/>
                              <a:gd name="connsiteX14" fmla="*/ 336305 w 572818"/>
                              <a:gd name="connsiteY14" fmla="*/ 210015 h 434078"/>
                              <a:gd name="connsiteX15" fmla="*/ 261446 w 572818"/>
                              <a:gd name="connsiteY15" fmla="*/ 206635 h 434078"/>
                              <a:gd name="connsiteX16" fmla="*/ 142451 w 572818"/>
                              <a:gd name="connsiteY16" fmla="*/ 250772 h 43407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</a:cxnLst>
                            <a:rect l="l" t="t" r="r" b="b"/>
                            <a:pathLst>
                              <a:path w="572818" h="434078">
                                <a:moveTo>
                                  <a:pt x="142451" y="250772"/>
                                </a:moveTo>
                                <a:cubicBezTo>
                                  <a:pt x="142451" y="250772"/>
                                  <a:pt x="169691" y="315288"/>
                                  <a:pt x="176449" y="325426"/>
                                </a:cubicBezTo>
                                <a:cubicBezTo>
                                  <a:pt x="183208" y="335564"/>
                                  <a:pt x="142451" y="383183"/>
                                  <a:pt x="142451" y="383183"/>
                                </a:cubicBezTo>
                                <a:lnTo>
                                  <a:pt x="142451" y="430699"/>
                                </a:lnTo>
                                <a:lnTo>
                                  <a:pt x="101693" y="434079"/>
                                </a:lnTo>
                                <a:lnTo>
                                  <a:pt x="60833" y="396700"/>
                                </a:lnTo>
                                <a:lnTo>
                                  <a:pt x="37075" y="389942"/>
                                </a:lnTo>
                                <a:cubicBezTo>
                                  <a:pt x="37075" y="389942"/>
                                  <a:pt x="40455" y="291530"/>
                                  <a:pt x="23455" y="257531"/>
                                </a:cubicBezTo>
                                <a:cubicBezTo>
                                  <a:pt x="6456" y="223533"/>
                                  <a:pt x="-13923" y="176016"/>
                                  <a:pt x="13215" y="145499"/>
                                </a:cubicBezTo>
                                <a:cubicBezTo>
                                  <a:pt x="40455" y="114982"/>
                                  <a:pt x="115211" y="114982"/>
                                  <a:pt x="115211" y="114982"/>
                                </a:cubicBezTo>
                                <a:cubicBezTo>
                                  <a:pt x="115211" y="114982"/>
                                  <a:pt x="186587" y="47087"/>
                                  <a:pt x="298824" y="9709"/>
                                </a:cubicBezTo>
                                <a:cubicBezTo>
                                  <a:pt x="411061" y="-27669"/>
                                  <a:pt x="553917" y="50467"/>
                                  <a:pt x="570916" y="114982"/>
                                </a:cubicBezTo>
                                <a:cubicBezTo>
                                  <a:pt x="587915" y="179498"/>
                                  <a:pt x="485919" y="244014"/>
                                  <a:pt x="465541" y="247393"/>
                                </a:cubicBezTo>
                                <a:cubicBezTo>
                                  <a:pt x="445162" y="250772"/>
                                  <a:pt x="414543" y="210015"/>
                                  <a:pt x="383923" y="210015"/>
                                </a:cubicBezTo>
                                <a:lnTo>
                                  <a:pt x="336305" y="210015"/>
                                </a:lnTo>
                                <a:cubicBezTo>
                                  <a:pt x="302306" y="210015"/>
                                  <a:pt x="298927" y="206635"/>
                                  <a:pt x="261446" y="206635"/>
                                </a:cubicBezTo>
                                <a:cubicBezTo>
                                  <a:pt x="223966" y="206635"/>
                                  <a:pt x="142451" y="250772"/>
                                  <a:pt x="142451" y="250772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10228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42" name="Полилиния: фигура 1441">
                            <a:extLst>
                              <a:ext uri="{FF2B5EF4-FFF2-40B4-BE49-F238E27FC236}">
                                <a16:creationId xmlns:a16="http://schemas.microsoft.com/office/drawing/2014/main" id="{F2BE8CD6-7C38-466C-814A-5CA8052C7AB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361409" y="2204280"/>
                            <a:ext cx="105326" cy="118584"/>
                          </a:xfrm>
                          <a:custGeom>
                            <a:avLst/>
                            <a:gdLst>
                              <a:gd name="connsiteX0" fmla="*/ 12789 w 105326"/>
                              <a:gd name="connsiteY0" fmla="*/ 118584 h 118584"/>
                              <a:gd name="connsiteX1" fmla="*/ 99936 w 105326"/>
                              <a:gd name="connsiteY1" fmla="*/ 31642 h 118584"/>
                              <a:gd name="connsiteX2" fmla="*/ 6338 w 105326"/>
                              <a:gd name="connsiteY2" fmla="*/ 38093 h 118584"/>
                              <a:gd name="connsiteX3" fmla="*/ 41872 w 105326"/>
                              <a:gd name="connsiteY3" fmla="*/ 60623 h 11858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105326" h="118584">
                                <a:moveTo>
                                  <a:pt x="12789" y="118584"/>
                                </a:moveTo>
                                <a:cubicBezTo>
                                  <a:pt x="12789" y="118584"/>
                                  <a:pt x="70853" y="86429"/>
                                  <a:pt x="99936" y="31642"/>
                                </a:cubicBezTo>
                                <a:cubicBezTo>
                                  <a:pt x="129020" y="-23145"/>
                                  <a:pt x="32144" y="2661"/>
                                  <a:pt x="6338" y="38093"/>
                                </a:cubicBezTo>
                                <a:cubicBezTo>
                                  <a:pt x="-19469" y="73526"/>
                                  <a:pt x="41872" y="60623"/>
                                  <a:pt x="41872" y="60623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43" name="Полилиния: фигура 1442">
                            <a:extLst>
                              <a:ext uri="{FF2B5EF4-FFF2-40B4-BE49-F238E27FC236}">
                                <a16:creationId xmlns:a16="http://schemas.microsoft.com/office/drawing/2014/main" id="{67380952-DD58-42FD-B906-4D84426E172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251619" y="2378573"/>
                            <a:ext cx="79978" cy="40859"/>
                          </a:xfrm>
                          <a:custGeom>
                            <a:avLst/>
                            <a:gdLst>
                              <a:gd name="connsiteX0" fmla="*/ 79979 w 79978"/>
                              <a:gd name="connsiteY0" fmla="*/ 0 h 40859"/>
                              <a:gd name="connsiteX1" fmla="*/ 0 w 79978"/>
                              <a:gd name="connsiteY1" fmla="*/ 40860 h 4085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79978" h="40859">
                                <a:moveTo>
                                  <a:pt x="79979" y="0"/>
                                </a:moveTo>
                                <a:cubicBezTo>
                                  <a:pt x="79979" y="0"/>
                                  <a:pt x="45161" y="37685"/>
                                  <a:pt x="0" y="40860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44" name="Полилиния: фигура 1443">
                            <a:extLst>
                              <a:ext uri="{FF2B5EF4-FFF2-40B4-BE49-F238E27FC236}">
                                <a16:creationId xmlns:a16="http://schemas.microsoft.com/office/drawing/2014/main" id="{59950783-365C-4914-BA2E-BC94C84AE7A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254793" y="2425884"/>
                            <a:ext cx="93598" cy="28980"/>
                          </a:xfrm>
                          <a:custGeom>
                            <a:avLst/>
                            <a:gdLst>
                              <a:gd name="connsiteX0" fmla="*/ 93599 w 93598"/>
                              <a:gd name="connsiteY0" fmla="*/ 0 h 28980"/>
                              <a:gd name="connsiteX1" fmla="*/ 0 w 93598"/>
                              <a:gd name="connsiteY1" fmla="*/ 28981 h 2898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93598" h="28980">
                                <a:moveTo>
                                  <a:pt x="93599" y="0"/>
                                </a:moveTo>
                                <a:cubicBezTo>
                                  <a:pt x="93599" y="0"/>
                                  <a:pt x="32258" y="28981"/>
                                  <a:pt x="0" y="28981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45" name="Полилиния: фигура 1444">
                            <a:extLst>
                              <a:ext uri="{FF2B5EF4-FFF2-40B4-BE49-F238E27FC236}">
                                <a16:creationId xmlns:a16="http://schemas.microsoft.com/office/drawing/2014/main" id="{6D0F2D95-7618-4730-B981-B660765BEA53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254793" y="2480671"/>
                            <a:ext cx="74244" cy="4278"/>
                          </a:xfrm>
                          <a:custGeom>
                            <a:avLst/>
                            <a:gdLst>
                              <a:gd name="connsiteX0" fmla="*/ 0 w 74244"/>
                              <a:gd name="connsiteY0" fmla="*/ 0 h 4278"/>
                              <a:gd name="connsiteX1" fmla="*/ 74244 w 74244"/>
                              <a:gd name="connsiteY1" fmla="*/ 0 h 427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74244" h="4278">
                                <a:moveTo>
                                  <a:pt x="0" y="0"/>
                                </a:moveTo>
                                <a:cubicBezTo>
                                  <a:pt x="0" y="0"/>
                                  <a:pt x="48438" y="9626"/>
                                  <a:pt x="74244" y="0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46" name="Полилиния: фигура 1445">
                            <a:extLst>
                              <a:ext uri="{FF2B5EF4-FFF2-40B4-BE49-F238E27FC236}">
                                <a16:creationId xmlns:a16="http://schemas.microsoft.com/office/drawing/2014/main" id="{9346695B-7238-4828-B3D7-1158E2DABAE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425811" y="2194140"/>
                            <a:ext cx="195766" cy="135175"/>
                          </a:xfrm>
                          <a:custGeom>
                            <a:avLst/>
                            <a:gdLst>
                              <a:gd name="connsiteX0" fmla="*/ 0 w 195766"/>
                              <a:gd name="connsiteY0" fmla="*/ 135176 h 135175"/>
                              <a:gd name="connsiteX1" fmla="*/ 109677 w 195766"/>
                              <a:gd name="connsiteY1" fmla="*/ 103020 h 135175"/>
                              <a:gd name="connsiteX2" fmla="*/ 167741 w 195766"/>
                              <a:gd name="connsiteY2" fmla="*/ 0 h 13517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195766" h="135175">
                                <a:moveTo>
                                  <a:pt x="0" y="135176"/>
                                </a:moveTo>
                                <a:cubicBezTo>
                                  <a:pt x="0" y="135176"/>
                                  <a:pt x="25806" y="132001"/>
                                  <a:pt x="109677" y="103020"/>
                                </a:cubicBezTo>
                                <a:cubicBezTo>
                                  <a:pt x="193547" y="74039"/>
                                  <a:pt x="222630" y="41884"/>
                                  <a:pt x="167741" y="0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</p:grpSp>
                </p:grpSp>
                <p:grpSp>
                  <p:nvGrpSpPr>
                    <p:cNvPr id="1447" name="Рисунок 1282">
                      <a:extLst>
                        <a:ext uri="{FF2B5EF4-FFF2-40B4-BE49-F238E27FC236}">
                          <a16:creationId xmlns:a16="http://schemas.microsoft.com/office/drawing/2014/main" id="{1C513778-6A5B-40D9-9E8A-2FA6961B24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677686" y="2764681"/>
                      <a:ext cx="1434257" cy="2018397"/>
                      <a:chOff x="1677686" y="2764681"/>
                      <a:chExt cx="1434257" cy="2018397"/>
                    </a:xfrm>
                  </p:grpSpPr>
                  <p:sp>
                    <p:nvSpPr>
                      <p:cNvPr id="1448" name="Полилиния: фигура 1447">
                        <a:extLst>
                          <a:ext uri="{FF2B5EF4-FFF2-40B4-BE49-F238E27FC236}">
                            <a16:creationId xmlns:a16="http://schemas.microsoft.com/office/drawing/2014/main" id="{90C76010-CD3A-4262-9402-F06D33FEAA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91973" y="3412154"/>
                        <a:ext cx="1219970" cy="1369491"/>
                      </a:xfrm>
                      <a:custGeom>
                        <a:avLst/>
                        <a:gdLst>
                          <a:gd name="connsiteX0" fmla="*/ 1219436 w 1219970"/>
                          <a:gd name="connsiteY0" fmla="*/ 737731 h 1369491"/>
                          <a:gd name="connsiteX1" fmla="*/ 1051491 w 1219970"/>
                          <a:gd name="connsiteY1" fmla="*/ 348077 h 1369491"/>
                          <a:gd name="connsiteX2" fmla="*/ 845246 w 1219970"/>
                          <a:gd name="connsiteY2" fmla="*/ 209112 h 1369491"/>
                          <a:gd name="connsiteX3" fmla="*/ 831421 w 1219970"/>
                          <a:gd name="connsiteY3" fmla="*/ 185457 h 1369491"/>
                          <a:gd name="connsiteX4" fmla="*/ 823024 w 1219970"/>
                          <a:gd name="connsiteY4" fmla="*/ 156681 h 1369491"/>
                          <a:gd name="connsiteX5" fmla="*/ 783290 w 1219970"/>
                          <a:gd name="connsiteY5" fmla="*/ 91960 h 1369491"/>
                          <a:gd name="connsiteX6" fmla="*/ 780935 w 1219970"/>
                          <a:gd name="connsiteY6" fmla="*/ 86942 h 1369491"/>
                          <a:gd name="connsiteX7" fmla="*/ 578172 w 1219970"/>
                          <a:gd name="connsiteY7" fmla="*/ 0 h 1369491"/>
                          <a:gd name="connsiteX8" fmla="*/ 581756 w 1219970"/>
                          <a:gd name="connsiteY8" fmla="*/ 59190 h 1369491"/>
                          <a:gd name="connsiteX9" fmla="*/ 486314 w 1219970"/>
                          <a:gd name="connsiteY9" fmla="*/ 132820 h 1369491"/>
                          <a:gd name="connsiteX10" fmla="*/ 464297 w 1219970"/>
                          <a:gd name="connsiteY10" fmla="*/ 246593 h 1369491"/>
                          <a:gd name="connsiteX11" fmla="*/ 456002 w 1219970"/>
                          <a:gd name="connsiteY11" fmla="*/ 252737 h 1369491"/>
                          <a:gd name="connsiteX12" fmla="*/ 459074 w 1219970"/>
                          <a:gd name="connsiteY12" fmla="*/ 241473 h 1369491"/>
                          <a:gd name="connsiteX13" fmla="*/ 224462 w 1219970"/>
                          <a:gd name="connsiteY13" fmla="*/ 387401 h 1369491"/>
                          <a:gd name="connsiteX14" fmla="*/ 177561 w 1219970"/>
                          <a:gd name="connsiteY14" fmla="*/ 514896 h 1369491"/>
                          <a:gd name="connsiteX15" fmla="*/ 106593 w 1219970"/>
                          <a:gd name="connsiteY15" fmla="*/ 737833 h 1369491"/>
                          <a:gd name="connsiteX16" fmla="*/ 296 w 1219970"/>
                          <a:gd name="connsiteY16" fmla="*/ 1085398 h 1369491"/>
                          <a:gd name="connsiteX17" fmla="*/ 91 w 1219970"/>
                          <a:gd name="connsiteY17" fmla="*/ 1086627 h 1369491"/>
                          <a:gd name="connsiteX18" fmla="*/ 165374 w 1219970"/>
                          <a:gd name="connsiteY18" fmla="*/ 1293486 h 1369491"/>
                          <a:gd name="connsiteX19" fmla="*/ 167627 w 1219970"/>
                          <a:gd name="connsiteY19" fmla="*/ 1293077 h 1369491"/>
                          <a:gd name="connsiteX20" fmla="*/ 187699 w 1219970"/>
                          <a:gd name="connsiteY20" fmla="*/ 1314070 h 1369491"/>
                          <a:gd name="connsiteX21" fmla="*/ 188211 w 1219970"/>
                          <a:gd name="connsiteY21" fmla="*/ 1305570 h 1369491"/>
                          <a:gd name="connsiteX22" fmla="*/ 244124 w 1219970"/>
                          <a:gd name="connsiteY22" fmla="*/ 1368242 h 1369491"/>
                          <a:gd name="connsiteX23" fmla="*/ 242076 w 1219970"/>
                          <a:gd name="connsiteY23" fmla="*/ 1300143 h 1369491"/>
                          <a:gd name="connsiteX24" fmla="*/ 288773 w 1219970"/>
                          <a:gd name="connsiteY24" fmla="*/ 1333527 h 1369491"/>
                          <a:gd name="connsiteX25" fmla="*/ 276792 w 1219970"/>
                          <a:gd name="connsiteY25" fmla="*/ 1221802 h 1369491"/>
                          <a:gd name="connsiteX26" fmla="*/ 253648 w 1219970"/>
                          <a:gd name="connsiteY26" fmla="*/ 1200707 h 1369491"/>
                          <a:gd name="connsiteX27" fmla="*/ 277406 w 1219970"/>
                          <a:gd name="connsiteY27" fmla="*/ 1198044 h 1369491"/>
                          <a:gd name="connsiteX28" fmla="*/ 323898 w 1219970"/>
                          <a:gd name="connsiteY28" fmla="*/ 1263789 h 1369491"/>
                          <a:gd name="connsiteX29" fmla="*/ 343355 w 1219970"/>
                          <a:gd name="connsiteY29" fmla="*/ 1188213 h 1369491"/>
                          <a:gd name="connsiteX30" fmla="*/ 350217 w 1219970"/>
                          <a:gd name="connsiteY30" fmla="*/ 1181762 h 1369491"/>
                          <a:gd name="connsiteX31" fmla="*/ 390462 w 1219970"/>
                          <a:gd name="connsiteY31" fmla="*/ 1237880 h 1369491"/>
                          <a:gd name="connsiteX32" fmla="*/ 412582 w 1219970"/>
                          <a:gd name="connsiteY32" fmla="*/ 1176232 h 1369491"/>
                          <a:gd name="connsiteX33" fmla="*/ 411045 w 1219970"/>
                          <a:gd name="connsiteY33" fmla="*/ 1148275 h 1369491"/>
                          <a:gd name="connsiteX34" fmla="*/ 459381 w 1219970"/>
                          <a:gd name="connsiteY34" fmla="*/ 1178178 h 1369491"/>
                          <a:gd name="connsiteX35" fmla="*/ 576635 w 1219970"/>
                          <a:gd name="connsiteY35" fmla="*/ 1166298 h 1369491"/>
                          <a:gd name="connsiteX36" fmla="*/ 1126247 w 1219970"/>
                          <a:gd name="connsiteY36" fmla="*/ 1010437 h 1369491"/>
                          <a:gd name="connsiteX37" fmla="*/ 1219641 w 1219970"/>
                          <a:gd name="connsiteY37" fmla="*/ 737424 h 1369491"/>
                          <a:gd name="connsiteX38" fmla="*/ 265424 w 1219970"/>
                          <a:gd name="connsiteY38" fmla="*/ 1028358 h 1369491"/>
                          <a:gd name="connsiteX39" fmla="*/ 306489 w 1219970"/>
                          <a:gd name="connsiteY39" fmla="*/ 758929 h 1369491"/>
                          <a:gd name="connsiteX40" fmla="*/ 322772 w 1219970"/>
                          <a:gd name="connsiteY40" fmla="*/ 1004498 h 1369491"/>
                          <a:gd name="connsiteX41" fmla="*/ 317959 w 1219970"/>
                          <a:gd name="connsiteY41" fmla="*/ 1065122 h 1369491"/>
                          <a:gd name="connsiteX42" fmla="*/ 265424 w 1219970"/>
                          <a:gd name="connsiteY42" fmla="*/ 1028358 h 13694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1219970" h="1369491">
                            <a:moveTo>
                              <a:pt x="1219436" y="737731"/>
                            </a:moveTo>
                            <a:cubicBezTo>
                              <a:pt x="1219436" y="737731"/>
                              <a:pt x="1085797" y="382280"/>
                              <a:pt x="1051491" y="348077"/>
                            </a:cubicBezTo>
                            <a:cubicBezTo>
                              <a:pt x="1017185" y="313873"/>
                              <a:pt x="845246" y="209112"/>
                              <a:pt x="845246" y="209112"/>
                            </a:cubicBezTo>
                            <a:lnTo>
                              <a:pt x="831421" y="185457"/>
                            </a:lnTo>
                            <a:lnTo>
                              <a:pt x="823024" y="156681"/>
                            </a:lnTo>
                            <a:cubicBezTo>
                              <a:pt x="823024" y="156681"/>
                              <a:pt x="812988" y="113363"/>
                              <a:pt x="783290" y="91960"/>
                            </a:cubicBezTo>
                            <a:lnTo>
                              <a:pt x="780935" y="86942"/>
                            </a:lnTo>
                            <a:lnTo>
                              <a:pt x="578172" y="0"/>
                            </a:lnTo>
                            <a:cubicBezTo>
                              <a:pt x="578172" y="0"/>
                              <a:pt x="579605" y="26830"/>
                              <a:pt x="581756" y="59190"/>
                            </a:cubicBezTo>
                            <a:cubicBezTo>
                              <a:pt x="557793" y="67895"/>
                              <a:pt x="504542" y="91141"/>
                              <a:pt x="486314" y="132820"/>
                            </a:cubicBezTo>
                            <a:cubicBezTo>
                              <a:pt x="474537" y="159753"/>
                              <a:pt x="467676" y="204402"/>
                              <a:pt x="464297" y="246593"/>
                            </a:cubicBezTo>
                            <a:lnTo>
                              <a:pt x="456002" y="252737"/>
                            </a:lnTo>
                            <a:lnTo>
                              <a:pt x="459074" y="241473"/>
                            </a:lnTo>
                            <a:cubicBezTo>
                              <a:pt x="459074" y="241473"/>
                              <a:pt x="234600" y="367125"/>
                              <a:pt x="224462" y="387401"/>
                            </a:cubicBezTo>
                            <a:cubicBezTo>
                              <a:pt x="211457" y="404503"/>
                              <a:pt x="177561" y="514896"/>
                              <a:pt x="177561" y="514896"/>
                            </a:cubicBezTo>
                            <a:cubicBezTo>
                              <a:pt x="177561" y="514896"/>
                              <a:pt x="143664" y="620783"/>
                              <a:pt x="106593" y="737833"/>
                            </a:cubicBezTo>
                            <a:cubicBezTo>
                              <a:pt x="54162" y="898815"/>
                              <a:pt x="3471" y="1059694"/>
                              <a:pt x="296" y="1085398"/>
                            </a:cubicBezTo>
                            <a:cubicBezTo>
                              <a:pt x="-216" y="1087753"/>
                              <a:pt x="91" y="1086627"/>
                              <a:pt x="91" y="1086627"/>
                            </a:cubicBezTo>
                            <a:cubicBezTo>
                              <a:pt x="-3288" y="1130764"/>
                              <a:pt x="165374" y="1293486"/>
                              <a:pt x="165374" y="1293486"/>
                            </a:cubicBezTo>
                            <a:lnTo>
                              <a:pt x="167627" y="1293077"/>
                            </a:lnTo>
                            <a:lnTo>
                              <a:pt x="187699" y="1314070"/>
                            </a:lnTo>
                            <a:cubicBezTo>
                              <a:pt x="187699" y="1314070"/>
                              <a:pt x="187699" y="1312022"/>
                              <a:pt x="188211" y="1305570"/>
                            </a:cubicBezTo>
                            <a:cubicBezTo>
                              <a:pt x="202547" y="1334551"/>
                              <a:pt x="225691" y="1377357"/>
                              <a:pt x="244124" y="1368242"/>
                            </a:cubicBezTo>
                            <a:cubicBezTo>
                              <a:pt x="259280" y="1360767"/>
                              <a:pt x="254672" y="1334449"/>
                              <a:pt x="242076" y="1300143"/>
                            </a:cubicBezTo>
                            <a:cubicBezTo>
                              <a:pt x="257335" y="1323389"/>
                              <a:pt x="274948" y="1340286"/>
                              <a:pt x="288773" y="1333527"/>
                            </a:cubicBezTo>
                            <a:cubicBezTo>
                              <a:pt x="312838" y="1321648"/>
                              <a:pt x="300857" y="1280583"/>
                              <a:pt x="276792" y="1221802"/>
                            </a:cubicBezTo>
                            <a:cubicBezTo>
                              <a:pt x="272491" y="1211255"/>
                              <a:pt x="263581" y="1203881"/>
                              <a:pt x="253648" y="1200707"/>
                            </a:cubicBezTo>
                            <a:cubicBezTo>
                              <a:pt x="261328" y="1199887"/>
                              <a:pt x="269316" y="1199068"/>
                              <a:pt x="277406" y="1198044"/>
                            </a:cubicBezTo>
                            <a:cubicBezTo>
                              <a:pt x="285394" y="1235627"/>
                              <a:pt x="303622" y="1268090"/>
                              <a:pt x="323898" y="1263789"/>
                            </a:cubicBezTo>
                            <a:cubicBezTo>
                              <a:pt x="345096" y="1259283"/>
                              <a:pt x="347349" y="1233374"/>
                              <a:pt x="343355" y="1188213"/>
                            </a:cubicBezTo>
                            <a:cubicBezTo>
                              <a:pt x="345403" y="1187804"/>
                              <a:pt x="348168" y="1182171"/>
                              <a:pt x="350217" y="1181762"/>
                            </a:cubicBezTo>
                            <a:cubicBezTo>
                              <a:pt x="359228" y="1213405"/>
                              <a:pt x="373053" y="1241567"/>
                              <a:pt x="390462" y="1237880"/>
                            </a:cubicBezTo>
                            <a:cubicBezTo>
                              <a:pt x="409612" y="1233784"/>
                              <a:pt x="414835" y="1214839"/>
                              <a:pt x="412582" y="1176232"/>
                            </a:cubicBezTo>
                            <a:cubicBezTo>
                              <a:pt x="412070" y="1161895"/>
                              <a:pt x="411557" y="1157389"/>
                              <a:pt x="411045" y="1148275"/>
                            </a:cubicBezTo>
                            <a:cubicBezTo>
                              <a:pt x="418419" y="1152883"/>
                              <a:pt x="455182" y="1175105"/>
                              <a:pt x="459381" y="1178178"/>
                            </a:cubicBezTo>
                            <a:cubicBezTo>
                              <a:pt x="473001" y="1188316"/>
                              <a:pt x="576635" y="1166298"/>
                              <a:pt x="576635" y="1166298"/>
                            </a:cubicBezTo>
                            <a:cubicBezTo>
                              <a:pt x="727991" y="1117349"/>
                              <a:pt x="969976" y="1115403"/>
                              <a:pt x="1126247" y="1010437"/>
                            </a:cubicBezTo>
                            <a:cubicBezTo>
                              <a:pt x="1230598" y="940289"/>
                              <a:pt x="1219641" y="737424"/>
                              <a:pt x="1219641" y="737424"/>
                            </a:cubicBezTo>
                            <a:close/>
                            <a:moveTo>
                              <a:pt x="265424" y="1028358"/>
                            </a:moveTo>
                            <a:lnTo>
                              <a:pt x="306489" y="758929"/>
                            </a:lnTo>
                            <a:lnTo>
                              <a:pt x="322772" y="1004498"/>
                            </a:lnTo>
                            <a:lnTo>
                              <a:pt x="317959" y="1065122"/>
                            </a:lnTo>
                            <a:lnTo>
                              <a:pt x="265424" y="1028358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0228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grpSp>
                    <p:nvGrpSpPr>
                      <p:cNvPr id="1449" name="Рисунок 1282">
                        <a:extLst>
                          <a:ext uri="{FF2B5EF4-FFF2-40B4-BE49-F238E27FC236}">
                            <a16:creationId xmlns:a16="http://schemas.microsoft.com/office/drawing/2014/main" id="{1C513778-6A5B-40D9-9E8A-2FA6961B248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677686" y="2764681"/>
                        <a:ext cx="1420717" cy="2018397"/>
                        <a:chOff x="1677686" y="2764681"/>
                        <a:chExt cx="1420717" cy="2018397"/>
                      </a:xfrm>
                    </p:grpSpPr>
                    <p:grpSp>
                      <p:nvGrpSpPr>
                        <p:cNvPr id="1450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677686" y="2764681"/>
                          <a:ext cx="885340" cy="1502970"/>
                          <a:chOff x="1677686" y="2764681"/>
                          <a:chExt cx="885340" cy="1502970"/>
                        </a:xfrm>
                      </p:grpSpPr>
                      <p:sp>
                        <p:nvSpPr>
                          <p:cNvPr id="1451" name="Полилиния: фигура 1450">
                            <a:extLst>
                              <a:ext uri="{FF2B5EF4-FFF2-40B4-BE49-F238E27FC236}">
                                <a16:creationId xmlns:a16="http://schemas.microsoft.com/office/drawing/2014/main" id="{D5F015B9-ABA0-4D8C-9188-A995CF851092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677686" y="2764681"/>
                            <a:ext cx="885340" cy="1502970"/>
                          </a:xfrm>
                          <a:custGeom>
                            <a:avLst/>
                            <a:gdLst>
                              <a:gd name="connsiteX0" fmla="*/ 439466 w 885340"/>
                              <a:gd name="connsiteY0" fmla="*/ 1029446 h 1502970"/>
                              <a:gd name="connsiteX1" fmla="*/ 683294 w 885340"/>
                              <a:gd name="connsiteY1" fmla="*/ 885669 h 1502970"/>
                              <a:gd name="connsiteX2" fmla="*/ 729683 w 885340"/>
                              <a:gd name="connsiteY2" fmla="*/ 741686 h 1502970"/>
                              <a:gd name="connsiteX3" fmla="*/ 821132 w 885340"/>
                              <a:gd name="connsiteY3" fmla="*/ 711682 h 1502970"/>
                              <a:gd name="connsiteX4" fmla="*/ 885340 w 885340"/>
                              <a:gd name="connsiteY4" fmla="*/ 620438 h 1502970"/>
                              <a:gd name="connsiteX5" fmla="*/ 882473 w 885340"/>
                              <a:gd name="connsiteY5" fmla="*/ 251982 h 1502970"/>
                              <a:gd name="connsiteX6" fmla="*/ 857486 w 885340"/>
                              <a:gd name="connsiteY6" fmla="*/ 151625 h 1502970"/>
                              <a:gd name="connsiteX7" fmla="*/ 742587 w 885340"/>
                              <a:gd name="connsiteY7" fmla="*/ 103187 h 1502970"/>
                              <a:gd name="connsiteX8" fmla="*/ 591641 w 885340"/>
                              <a:gd name="connsiteY8" fmla="*/ 1703 h 1502970"/>
                              <a:gd name="connsiteX9" fmla="*/ 314326 w 885340"/>
                              <a:gd name="connsiteY9" fmla="*/ 210815 h 1502970"/>
                              <a:gd name="connsiteX10" fmla="*/ 354367 w 885340"/>
                              <a:gd name="connsiteY10" fmla="*/ 453824 h 1502970"/>
                              <a:gd name="connsiteX11" fmla="*/ 141772 w 885340"/>
                              <a:gd name="connsiteY11" fmla="*/ 672255 h 1502970"/>
                              <a:gd name="connsiteX12" fmla="*/ 114020 w 885340"/>
                              <a:gd name="connsiteY12" fmla="*/ 822996 h 1502970"/>
                              <a:gd name="connsiteX13" fmla="*/ 187957 w 885340"/>
                              <a:gd name="connsiteY13" fmla="*/ 1016748 h 1502970"/>
                              <a:gd name="connsiteX14" fmla="*/ 43 w 885340"/>
                              <a:gd name="connsiteY14" fmla="*/ 1256685 h 1502970"/>
                              <a:gd name="connsiteX15" fmla="*/ 282478 w 885340"/>
                              <a:gd name="connsiteY15" fmla="*/ 1502971 h 1502970"/>
                              <a:gd name="connsiteX16" fmla="*/ 439466 w 885340"/>
                              <a:gd name="connsiteY16" fmla="*/ 1029651 h 150297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</a:cxnLst>
                            <a:rect l="l" t="t" r="r" b="b"/>
                            <a:pathLst>
                              <a:path w="885340" h="1502970">
                                <a:moveTo>
                                  <a:pt x="439466" y="1029446"/>
                                </a:moveTo>
                                <a:lnTo>
                                  <a:pt x="683294" y="885669"/>
                                </a:lnTo>
                                <a:cubicBezTo>
                                  <a:pt x="683294" y="885669"/>
                                  <a:pt x="698450" y="755102"/>
                                  <a:pt x="729683" y="741686"/>
                                </a:cubicBezTo>
                                <a:cubicBezTo>
                                  <a:pt x="729683" y="741686"/>
                                  <a:pt x="772489" y="704308"/>
                                  <a:pt x="821132" y="711682"/>
                                </a:cubicBezTo>
                                <a:cubicBezTo>
                                  <a:pt x="848986" y="715880"/>
                                  <a:pt x="869570" y="681267"/>
                                  <a:pt x="885340" y="620438"/>
                                </a:cubicBezTo>
                                <a:cubicBezTo>
                                  <a:pt x="885340" y="500419"/>
                                  <a:pt x="883702" y="347425"/>
                                  <a:pt x="882473" y="251982"/>
                                </a:cubicBezTo>
                                <a:cubicBezTo>
                                  <a:pt x="871720" y="204876"/>
                                  <a:pt x="861172" y="166474"/>
                                  <a:pt x="857486" y="151625"/>
                                </a:cubicBezTo>
                                <a:lnTo>
                                  <a:pt x="742587" y="103187"/>
                                </a:lnTo>
                                <a:cubicBezTo>
                                  <a:pt x="742587" y="103187"/>
                                  <a:pt x="717907" y="20136"/>
                                  <a:pt x="591641" y="1703"/>
                                </a:cubicBezTo>
                                <a:cubicBezTo>
                                  <a:pt x="465272" y="-16730"/>
                                  <a:pt x="329789" y="118548"/>
                                  <a:pt x="314326" y="210815"/>
                                </a:cubicBezTo>
                                <a:cubicBezTo>
                                  <a:pt x="298965" y="303083"/>
                                  <a:pt x="388263" y="401495"/>
                                  <a:pt x="354367" y="453824"/>
                                </a:cubicBezTo>
                                <a:cubicBezTo>
                                  <a:pt x="320470" y="506153"/>
                                  <a:pt x="178741" y="582958"/>
                                  <a:pt x="141772" y="672255"/>
                                </a:cubicBezTo>
                                <a:cubicBezTo>
                                  <a:pt x="104804" y="761451"/>
                                  <a:pt x="114020" y="822996"/>
                                  <a:pt x="114020" y="822996"/>
                                </a:cubicBezTo>
                                <a:cubicBezTo>
                                  <a:pt x="114020" y="822996"/>
                                  <a:pt x="215709" y="967594"/>
                                  <a:pt x="187957" y="1016748"/>
                                </a:cubicBezTo>
                                <a:cubicBezTo>
                                  <a:pt x="160205" y="1066005"/>
                                  <a:pt x="-3029" y="1112088"/>
                                  <a:pt x="43" y="1256685"/>
                                </a:cubicBezTo>
                                <a:cubicBezTo>
                                  <a:pt x="2910" y="1390734"/>
                                  <a:pt x="135526" y="1485050"/>
                                  <a:pt x="282478" y="1502971"/>
                                </a:cubicBezTo>
                                <a:lnTo>
                                  <a:pt x="439466" y="1029651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10228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52" name="Полилиния: фигура 1451">
                            <a:extLst>
                              <a:ext uri="{FF2B5EF4-FFF2-40B4-BE49-F238E27FC236}">
                                <a16:creationId xmlns:a16="http://schemas.microsoft.com/office/drawing/2014/main" id="{6E95B0C7-9C56-44B5-8FD7-72F086EC8036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872584" y="2818849"/>
                            <a:ext cx="511334" cy="737491"/>
                          </a:xfrm>
                          <a:custGeom>
                            <a:avLst/>
                            <a:gdLst>
                              <a:gd name="connsiteX0" fmla="*/ 511335 w 511334"/>
                              <a:gd name="connsiteY0" fmla="*/ 74005 h 737491"/>
                              <a:gd name="connsiteX1" fmla="*/ 314511 w 511334"/>
                              <a:gd name="connsiteY1" fmla="*/ 6417 h 737491"/>
                              <a:gd name="connsiteX2" fmla="*/ 185479 w 511334"/>
                              <a:gd name="connsiteY2" fmla="*/ 212560 h 737491"/>
                              <a:gd name="connsiteX3" fmla="*/ 221014 w 511334"/>
                              <a:gd name="connsiteY3" fmla="*/ 405800 h 737491"/>
                              <a:gd name="connsiteX4" fmla="*/ 37094 w 511334"/>
                              <a:gd name="connsiteY4" fmla="*/ 605491 h 737491"/>
                              <a:gd name="connsiteX5" fmla="*/ 1559 w 511334"/>
                              <a:gd name="connsiteY5" fmla="*/ 737492 h 73749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511334" h="737491">
                                <a:moveTo>
                                  <a:pt x="511335" y="74005"/>
                                </a:moveTo>
                                <a:cubicBezTo>
                                  <a:pt x="511335" y="74005"/>
                                  <a:pt x="424187" y="-25841"/>
                                  <a:pt x="314511" y="6417"/>
                                </a:cubicBezTo>
                                <a:cubicBezTo>
                                  <a:pt x="204834" y="38573"/>
                                  <a:pt x="162848" y="154598"/>
                                  <a:pt x="185479" y="212560"/>
                                </a:cubicBezTo>
                                <a:cubicBezTo>
                                  <a:pt x="208111" y="270522"/>
                                  <a:pt x="259724" y="318857"/>
                                  <a:pt x="221014" y="405800"/>
                                </a:cubicBezTo>
                                <a:cubicBezTo>
                                  <a:pt x="182305" y="492742"/>
                                  <a:pt x="85532" y="505645"/>
                                  <a:pt x="37094" y="605491"/>
                                </a:cubicBezTo>
                                <a:cubicBezTo>
                                  <a:pt x="-11344" y="705336"/>
                                  <a:pt x="1559" y="737492"/>
                                  <a:pt x="1559" y="737492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53" name="Полилиния: фигура 1452">
                            <a:extLst>
                              <a:ext uri="{FF2B5EF4-FFF2-40B4-BE49-F238E27FC236}">
                                <a16:creationId xmlns:a16="http://schemas.microsoft.com/office/drawing/2014/main" id="{9C8C9A05-F5AE-4C43-8AB1-E153FAF5554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195469" y="2976520"/>
                            <a:ext cx="130385" cy="728002"/>
                          </a:xfrm>
                          <a:custGeom>
                            <a:avLst/>
                            <a:gdLst>
                              <a:gd name="connsiteX0" fmla="*/ 130386 w 130385"/>
                              <a:gd name="connsiteY0" fmla="*/ 0 h 728002"/>
                              <a:gd name="connsiteX1" fmla="*/ 49690 w 130385"/>
                              <a:gd name="connsiteY1" fmla="*/ 61239 h 728002"/>
                              <a:gd name="connsiteX2" fmla="*/ 101302 w 130385"/>
                              <a:gd name="connsiteY2" fmla="*/ 202968 h 728002"/>
                              <a:gd name="connsiteX3" fmla="*/ 39961 w 130385"/>
                              <a:gd name="connsiteY3" fmla="*/ 373678 h 728002"/>
                              <a:gd name="connsiteX4" fmla="*/ 23781 w 130385"/>
                              <a:gd name="connsiteY4" fmla="*/ 550840 h 728002"/>
                              <a:gd name="connsiteX5" fmla="*/ 36684 w 130385"/>
                              <a:gd name="connsiteY5" fmla="*/ 728002 h 72800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130385" h="728002">
                                <a:moveTo>
                                  <a:pt x="130386" y="0"/>
                                </a:moveTo>
                                <a:cubicBezTo>
                                  <a:pt x="130386" y="0"/>
                                  <a:pt x="49690" y="9626"/>
                                  <a:pt x="49690" y="61239"/>
                                </a:cubicBezTo>
                                <a:cubicBezTo>
                                  <a:pt x="49690" y="112851"/>
                                  <a:pt x="94851" y="138555"/>
                                  <a:pt x="101302" y="202968"/>
                                </a:cubicBezTo>
                                <a:cubicBezTo>
                                  <a:pt x="107754" y="267381"/>
                                  <a:pt x="88399" y="293188"/>
                                  <a:pt x="39961" y="373678"/>
                                </a:cubicBezTo>
                                <a:cubicBezTo>
                                  <a:pt x="-8477" y="454169"/>
                                  <a:pt x="-11651" y="496053"/>
                                  <a:pt x="23781" y="550840"/>
                                </a:cubicBezTo>
                                <a:cubicBezTo>
                                  <a:pt x="59316" y="605627"/>
                                  <a:pt x="81845" y="695744"/>
                                  <a:pt x="36684" y="728002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54" name="Полилиния: фигура 1453">
                            <a:extLst>
                              <a:ext uri="{FF2B5EF4-FFF2-40B4-BE49-F238E27FC236}">
                                <a16:creationId xmlns:a16="http://schemas.microsoft.com/office/drawing/2014/main" id="{9EC9BF09-130A-4364-BDFF-8A92B927996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003806" y="2888243"/>
                            <a:ext cx="341402" cy="722782"/>
                          </a:xfrm>
                          <a:custGeom>
                            <a:avLst/>
                            <a:gdLst>
                              <a:gd name="connsiteX0" fmla="*/ 341403 w 341402"/>
                              <a:gd name="connsiteY0" fmla="*/ 23864 h 722782"/>
                              <a:gd name="connsiteX1" fmla="*/ 167211 w 341402"/>
                              <a:gd name="connsiteY1" fmla="*/ 20689 h 722782"/>
                              <a:gd name="connsiteX2" fmla="*/ 205920 w 341402"/>
                              <a:gd name="connsiteY2" fmla="*/ 255813 h 722782"/>
                              <a:gd name="connsiteX3" fmla="*/ 67160 w 341402"/>
                              <a:gd name="connsiteY3" fmla="*/ 507014 h 722782"/>
                              <a:gd name="connsiteX4" fmla="*/ 2645 w 341402"/>
                              <a:gd name="connsiteY4" fmla="*/ 722783 h 72278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341402" h="722782">
                                <a:moveTo>
                                  <a:pt x="341403" y="23864"/>
                                </a:moveTo>
                                <a:cubicBezTo>
                                  <a:pt x="341403" y="23864"/>
                                  <a:pt x="244629" y="-27646"/>
                                  <a:pt x="167211" y="20689"/>
                                </a:cubicBezTo>
                                <a:cubicBezTo>
                                  <a:pt x="89792" y="69025"/>
                                  <a:pt x="193017" y="165593"/>
                                  <a:pt x="205920" y="255813"/>
                                </a:cubicBezTo>
                                <a:cubicBezTo>
                                  <a:pt x="218823" y="346032"/>
                                  <a:pt x="154307" y="410343"/>
                                  <a:pt x="67160" y="507014"/>
                                </a:cubicBezTo>
                                <a:cubicBezTo>
                                  <a:pt x="-19987" y="603582"/>
                                  <a:pt x="2645" y="722783"/>
                                  <a:pt x="2645" y="722783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55" name="Полилиния: фигура 1454">
                            <a:extLst>
                              <a:ext uri="{FF2B5EF4-FFF2-40B4-BE49-F238E27FC236}">
                                <a16:creationId xmlns:a16="http://schemas.microsoft.com/office/drawing/2014/main" id="{D5BBBF07-E948-4E8B-A900-520A85063A2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726453" y="3723672"/>
                            <a:ext cx="277626" cy="438091"/>
                          </a:xfrm>
                          <a:custGeom>
                            <a:avLst/>
                            <a:gdLst>
                              <a:gd name="connsiteX0" fmla="*/ 273546 w 277626"/>
                              <a:gd name="connsiteY0" fmla="*/ 0 h 438091"/>
                              <a:gd name="connsiteX1" fmla="*/ 234837 w 277626"/>
                              <a:gd name="connsiteY1" fmla="*/ 112749 h 438091"/>
                              <a:gd name="connsiteX2" fmla="*/ 9032 w 277626"/>
                              <a:gd name="connsiteY2" fmla="*/ 289911 h 438091"/>
                              <a:gd name="connsiteX3" fmla="*/ 41290 w 277626"/>
                              <a:gd name="connsiteY3" fmla="*/ 438092 h 43809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277626" h="438091">
                                <a:moveTo>
                                  <a:pt x="273546" y="0"/>
                                </a:moveTo>
                                <a:cubicBezTo>
                                  <a:pt x="273546" y="0"/>
                                  <a:pt x="296178" y="48336"/>
                                  <a:pt x="234837" y="112749"/>
                                </a:cubicBezTo>
                                <a:cubicBezTo>
                                  <a:pt x="173496" y="177162"/>
                                  <a:pt x="41290" y="193240"/>
                                  <a:pt x="9032" y="289911"/>
                                </a:cubicBezTo>
                                <a:cubicBezTo>
                                  <a:pt x="-23226" y="386479"/>
                                  <a:pt x="41290" y="438092"/>
                                  <a:pt x="41290" y="438092"/>
                                </a:cubicBezTo>
                              </a:path>
                            </a:pathLst>
                          </a:custGeom>
                          <a:noFill/>
                          <a:ln w="4910" cap="rnd">
                            <a:solidFill>
                              <a:srgbClr val="FFFFFF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  <p:grpSp>
                      <p:nvGrpSpPr>
                        <p:cNvPr id="1456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890951" y="3406726"/>
                          <a:ext cx="1207452" cy="1376351"/>
                          <a:chOff x="1890951" y="3406726"/>
                          <a:chExt cx="1207452" cy="1376351"/>
                        </a:xfrm>
                      </p:grpSpPr>
                      <p:grpSp>
                        <p:nvGrpSpPr>
                          <p:cNvPr id="1457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470861" y="3406726"/>
                            <a:ext cx="176992" cy="710115"/>
                            <a:chOff x="2470861" y="3406726"/>
                            <a:chExt cx="176992" cy="710115"/>
                          </a:xfrm>
                        </p:grpSpPr>
                        <p:sp>
                          <p:nvSpPr>
                            <p:cNvPr id="1458" name="Полилиния: фигура 1457">
                              <a:extLst>
                                <a:ext uri="{FF2B5EF4-FFF2-40B4-BE49-F238E27FC236}">
                                  <a16:creationId xmlns:a16="http://schemas.microsoft.com/office/drawing/2014/main" id="{BEA21FA7-D241-4110-81E3-407630B104D2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470861" y="3406726"/>
                              <a:ext cx="176992" cy="710115"/>
                            </a:xfrm>
                            <a:custGeom>
                              <a:avLst/>
                              <a:gdLst>
                                <a:gd name="connsiteX0" fmla="*/ 0 w 176992"/>
                                <a:gd name="connsiteY0" fmla="*/ 0 h 710115"/>
                                <a:gd name="connsiteX1" fmla="*/ 13620 w 176992"/>
                                <a:gd name="connsiteY1" fmla="*/ 163439 h 710115"/>
                                <a:gd name="connsiteX2" fmla="*/ 58167 w 176992"/>
                                <a:gd name="connsiteY2" fmla="*/ 425291 h 710115"/>
                                <a:gd name="connsiteX3" fmla="*/ 89093 w 176992"/>
                                <a:gd name="connsiteY3" fmla="*/ 588730 h 710115"/>
                                <a:gd name="connsiteX4" fmla="*/ 176855 w 176992"/>
                                <a:gd name="connsiteY4" fmla="*/ 506294 h 710115"/>
                                <a:gd name="connsiteX5" fmla="*/ 163235 w 176992"/>
                                <a:gd name="connsiteY5" fmla="*/ 139681 h 710115"/>
                                <a:gd name="connsiteX6" fmla="*/ 169994 w 176992"/>
                                <a:gd name="connsiteY6" fmla="*/ 71786 h 71011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176992" h="710115">
                                  <a:moveTo>
                                    <a:pt x="0" y="0"/>
                                  </a:moveTo>
                                  <a:cubicBezTo>
                                    <a:pt x="0" y="0"/>
                                    <a:pt x="6759" y="129441"/>
                                    <a:pt x="13620" y="163439"/>
                                  </a:cubicBezTo>
                                  <a:cubicBezTo>
                                    <a:pt x="20379" y="197336"/>
                                    <a:pt x="47824" y="318379"/>
                                    <a:pt x="58167" y="425291"/>
                                  </a:cubicBezTo>
                                  <a:cubicBezTo>
                                    <a:pt x="67485" y="520938"/>
                                    <a:pt x="89093" y="588730"/>
                                    <a:pt x="89093" y="588730"/>
                                  </a:cubicBezTo>
                                  <a:cubicBezTo>
                                    <a:pt x="89093" y="588730"/>
                                    <a:pt x="171939" y="910489"/>
                                    <a:pt x="176855" y="506294"/>
                                  </a:cubicBezTo>
                                  <a:cubicBezTo>
                                    <a:pt x="178596" y="363643"/>
                                    <a:pt x="163235" y="139681"/>
                                    <a:pt x="163235" y="139681"/>
                                  </a:cubicBezTo>
                                  <a:lnTo>
                                    <a:pt x="169994" y="71786"/>
                                  </a:lnTo>
                                </a:path>
                              </a:pathLst>
                            </a:custGeom>
                            <a:solidFill>
                              <a:srgbClr val="FFFFFF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grpSp>
                          <p:nvGrpSpPr>
                            <p:cNvPr id="1459" name="Рисунок 1282">
                              <a:extLst>
                                <a:ext uri="{FF2B5EF4-FFF2-40B4-BE49-F238E27FC236}">
                                  <a16:creationId xmlns:a16="http://schemas.microsoft.com/office/drawing/2014/main" id="{1C513778-6A5B-40D9-9E8A-2FA6961B248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2476493" y="3434069"/>
                              <a:ext cx="167120" cy="624981"/>
                              <a:chOff x="2476493" y="3434069"/>
                              <a:chExt cx="167120" cy="624981"/>
                            </a:xfrm>
                            <a:solidFill>
                              <a:srgbClr val="92E3A9">
                                <a:alpha val="30000"/>
                              </a:srgbClr>
                            </a:solidFill>
                          </p:grpSpPr>
                          <p:sp>
                            <p:nvSpPr>
                              <p:cNvPr id="1460" name="Полилиния: фигура 1459">
                                <a:extLst>
                                  <a:ext uri="{FF2B5EF4-FFF2-40B4-BE49-F238E27FC236}">
                                    <a16:creationId xmlns:a16="http://schemas.microsoft.com/office/drawing/2014/main" id="{14DC9C02-4318-4ADA-92AA-0B7C6A588032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476493" y="3434069"/>
                                <a:ext cx="132922" cy="136097"/>
                              </a:xfrm>
                              <a:custGeom>
                                <a:avLst/>
                                <a:gdLst>
                                  <a:gd name="connsiteX0" fmla="*/ 132923 w 132922"/>
                                  <a:gd name="connsiteY0" fmla="*/ 55504 h 136097"/>
                                  <a:gd name="connsiteX1" fmla="*/ 7988 w 132922"/>
                                  <a:gd name="connsiteY1" fmla="*/ 136097 h 136097"/>
                                  <a:gd name="connsiteX2" fmla="*/ 0 w 132922"/>
                                  <a:gd name="connsiteY2" fmla="*/ 0 h 136097"/>
                                  <a:gd name="connsiteX3" fmla="*/ 132820 w 132922"/>
                                  <a:gd name="connsiteY3" fmla="*/ 55504 h 136097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</a:cxnLst>
                                <a:rect l="l" t="t" r="r" b="b"/>
                                <a:pathLst>
                                  <a:path w="132922" h="136097">
                                    <a:moveTo>
                                      <a:pt x="132923" y="55504"/>
                                    </a:moveTo>
                                    <a:lnTo>
                                      <a:pt x="7988" y="136097"/>
                                    </a:lnTo>
                                    <a:lnTo>
                                      <a:pt x="0" y="0"/>
                                    </a:lnTo>
                                    <a:cubicBezTo>
                                      <a:pt x="0" y="0"/>
                                      <a:pt x="83461" y="49359"/>
                                      <a:pt x="132820" y="55504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92E3A9">
                                  <a:alpha val="30000"/>
                                </a:srgbClr>
                              </a:solidFill>
                              <a:ln w="10228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  <p:sp>
                            <p:nvSpPr>
                              <p:cNvPr id="1461" name="Полилиния: фигура 1460">
                                <a:extLst>
                                  <a:ext uri="{FF2B5EF4-FFF2-40B4-BE49-F238E27FC236}">
                                    <a16:creationId xmlns:a16="http://schemas.microsoft.com/office/drawing/2014/main" id="{9F7F82B9-2106-441B-B7CC-BDFD3CED0AB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616212" y="3546305"/>
                                <a:ext cx="27401" cy="512745"/>
                              </a:xfrm>
                              <a:custGeom>
                                <a:avLst/>
                                <a:gdLst>
                                  <a:gd name="connsiteX0" fmla="*/ 17884 w 27401"/>
                                  <a:gd name="connsiteY0" fmla="*/ 0 h 512745"/>
                                  <a:gd name="connsiteX1" fmla="*/ 2523 w 27401"/>
                                  <a:gd name="connsiteY1" fmla="*/ 328722 h 512745"/>
                                  <a:gd name="connsiteX2" fmla="*/ 21366 w 27401"/>
                                  <a:gd name="connsiteY2" fmla="*/ 512745 h 512745"/>
                                  <a:gd name="connsiteX3" fmla="*/ 17884 w 27401"/>
                                  <a:gd name="connsiteY3" fmla="*/ 102 h 512745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</a:cxnLst>
                                <a:rect l="l" t="t" r="r" b="b"/>
                                <a:pathLst>
                                  <a:path w="27401" h="512745">
                                    <a:moveTo>
                                      <a:pt x="17884" y="0"/>
                                    </a:moveTo>
                                    <a:cubicBezTo>
                                      <a:pt x="17884" y="0"/>
                                      <a:pt x="13788" y="231027"/>
                                      <a:pt x="2523" y="328722"/>
                                    </a:cubicBezTo>
                                    <a:cubicBezTo>
                                      <a:pt x="-8742" y="426315"/>
                                      <a:pt x="21366" y="512745"/>
                                      <a:pt x="21366" y="512745"/>
                                    </a:cubicBezTo>
                                    <a:cubicBezTo>
                                      <a:pt x="21366" y="512745"/>
                                      <a:pt x="37034" y="155759"/>
                                      <a:pt x="17884" y="102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92E3A9">
                                  <a:alpha val="30000"/>
                                </a:srgbClr>
                              </a:solidFill>
                              <a:ln w="10228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</p:grpSp>
                        <p:sp>
                          <p:nvSpPr>
                            <p:cNvPr id="1462" name="Полилиния: фигура 1461">
                              <a:extLst>
                                <a:ext uri="{FF2B5EF4-FFF2-40B4-BE49-F238E27FC236}">
                                  <a16:creationId xmlns:a16="http://schemas.microsoft.com/office/drawing/2014/main" id="{230C0FA0-6838-42D2-B2AE-856936A33697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470861" y="3406726"/>
                              <a:ext cx="176992" cy="710115"/>
                            </a:xfrm>
                            <a:custGeom>
                              <a:avLst/>
                              <a:gdLst>
                                <a:gd name="connsiteX0" fmla="*/ 0 w 176992"/>
                                <a:gd name="connsiteY0" fmla="*/ 0 h 710115"/>
                                <a:gd name="connsiteX1" fmla="*/ 13620 w 176992"/>
                                <a:gd name="connsiteY1" fmla="*/ 163439 h 710115"/>
                                <a:gd name="connsiteX2" fmla="*/ 58167 w 176992"/>
                                <a:gd name="connsiteY2" fmla="*/ 425291 h 710115"/>
                                <a:gd name="connsiteX3" fmla="*/ 89093 w 176992"/>
                                <a:gd name="connsiteY3" fmla="*/ 588730 h 710115"/>
                                <a:gd name="connsiteX4" fmla="*/ 176855 w 176992"/>
                                <a:gd name="connsiteY4" fmla="*/ 506294 h 710115"/>
                                <a:gd name="connsiteX5" fmla="*/ 163235 w 176992"/>
                                <a:gd name="connsiteY5" fmla="*/ 139681 h 710115"/>
                                <a:gd name="connsiteX6" fmla="*/ 169994 w 176992"/>
                                <a:gd name="connsiteY6" fmla="*/ 71786 h 71011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</a:cxnLst>
                              <a:rect l="l" t="t" r="r" b="b"/>
                              <a:pathLst>
                                <a:path w="176992" h="710115">
                                  <a:moveTo>
                                    <a:pt x="0" y="0"/>
                                  </a:moveTo>
                                  <a:cubicBezTo>
                                    <a:pt x="0" y="0"/>
                                    <a:pt x="6759" y="129441"/>
                                    <a:pt x="13620" y="163439"/>
                                  </a:cubicBezTo>
                                  <a:cubicBezTo>
                                    <a:pt x="20379" y="197336"/>
                                    <a:pt x="47824" y="318379"/>
                                    <a:pt x="58167" y="425291"/>
                                  </a:cubicBezTo>
                                  <a:cubicBezTo>
                                    <a:pt x="67485" y="520938"/>
                                    <a:pt x="89093" y="588730"/>
                                    <a:pt x="89093" y="588730"/>
                                  </a:cubicBezTo>
                                  <a:cubicBezTo>
                                    <a:pt x="89093" y="588730"/>
                                    <a:pt x="171939" y="910489"/>
                                    <a:pt x="176855" y="506294"/>
                                  </a:cubicBezTo>
                                  <a:cubicBezTo>
                                    <a:pt x="178596" y="363643"/>
                                    <a:pt x="163235" y="139681"/>
                                    <a:pt x="163235" y="139681"/>
                                  </a:cubicBezTo>
                                  <a:lnTo>
                                    <a:pt x="169994" y="71786"/>
                                  </a:lnTo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grpSp>
                        <p:nvGrpSpPr>
                          <p:cNvPr id="1463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359136" y="3949169"/>
                            <a:ext cx="142139" cy="185047"/>
                            <a:chOff x="2359136" y="3949169"/>
                            <a:chExt cx="142139" cy="185047"/>
                          </a:xfrm>
                        </p:grpSpPr>
                        <p:sp>
                          <p:nvSpPr>
                            <p:cNvPr id="1464" name="Полилиния: фигура 1463">
                              <a:extLst>
                                <a:ext uri="{FF2B5EF4-FFF2-40B4-BE49-F238E27FC236}">
                                  <a16:creationId xmlns:a16="http://schemas.microsoft.com/office/drawing/2014/main" id="{8975F1FA-5853-4ACA-AAAF-CC816028833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59136" y="3949169"/>
                              <a:ext cx="142139" cy="185047"/>
                            </a:xfrm>
                            <a:custGeom>
                              <a:avLst/>
                              <a:gdLst>
                                <a:gd name="connsiteX0" fmla="*/ 21608 w 142139"/>
                                <a:gd name="connsiteY0" fmla="*/ 0 h 185047"/>
                                <a:gd name="connsiteX1" fmla="*/ 0 w 142139"/>
                                <a:gd name="connsiteY1" fmla="*/ 46185 h 185047"/>
                                <a:gd name="connsiteX2" fmla="*/ 142139 w 142139"/>
                                <a:gd name="connsiteY2" fmla="*/ 185047 h 185047"/>
                                <a:gd name="connsiteX3" fmla="*/ 21608 w 142139"/>
                                <a:gd name="connsiteY3" fmla="*/ 0 h 1850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142139" h="185047">
                                  <a:moveTo>
                                    <a:pt x="21608" y="0"/>
                                  </a:moveTo>
                                  <a:lnTo>
                                    <a:pt x="0" y="46185"/>
                                  </a:lnTo>
                                  <a:lnTo>
                                    <a:pt x="142139" y="185047"/>
                                  </a:lnTo>
                                  <a:lnTo>
                                    <a:pt x="21608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2E3A9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65" name="Полилиния: фигура 1464">
                              <a:extLst>
                                <a:ext uri="{FF2B5EF4-FFF2-40B4-BE49-F238E27FC236}">
                                  <a16:creationId xmlns:a16="http://schemas.microsoft.com/office/drawing/2014/main" id="{AAF54E7F-975B-4F0D-9B38-DEDB101763B6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59136" y="3949169"/>
                              <a:ext cx="142139" cy="185047"/>
                            </a:xfrm>
                            <a:custGeom>
                              <a:avLst/>
                              <a:gdLst>
                                <a:gd name="connsiteX0" fmla="*/ 21608 w 142139"/>
                                <a:gd name="connsiteY0" fmla="*/ 0 h 185047"/>
                                <a:gd name="connsiteX1" fmla="*/ 0 w 142139"/>
                                <a:gd name="connsiteY1" fmla="*/ 46185 h 185047"/>
                                <a:gd name="connsiteX2" fmla="*/ 142139 w 142139"/>
                                <a:gd name="connsiteY2" fmla="*/ 185047 h 185047"/>
                                <a:gd name="connsiteX3" fmla="*/ 21608 w 142139"/>
                                <a:gd name="connsiteY3" fmla="*/ 0 h 1850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142139" h="185047">
                                  <a:moveTo>
                                    <a:pt x="21608" y="0"/>
                                  </a:moveTo>
                                  <a:lnTo>
                                    <a:pt x="0" y="46185"/>
                                  </a:lnTo>
                                  <a:lnTo>
                                    <a:pt x="142139" y="185047"/>
                                  </a:lnTo>
                                  <a:lnTo>
                                    <a:pt x="21608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FFFFF">
                                <a:alpha val="70000"/>
                              </a:srgbClr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grpSp>
                        <p:nvGrpSpPr>
                          <p:cNvPr id="1466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195902" y="3962879"/>
                            <a:ext cx="117534" cy="554949"/>
                            <a:chOff x="2195902" y="3962879"/>
                            <a:chExt cx="117534" cy="554949"/>
                          </a:xfrm>
                        </p:grpSpPr>
                        <p:sp>
                          <p:nvSpPr>
                            <p:cNvPr id="1467" name="Полилиния: фигура 1466">
                              <a:extLst>
                                <a:ext uri="{FF2B5EF4-FFF2-40B4-BE49-F238E27FC236}">
                                  <a16:creationId xmlns:a16="http://schemas.microsoft.com/office/drawing/2014/main" id="{ABDBC8E4-0A67-494D-A2F2-BD63F6488211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195902" y="3962879"/>
                              <a:ext cx="117534" cy="554949"/>
                            </a:xfrm>
                            <a:custGeom>
                              <a:avLst/>
                              <a:gdLst>
                                <a:gd name="connsiteX0" fmla="*/ 19252 w 117534"/>
                                <a:gd name="connsiteY0" fmla="*/ 88491 h 554949"/>
                                <a:gd name="connsiteX1" fmla="*/ 81720 w 117534"/>
                                <a:gd name="connsiteY1" fmla="*/ 3699 h 554949"/>
                                <a:gd name="connsiteX2" fmla="*/ 39221 w 117534"/>
                                <a:gd name="connsiteY2" fmla="*/ 150856 h 554949"/>
                                <a:gd name="connsiteX3" fmla="*/ 114182 w 117534"/>
                                <a:gd name="connsiteY3" fmla="*/ 155874 h 554949"/>
                                <a:gd name="connsiteX4" fmla="*/ 66666 w 117534"/>
                                <a:gd name="connsiteY4" fmla="*/ 275586 h 554949"/>
                                <a:gd name="connsiteX5" fmla="*/ 76702 w 117534"/>
                                <a:gd name="connsiteY5" fmla="*/ 520029 h 554949"/>
                                <a:gd name="connsiteX6" fmla="*/ 79160 w 117534"/>
                                <a:gd name="connsiteY6" fmla="*/ 534980 h 554949"/>
                                <a:gd name="connsiteX7" fmla="*/ 49155 w 117534"/>
                                <a:gd name="connsiteY7" fmla="*/ 554949 h 554949"/>
                                <a:gd name="connsiteX8" fmla="*/ 16692 w 117534"/>
                                <a:gd name="connsiteY8" fmla="*/ 495042 h 554949"/>
                                <a:gd name="connsiteX9" fmla="*/ 11674 w 117534"/>
                                <a:gd name="connsiteY9" fmla="*/ 332934 h 554949"/>
                                <a:gd name="connsiteX10" fmla="*/ 0 w 117534"/>
                                <a:gd name="connsiteY10" fmla="*/ 220082 h 554949"/>
                                <a:gd name="connsiteX11" fmla="*/ 19252 w 117534"/>
                                <a:gd name="connsiteY11" fmla="*/ 88491 h 55494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</a:cxnLst>
                              <a:rect l="l" t="t" r="r" b="b"/>
                              <a:pathLst>
                                <a:path w="117534" h="554949">
                                  <a:moveTo>
                                    <a:pt x="19252" y="88491"/>
                                  </a:moveTo>
                                  <a:cubicBezTo>
                                    <a:pt x="19252" y="88491"/>
                                    <a:pt x="66769" y="-21288"/>
                                    <a:pt x="81720" y="3699"/>
                                  </a:cubicBezTo>
                                  <a:cubicBezTo>
                                    <a:pt x="96671" y="28686"/>
                                    <a:pt x="1741" y="135905"/>
                                    <a:pt x="39221" y="150856"/>
                                  </a:cubicBezTo>
                                  <a:cubicBezTo>
                                    <a:pt x="76702" y="165808"/>
                                    <a:pt x="131694" y="110918"/>
                                    <a:pt x="114182" y="155874"/>
                                  </a:cubicBezTo>
                                  <a:cubicBezTo>
                                    <a:pt x="96671" y="200728"/>
                                    <a:pt x="66666" y="253160"/>
                                    <a:pt x="66666" y="275586"/>
                                  </a:cubicBezTo>
                                  <a:cubicBezTo>
                                    <a:pt x="66666" y="298013"/>
                                    <a:pt x="76702" y="520029"/>
                                    <a:pt x="76702" y="520029"/>
                                  </a:cubicBezTo>
                                  <a:lnTo>
                                    <a:pt x="79160" y="534980"/>
                                  </a:lnTo>
                                  <a:lnTo>
                                    <a:pt x="49155" y="554949"/>
                                  </a:lnTo>
                                  <a:cubicBezTo>
                                    <a:pt x="49155" y="554949"/>
                                    <a:pt x="16692" y="522486"/>
                                    <a:pt x="16692" y="495042"/>
                                  </a:cubicBezTo>
                                  <a:cubicBezTo>
                                    <a:pt x="16692" y="467597"/>
                                    <a:pt x="11674" y="357818"/>
                                    <a:pt x="11674" y="332934"/>
                                  </a:cubicBezTo>
                                  <a:cubicBezTo>
                                    <a:pt x="11674" y="308049"/>
                                    <a:pt x="0" y="220082"/>
                                    <a:pt x="0" y="220082"/>
                                  </a:cubicBezTo>
                                  <a:lnTo>
                                    <a:pt x="19252" y="88491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2E3A9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68" name="Полилиния: фигура 1467">
                              <a:extLst>
                                <a:ext uri="{FF2B5EF4-FFF2-40B4-BE49-F238E27FC236}">
                                  <a16:creationId xmlns:a16="http://schemas.microsoft.com/office/drawing/2014/main" id="{C3410CDA-F3DA-4A28-B4F3-107AE9F2BE26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196926" y="3962879"/>
                              <a:ext cx="116510" cy="554949"/>
                            </a:xfrm>
                            <a:custGeom>
                              <a:avLst/>
                              <a:gdLst>
                                <a:gd name="connsiteX0" fmla="*/ 18228 w 116510"/>
                                <a:gd name="connsiteY0" fmla="*/ 88491 h 554949"/>
                                <a:gd name="connsiteX1" fmla="*/ 80696 w 116510"/>
                                <a:gd name="connsiteY1" fmla="*/ 3699 h 554949"/>
                                <a:gd name="connsiteX2" fmla="*/ 38197 w 116510"/>
                                <a:gd name="connsiteY2" fmla="*/ 150856 h 554949"/>
                                <a:gd name="connsiteX3" fmla="*/ 113158 w 116510"/>
                                <a:gd name="connsiteY3" fmla="*/ 155874 h 554949"/>
                                <a:gd name="connsiteX4" fmla="*/ 65642 w 116510"/>
                                <a:gd name="connsiteY4" fmla="*/ 275586 h 554949"/>
                                <a:gd name="connsiteX5" fmla="*/ 75678 w 116510"/>
                                <a:gd name="connsiteY5" fmla="*/ 520029 h 554949"/>
                                <a:gd name="connsiteX6" fmla="*/ 78136 w 116510"/>
                                <a:gd name="connsiteY6" fmla="*/ 534980 h 554949"/>
                                <a:gd name="connsiteX7" fmla="*/ 48131 w 116510"/>
                                <a:gd name="connsiteY7" fmla="*/ 554949 h 554949"/>
                                <a:gd name="connsiteX8" fmla="*/ 15668 w 116510"/>
                                <a:gd name="connsiteY8" fmla="*/ 495042 h 554949"/>
                                <a:gd name="connsiteX9" fmla="*/ 10650 w 116510"/>
                                <a:gd name="connsiteY9" fmla="*/ 332934 h 554949"/>
                                <a:gd name="connsiteX10" fmla="*/ 0 w 116510"/>
                                <a:gd name="connsiteY10" fmla="*/ 214143 h 554949"/>
                                <a:gd name="connsiteX11" fmla="*/ 18228 w 116510"/>
                                <a:gd name="connsiteY11" fmla="*/ 88491 h 55494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</a:cxnLst>
                              <a:rect l="l" t="t" r="r" b="b"/>
                              <a:pathLst>
                                <a:path w="116510" h="554949">
                                  <a:moveTo>
                                    <a:pt x="18228" y="88491"/>
                                  </a:moveTo>
                                  <a:cubicBezTo>
                                    <a:pt x="18228" y="88491"/>
                                    <a:pt x="65745" y="-21288"/>
                                    <a:pt x="80696" y="3699"/>
                                  </a:cubicBezTo>
                                  <a:cubicBezTo>
                                    <a:pt x="95647" y="28686"/>
                                    <a:pt x="717" y="135905"/>
                                    <a:pt x="38197" y="150856"/>
                                  </a:cubicBezTo>
                                  <a:cubicBezTo>
                                    <a:pt x="75678" y="165808"/>
                                    <a:pt x="130670" y="110918"/>
                                    <a:pt x="113158" y="155874"/>
                                  </a:cubicBezTo>
                                  <a:cubicBezTo>
                                    <a:pt x="95647" y="200728"/>
                                    <a:pt x="65642" y="253160"/>
                                    <a:pt x="65642" y="275586"/>
                                  </a:cubicBezTo>
                                  <a:cubicBezTo>
                                    <a:pt x="65642" y="298013"/>
                                    <a:pt x="75678" y="520029"/>
                                    <a:pt x="75678" y="520029"/>
                                  </a:cubicBezTo>
                                  <a:lnTo>
                                    <a:pt x="78136" y="534980"/>
                                  </a:lnTo>
                                  <a:lnTo>
                                    <a:pt x="48131" y="554949"/>
                                  </a:lnTo>
                                  <a:cubicBezTo>
                                    <a:pt x="48131" y="554949"/>
                                    <a:pt x="15668" y="522486"/>
                                    <a:pt x="15668" y="495042"/>
                                  </a:cubicBezTo>
                                  <a:cubicBezTo>
                                    <a:pt x="15668" y="467597"/>
                                    <a:pt x="10650" y="357818"/>
                                    <a:pt x="10650" y="332934"/>
                                  </a:cubicBezTo>
                                  <a:cubicBezTo>
                                    <a:pt x="10650" y="308049"/>
                                    <a:pt x="0" y="214143"/>
                                    <a:pt x="0" y="214143"/>
                                  </a:cubicBezTo>
                                  <a:lnTo>
                                    <a:pt x="18228" y="88491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FFFFF">
                                <a:alpha val="70000"/>
                              </a:srgbClr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grpSp>
                        <p:nvGrpSpPr>
                          <p:cNvPr id="1469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354198" y="3470525"/>
                            <a:ext cx="131511" cy="364462"/>
                            <a:chOff x="2354198" y="3470525"/>
                            <a:chExt cx="131511" cy="364462"/>
                          </a:xfrm>
                        </p:grpSpPr>
                        <p:sp>
                          <p:nvSpPr>
                            <p:cNvPr id="1470" name="Полилиния: фигура 1469">
                              <a:extLst>
                                <a:ext uri="{FF2B5EF4-FFF2-40B4-BE49-F238E27FC236}">
                                  <a16:creationId xmlns:a16="http://schemas.microsoft.com/office/drawing/2014/main" id="{FFB75B85-703D-41C8-AB18-A5376C1E8DE7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54198" y="3470627"/>
                              <a:ext cx="118301" cy="364359"/>
                            </a:xfrm>
                            <a:custGeom>
                              <a:avLst/>
                              <a:gdLst>
                                <a:gd name="connsiteX0" fmla="*/ 118301 w 118301"/>
                                <a:gd name="connsiteY0" fmla="*/ 0 h 364359"/>
                                <a:gd name="connsiteX1" fmla="*/ 24907 w 118301"/>
                                <a:gd name="connsiteY1" fmla="*/ 69022 h 364359"/>
                                <a:gd name="connsiteX2" fmla="*/ 1149 w 118301"/>
                                <a:gd name="connsiteY2" fmla="*/ 282845 h 364359"/>
                                <a:gd name="connsiteX3" fmla="*/ 1149 w 118301"/>
                                <a:gd name="connsiteY3" fmla="*/ 364360 h 364359"/>
                                <a:gd name="connsiteX4" fmla="*/ 96386 w 118301"/>
                                <a:gd name="connsiteY4" fmla="*/ 333843 h 36435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18301" h="364359">
                                  <a:moveTo>
                                    <a:pt x="118301" y="0"/>
                                  </a:moveTo>
                                  <a:cubicBezTo>
                                    <a:pt x="118301" y="0"/>
                                    <a:pt x="48665" y="14644"/>
                                    <a:pt x="24907" y="69022"/>
                                  </a:cubicBezTo>
                                  <a:cubicBezTo>
                                    <a:pt x="1149" y="123297"/>
                                    <a:pt x="-2333" y="248948"/>
                                    <a:pt x="1149" y="282845"/>
                                  </a:cubicBezTo>
                                  <a:cubicBezTo>
                                    <a:pt x="4528" y="316741"/>
                                    <a:pt x="1149" y="364360"/>
                                    <a:pt x="1149" y="364360"/>
                                  </a:cubicBezTo>
                                  <a:lnTo>
                                    <a:pt x="96386" y="333843"/>
                                  </a:lnTo>
                                </a:path>
                              </a:pathLst>
                            </a:custGeom>
                            <a:solidFill>
                              <a:srgbClr val="FFFFFF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71" name="Полилиния: фигура 1470">
                              <a:extLst>
                                <a:ext uri="{FF2B5EF4-FFF2-40B4-BE49-F238E27FC236}">
                                  <a16:creationId xmlns:a16="http://schemas.microsoft.com/office/drawing/2014/main" id="{C2E90267-2108-4856-903F-B8FEBDC763B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59751" y="3470525"/>
                              <a:ext cx="125959" cy="204504"/>
                            </a:xfrm>
                            <a:custGeom>
                              <a:avLst/>
                              <a:gdLst>
                                <a:gd name="connsiteX0" fmla="*/ 125857 w 125959"/>
                                <a:gd name="connsiteY0" fmla="*/ 86226 h 204504"/>
                                <a:gd name="connsiteX1" fmla="*/ 47619 w 125959"/>
                                <a:gd name="connsiteY1" fmla="*/ 115821 h 204504"/>
                                <a:gd name="connsiteX2" fmla="*/ 3175 w 125959"/>
                                <a:gd name="connsiteY2" fmla="*/ 204504 h 204504"/>
                                <a:gd name="connsiteX3" fmla="*/ 15873 w 125959"/>
                                <a:gd name="connsiteY3" fmla="*/ 77726 h 204504"/>
                                <a:gd name="connsiteX4" fmla="*/ 112749 w 125959"/>
                                <a:gd name="connsiteY4" fmla="*/ 0 h 204504"/>
                                <a:gd name="connsiteX5" fmla="*/ 125959 w 125959"/>
                                <a:gd name="connsiteY5" fmla="*/ 86226 h 20450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5959" h="204504">
                                  <a:moveTo>
                                    <a:pt x="125857" y="86226"/>
                                  </a:moveTo>
                                  <a:cubicBezTo>
                                    <a:pt x="125857" y="86226"/>
                                    <a:pt x="87762" y="84075"/>
                                    <a:pt x="47619" y="115821"/>
                                  </a:cubicBezTo>
                                  <a:cubicBezTo>
                                    <a:pt x="7373" y="147464"/>
                                    <a:pt x="3175" y="204504"/>
                                    <a:pt x="3175" y="204504"/>
                                  </a:cubicBezTo>
                                  <a:cubicBezTo>
                                    <a:pt x="3175" y="204504"/>
                                    <a:pt x="-9524" y="136917"/>
                                    <a:pt x="15873" y="77726"/>
                                  </a:cubicBezTo>
                                  <a:cubicBezTo>
                                    <a:pt x="41270" y="18638"/>
                                    <a:pt x="112749" y="0"/>
                                    <a:pt x="112749" y="0"/>
                                  </a:cubicBezTo>
                                  <a:lnTo>
                                    <a:pt x="125959" y="86226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2E3A9">
                                <a:alpha val="30000"/>
                              </a:srgbClr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72" name="Полилиния: фигура 1471">
                              <a:extLst>
                                <a:ext uri="{FF2B5EF4-FFF2-40B4-BE49-F238E27FC236}">
                                  <a16:creationId xmlns:a16="http://schemas.microsoft.com/office/drawing/2014/main" id="{6FBB7F0B-8C5E-48E0-AB7C-7820D554E2F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54198" y="3470627"/>
                              <a:ext cx="118301" cy="364359"/>
                            </a:xfrm>
                            <a:custGeom>
                              <a:avLst/>
                              <a:gdLst>
                                <a:gd name="connsiteX0" fmla="*/ 118301 w 118301"/>
                                <a:gd name="connsiteY0" fmla="*/ 0 h 364359"/>
                                <a:gd name="connsiteX1" fmla="*/ 24907 w 118301"/>
                                <a:gd name="connsiteY1" fmla="*/ 69022 h 364359"/>
                                <a:gd name="connsiteX2" fmla="*/ 1149 w 118301"/>
                                <a:gd name="connsiteY2" fmla="*/ 282845 h 364359"/>
                                <a:gd name="connsiteX3" fmla="*/ 1149 w 118301"/>
                                <a:gd name="connsiteY3" fmla="*/ 364360 h 364359"/>
                                <a:gd name="connsiteX4" fmla="*/ 96386 w 118301"/>
                                <a:gd name="connsiteY4" fmla="*/ 333843 h 36435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18301" h="364359">
                                  <a:moveTo>
                                    <a:pt x="118301" y="0"/>
                                  </a:moveTo>
                                  <a:cubicBezTo>
                                    <a:pt x="118301" y="0"/>
                                    <a:pt x="48665" y="14644"/>
                                    <a:pt x="24907" y="69022"/>
                                  </a:cubicBezTo>
                                  <a:cubicBezTo>
                                    <a:pt x="1149" y="123297"/>
                                    <a:pt x="-2333" y="248948"/>
                                    <a:pt x="1149" y="282845"/>
                                  </a:cubicBezTo>
                                  <a:cubicBezTo>
                                    <a:pt x="4528" y="316741"/>
                                    <a:pt x="1149" y="364360"/>
                                    <a:pt x="1149" y="364360"/>
                                  </a:cubicBezTo>
                                  <a:lnTo>
                                    <a:pt x="96386" y="333843"/>
                                  </a:lnTo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473" name="Полилиния: фигура 1472">
                            <a:extLst>
                              <a:ext uri="{FF2B5EF4-FFF2-40B4-BE49-F238E27FC236}">
                                <a16:creationId xmlns:a16="http://schemas.microsoft.com/office/drawing/2014/main" id="{F9763AC5-84C9-4EDD-8ED6-0B862A98EA16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368865" y="3811126"/>
                            <a:ext cx="115615" cy="281718"/>
                          </a:xfrm>
                          <a:custGeom>
                            <a:avLst/>
                            <a:gdLst>
                              <a:gd name="connsiteX0" fmla="*/ 105375 w 115615"/>
                              <a:gd name="connsiteY0" fmla="*/ 0 h 281718"/>
                              <a:gd name="connsiteX1" fmla="*/ 0 w 115615"/>
                              <a:gd name="connsiteY1" fmla="*/ 118791 h 281718"/>
                              <a:gd name="connsiteX2" fmla="*/ 115616 w 115615"/>
                              <a:gd name="connsiteY2" fmla="*/ 281718 h 281718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115615" h="281718">
                                <a:moveTo>
                                  <a:pt x="105375" y="0"/>
                                </a:moveTo>
                                <a:lnTo>
                                  <a:pt x="0" y="118791"/>
                                </a:lnTo>
                                <a:cubicBezTo>
                                  <a:pt x="0" y="118791"/>
                                  <a:pt x="78238" y="240961"/>
                                  <a:pt x="115616" y="281718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74" name="Полилиния: фигура 1473">
                            <a:extLst>
                              <a:ext uri="{FF2B5EF4-FFF2-40B4-BE49-F238E27FC236}">
                                <a16:creationId xmlns:a16="http://schemas.microsoft.com/office/drawing/2014/main" id="{2437F94C-9CB3-41BE-BAE1-FE12E4D80C71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664613" y="3493566"/>
                            <a:ext cx="132717" cy="582381"/>
                          </a:xfrm>
                          <a:custGeom>
                            <a:avLst/>
                            <a:gdLst>
                              <a:gd name="connsiteX0" fmla="*/ 78340 w 132717"/>
                              <a:gd name="connsiteY0" fmla="*/ 582381 h 582381"/>
                              <a:gd name="connsiteX1" fmla="*/ 132718 w 132717"/>
                              <a:gd name="connsiteY1" fmla="*/ 375317 h 582381"/>
                              <a:gd name="connsiteX2" fmla="*/ 37480 w 132717"/>
                              <a:gd name="connsiteY2" fmla="*/ 304042 h 582381"/>
                              <a:gd name="connsiteX3" fmla="*/ 112339 w 132717"/>
                              <a:gd name="connsiteY3" fmla="*/ 280285 h 582381"/>
                              <a:gd name="connsiteX4" fmla="*/ 51100 w 132717"/>
                              <a:gd name="connsiteY4" fmla="*/ 69841 h 582381"/>
                              <a:gd name="connsiteX5" fmla="*/ 0 w 132717"/>
                              <a:gd name="connsiteY5" fmla="*/ 0 h 58238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132717" h="582381">
                                <a:moveTo>
                                  <a:pt x="78340" y="582381"/>
                                </a:moveTo>
                                <a:lnTo>
                                  <a:pt x="132718" y="375317"/>
                                </a:lnTo>
                                <a:lnTo>
                                  <a:pt x="37480" y="304042"/>
                                </a:lnTo>
                                <a:lnTo>
                                  <a:pt x="112339" y="280285"/>
                                </a:lnTo>
                                <a:lnTo>
                                  <a:pt x="51100" y="69841"/>
                                </a:lnTo>
                                <a:cubicBezTo>
                                  <a:pt x="51100" y="69841"/>
                                  <a:pt x="39733" y="16999"/>
                                  <a:pt x="0" y="0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75" name="Полилиния: фигура 1474">
                            <a:extLst>
                              <a:ext uri="{FF2B5EF4-FFF2-40B4-BE49-F238E27FC236}">
                                <a16:creationId xmlns:a16="http://schemas.microsoft.com/office/drawing/2014/main" id="{0EFFC1D7-6C32-4305-8560-CD6C6923668E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525238" y="3709335"/>
                            <a:ext cx="108754" cy="34755"/>
                          </a:xfrm>
                          <a:custGeom>
                            <a:avLst/>
                            <a:gdLst>
                              <a:gd name="connsiteX0" fmla="*/ 0 w 108754"/>
                              <a:gd name="connsiteY0" fmla="*/ 0 h 34755"/>
                              <a:gd name="connsiteX1" fmla="*/ 71377 w 108754"/>
                              <a:gd name="connsiteY1" fmla="*/ 33999 h 34755"/>
                              <a:gd name="connsiteX2" fmla="*/ 108755 w 108754"/>
                              <a:gd name="connsiteY2" fmla="*/ 6861 h 347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108754" h="34755">
                                <a:moveTo>
                                  <a:pt x="0" y="0"/>
                                </a:moveTo>
                                <a:cubicBezTo>
                                  <a:pt x="0" y="0"/>
                                  <a:pt x="33999" y="40758"/>
                                  <a:pt x="71377" y="33999"/>
                                </a:cubicBezTo>
                                <a:cubicBezTo>
                                  <a:pt x="108755" y="27240"/>
                                  <a:pt x="108755" y="6861"/>
                                  <a:pt x="108755" y="6861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grpSp>
                        <p:nvGrpSpPr>
                          <p:cNvPr id="1476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1890951" y="3648199"/>
                            <a:ext cx="585542" cy="1076181"/>
                            <a:chOff x="1890951" y="3648199"/>
                            <a:chExt cx="585542" cy="1076181"/>
                          </a:xfrm>
                        </p:grpSpPr>
                        <p:grpSp>
                          <p:nvGrpSpPr>
                            <p:cNvPr id="1477" name="Рисунок 1282">
                              <a:extLst>
                                <a:ext uri="{FF2B5EF4-FFF2-40B4-BE49-F238E27FC236}">
                                  <a16:creationId xmlns:a16="http://schemas.microsoft.com/office/drawing/2014/main" id="{1C513778-6A5B-40D9-9E8A-2FA6961B248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1890951" y="3650350"/>
                              <a:ext cx="585542" cy="1074030"/>
                              <a:chOff x="1890951" y="3650350"/>
                              <a:chExt cx="585542" cy="1074030"/>
                            </a:xfrm>
                          </p:grpSpPr>
                          <p:grpSp>
                            <p:nvGrpSpPr>
                              <p:cNvPr id="1478" name="Рисунок 1282">
                                <a:extLst>
                                  <a:ext uri="{FF2B5EF4-FFF2-40B4-BE49-F238E27FC236}">
                                    <a16:creationId xmlns:a16="http://schemas.microsoft.com/office/drawing/2014/main" id="{1C513778-6A5B-40D9-9E8A-2FA6961B2484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1890951" y="3752038"/>
                                <a:ext cx="303932" cy="972341"/>
                                <a:chOff x="1890951" y="3752038"/>
                                <a:chExt cx="303932" cy="972341"/>
                              </a:xfrm>
                            </p:grpSpPr>
                            <p:sp>
                              <p:nvSpPr>
                                <p:cNvPr id="1479" name="Полилиния: фигура 1478">
                                  <a:extLst>
                                    <a:ext uri="{FF2B5EF4-FFF2-40B4-BE49-F238E27FC236}">
                                      <a16:creationId xmlns:a16="http://schemas.microsoft.com/office/drawing/2014/main" id="{08B293E9-64C8-4DEE-8764-ACCA15088025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1892441" y="3752038"/>
                                  <a:ext cx="302442" cy="970396"/>
                                </a:xfrm>
                                <a:custGeom>
                                  <a:avLst/>
                                  <a:gdLst>
                                    <a:gd name="connsiteX0" fmla="*/ 300184 w 302442"/>
                                    <a:gd name="connsiteY0" fmla="*/ 0 h 970396"/>
                                    <a:gd name="connsiteX1" fmla="*/ 247752 w 302442"/>
                                    <a:gd name="connsiteY1" fmla="*/ 74859 h 970396"/>
                                    <a:gd name="connsiteX2" fmla="*/ 300184 w 302442"/>
                                    <a:gd name="connsiteY2" fmla="*/ 134766 h 970396"/>
                                    <a:gd name="connsiteX3" fmla="*/ 240174 w 302442"/>
                                    <a:gd name="connsiteY3" fmla="*/ 117357 h 970396"/>
                                    <a:gd name="connsiteX4" fmla="*/ 107764 w 302442"/>
                                    <a:gd name="connsiteY4" fmla="*/ 601224 h 970396"/>
                                    <a:gd name="connsiteX5" fmla="*/ 157738 w 302442"/>
                                    <a:gd name="connsiteY5" fmla="*/ 598766 h 970396"/>
                                    <a:gd name="connsiteX6" fmla="*/ 60247 w 302442"/>
                                    <a:gd name="connsiteY6" fmla="*/ 681100 h 970396"/>
                                    <a:gd name="connsiteX7" fmla="*/ 142684 w 302442"/>
                                    <a:gd name="connsiteY7" fmla="*/ 668607 h 970396"/>
                                    <a:gd name="connsiteX8" fmla="*/ 102746 w 302442"/>
                                    <a:gd name="connsiteY8" fmla="*/ 740905 h 970396"/>
                                    <a:gd name="connsiteX9" fmla="*/ 219796 w 302442"/>
                                    <a:gd name="connsiteY9" fmla="*/ 862051 h 970396"/>
                                    <a:gd name="connsiteX10" fmla="*/ 205151 w 302442"/>
                                    <a:gd name="connsiteY10" fmla="*/ 895538 h 970396"/>
                                    <a:gd name="connsiteX11" fmla="*/ 225121 w 302442"/>
                                    <a:gd name="connsiteY11" fmla="*/ 928000 h 970396"/>
                                    <a:gd name="connsiteX12" fmla="*/ 192044 w 302442"/>
                                    <a:gd name="connsiteY12" fmla="*/ 929946 h 970396"/>
                                    <a:gd name="connsiteX13" fmla="*/ 187640 w 302442"/>
                                    <a:gd name="connsiteY13" fmla="*/ 970397 h 970396"/>
                                    <a:gd name="connsiteX14" fmla="*/ 117492 w 302442"/>
                                    <a:gd name="connsiteY14" fmla="*/ 900965 h 970396"/>
                                    <a:gd name="connsiteX15" fmla="*/ 135 w 302442"/>
                                    <a:gd name="connsiteY15" fmla="*/ 741520 h 970396"/>
                                    <a:gd name="connsiteX16" fmla="*/ 12731 w 302442"/>
                                    <a:gd name="connsiteY16" fmla="*/ 693491 h 970396"/>
                                    <a:gd name="connsiteX17" fmla="*/ 177604 w 302442"/>
                                    <a:gd name="connsiteY17" fmla="*/ 169686 h 970396"/>
                                    <a:gd name="connsiteX18" fmla="*/ 224506 w 302442"/>
                                    <a:gd name="connsiteY18" fmla="*/ 42191 h 970396"/>
                                    <a:gd name="connsiteX19" fmla="*/ 299979 w 302442"/>
                                    <a:gd name="connsiteY19" fmla="*/ 103 h 970396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</a:cxnLst>
                                  <a:rect l="l" t="t" r="r" b="b"/>
                                  <a:pathLst>
                                    <a:path w="302442" h="970396">
                                      <a:moveTo>
                                        <a:pt x="300184" y="0"/>
                                      </a:moveTo>
                                      <a:cubicBezTo>
                                        <a:pt x="300184" y="0"/>
                                        <a:pt x="245192" y="59907"/>
                                        <a:pt x="247752" y="74859"/>
                                      </a:cubicBezTo>
                                      <a:cubicBezTo>
                                        <a:pt x="250210" y="89810"/>
                                        <a:pt x="315238" y="117254"/>
                                        <a:pt x="300184" y="134766"/>
                                      </a:cubicBezTo>
                                      <a:cubicBezTo>
                                        <a:pt x="285233" y="152277"/>
                                        <a:pt x="247752" y="109779"/>
                                        <a:pt x="240174" y="117357"/>
                                      </a:cubicBezTo>
                                      <a:cubicBezTo>
                                        <a:pt x="232699" y="124833"/>
                                        <a:pt x="95270" y="593748"/>
                                        <a:pt x="107764" y="601224"/>
                                      </a:cubicBezTo>
                                      <a:cubicBezTo>
                                        <a:pt x="120257" y="608700"/>
                                        <a:pt x="150262" y="581255"/>
                                        <a:pt x="157738" y="598766"/>
                                      </a:cubicBezTo>
                                      <a:cubicBezTo>
                                        <a:pt x="165213" y="616175"/>
                                        <a:pt x="32803" y="666149"/>
                                        <a:pt x="60247" y="681100"/>
                                      </a:cubicBezTo>
                                      <a:cubicBezTo>
                                        <a:pt x="87692" y="696052"/>
                                        <a:pt x="155178" y="663589"/>
                                        <a:pt x="142684" y="668607"/>
                                      </a:cubicBezTo>
                                      <a:cubicBezTo>
                                        <a:pt x="130191" y="673625"/>
                                        <a:pt x="92710" y="720936"/>
                                        <a:pt x="102746" y="740905"/>
                                      </a:cubicBezTo>
                                      <a:cubicBezTo>
                                        <a:pt x="112781" y="760874"/>
                                        <a:pt x="219796" y="862051"/>
                                        <a:pt x="219796" y="862051"/>
                                      </a:cubicBezTo>
                                      <a:cubicBezTo>
                                        <a:pt x="219796" y="862051"/>
                                        <a:pt x="197676" y="870551"/>
                                        <a:pt x="205151" y="895538"/>
                                      </a:cubicBezTo>
                                      <a:cubicBezTo>
                                        <a:pt x="212627" y="920525"/>
                                        <a:pt x="225121" y="928000"/>
                                        <a:pt x="225121" y="928000"/>
                                      </a:cubicBezTo>
                                      <a:cubicBezTo>
                                        <a:pt x="225121" y="928000"/>
                                        <a:pt x="196447" y="904345"/>
                                        <a:pt x="192044" y="929946"/>
                                      </a:cubicBezTo>
                                      <a:cubicBezTo>
                                        <a:pt x="187640" y="955445"/>
                                        <a:pt x="187640" y="970397"/>
                                        <a:pt x="187640" y="970397"/>
                                      </a:cubicBezTo>
                                      <a:lnTo>
                                        <a:pt x="117492" y="900965"/>
                                      </a:lnTo>
                                      <a:cubicBezTo>
                                        <a:pt x="60350" y="842799"/>
                                        <a:pt x="13858" y="788319"/>
                                        <a:pt x="135" y="741520"/>
                                      </a:cubicBezTo>
                                      <a:cubicBezTo>
                                        <a:pt x="135" y="741520"/>
                                        <a:pt x="-2220" y="748381"/>
                                        <a:pt x="12731" y="693491"/>
                                      </a:cubicBezTo>
                                      <a:cubicBezTo>
                                        <a:pt x="27682" y="638602"/>
                                        <a:pt x="177604" y="169686"/>
                                        <a:pt x="177604" y="169686"/>
                                      </a:cubicBezTo>
                                      <a:cubicBezTo>
                                        <a:pt x="177604" y="169686"/>
                                        <a:pt x="211501" y="59293"/>
                                        <a:pt x="224506" y="42191"/>
                                      </a:cubicBezTo>
                                      <a:cubicBezTo>
                                        <a:pt x="237512" y="25089"/>
                                        <a:pt x="299979" y="103"/>
                                        <a:pt x="299979" y="103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92E3A9"/>
                                </a:solidFill>
                                <a:ln w="10228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ru-RU"/>
                                </a:p>
                              </p:txBody>
                            </p:sp>
                            <p:sp>
                              <p:nvSpPr>
                                <p:cNvPr id="1480" name="Полилиния: фигура 1479">
                                  <a:extLst>
                                    <a:ext uri="{FF2B5EF4-FFF2-40B4-BE49-F238E27FC236}">
                                      <a16:creationId xmlns:a16="http://schemas.microsoft.com/office/drawing/2014/main" id="{C2365AFE-3298-4674-988F-8340C828068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1890951" y="3752038"/>
                                  <a:ext cx="303932" cy="972341"/>
                                </a:xfrm>
                                <a:custGeom>
                                  <a:avLst/>
                                  <a:gdLst>
                                    <a:gd name="connsiteX0" fmla="*/ 301674 w 303932"/>
                                    <a:gd name="connsiteY0" fmla="*/ 0 h 972341"/>
                                    <a:gd name="connsiteX1" fmla="*/ 249242 w 303932"/>
                                    <a:gd name="connsiteY1" fmla="*/ 74859 h 972341"/>
                                    <a:gd name="connsiteX2" fmla="*/ 301674 w 303932"/>
                                    <a:gd name="connsiteY2" fmla="*/ 134766 h 972341"/>
                                    <a:gd name="connsiteX3" fmla="*/ 241664 w 303932"/>
                                    <a:gd name="connsiteY3" fmla="*/ 117357 h 972341"/>
                                    <a:gd name="connsiteX4" fmla="*/ 109254 w 303932"/>
                                    <a:gd name="connsiteY4" fmla="*/ 601224 h 972341"/>
                                    <a:gd name="connsiteX5" fmla="*/ 159228 w 303932"/>
                                    <a:gd name="connsiteY5" fmla="*/ 598766 h 972341"/>
                                    <a:gd name="connsiteX6" fmla="*/ 61737 w 303932"/>
                                    <a:gd name="connsiteY6" fmla="*/ 681100 h 972341"/>
                                    <a:gd name="connsiteX7" fmla="*/ 144174 w 303932"/>
                                    <a:gd name="connsiteY7" fmla="*/ 668607 h 972341"/>
                                    <a:gd name="connsiteX8" fmla="*/ 104236 w 303932"/>
                                    <a:gd name="connsiteY8" fmla="*/ 740905 h 972341"/>
                                    <a:gd name="connsiteX9" fmla="*/ 221285 w 303932"/>
                                    <a:gd name="connsiteY9" fmla="*/ 862051 h 972341"/>
                                    <a:gd name="connsiteX10" fmla="*/ 206641 w 303932"/>
                                    <a:gd name="connsiteY10" fmla="*/ 895538 h 972341"/>
                                    <a:gd name="connsiteX11" fmla="*/ 226610 w 303932"/>
                                    <a:gd name="connsiteY11" fmla="*/ 928000 h 972341"/>
                                    <a:gd name="connsiteX12" fmla="*/ 193533 w 303932"/>
                                    <a:gd name="connsiteY12" fmla="*/ 929946 h 972341"/>
                                    <a:gd name="connsiteX13" fmla="*/ 186979 w 303932"/>
                                    <a:gd name="connsiteY13" fmla="*/ 972342 h 972341"/>
                                    <a:gd name="connsiteX14" fmla="*/ 118982 w 303932"/>
                                    <a:gd name="connsiteY14" fmla="*/ 900965 h 972341"/>
                                    <a:gd name="connsiteX15" fmla="*/ 1625 w 303932"/>
                                    <a:gd name="connsiteY15" fmla="*/ 741520 h 972341"/>
                                    <a:gd name="connsiteX16" fmla="*/ 14221 w 303932"/>
                                    <a:gd name="connsiteY16" fmla="*/ 693491 h 972341"/>
                                    <a:gd name="connsiteX17" fmla="*/ 179094 w 303932"/>
                                    <a:gd name="connsiteY17" fmla="*/ 169686 h 972341"/>
                                    <a:gd name="connsiteX18" fmla="*/ 225996 w 303932"/>
                                    <a:gd name="connsiteY18" fmla="*/ 42191 h 972341"/>
                                    <a:gd name="connsiteX19" fmla="*/ 301469 w 303932"/>
                                    <a:gd name="connsiteY19" fmla="*/ 103 h 972341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</a:cxnLst>
                                  <a:rect l="l" t="t" r="r" b="b"/>
                                  <a:pathLst>
                                    <a:path w="303932" h="972341">
                                      <a:moveTo>
                                        <a:pt x="301674" y="0"/>
                                      </a:moveTo>
                                      <a:cubicBezTo>
                                        <a:pt x="301674" y="0"/>
                                        <a:pt x="246682" y="59907"/>
                                        <a:pt x="249242" y="74859"/>
                                      </a:cubicBezTo>
                                      <a:cubicBezTo>
                                        <a:pt x="251700" y="89810"/>
                                        <a:pt x="316727" y="117254"/>
                                        <a:pt x="301674" y="134766"/>
                                      </a:cubicBezTo>
                                      <a:cubicBezTo>
                                        <a:pt x="286723" y="152277"/>
                                        <a:pt x="249242" y="109779"/>
                                        <a:pt x="241664" y="117357"/>
                                      </a:cubicBezTo>
                                      <a:cubicBezTo>
                                        <a:pt x="234189" y="124833"/>
                                        <a:pt x="96760" y="593748"/>
                                        <a:pt x="109254" y="601224"/>
                                      </a:cubicBezTo>
                                      <a:cubicBezTo>
                                        <a:pt x="121747" y="608700"/>
                                        <a:pt x="151752" y="581255"/>
                                        <a:pt x="159228" y="598766"/>
                                      </a:cubicBezTo>
                                      <a:cubicBezTo>
                                        <a:pt x="166703" y="616175"/>
                                        <a:pt x="34293" y="666149"/>
                                        <a:pt x="61737" y="681100"/>
                                      </a:cubicBezTo>
                                      <a:cubicBezTo>
                                        <a:pt x="89182" y="696052"/>
                                        <a:pt x="156667" y="663589"/>
                                        <a:pt x="144174" y="668607"/>
                                      </a:cubicBezTo>
                                      <a:cubicBezTo>
                                        <a:pt x="131680" y="673625"/>
                                        <a:pt x="94200" y="720936"/>
                                        <a:pt x="104236" y="740905"/>
                                      </a:cubicBezTo>
                                      <a:cubicBezTo>
                                        <a:pt x="114271" y="760874"/>
                                        <a:pt x="221285" y="862051"/>
                                        <a:pt x="221285" y="862051"/>
                                      </a:cubicBezTo>
                                      <a:cubicBezTo>
                                        <a:pt x="221285" y="862051"/>
                                        <a:pt x="199166" y="870551"/>
                                        <a:pt x="206641" y="895538"/>
                                      </a:cubicBezTo>
                                      <a:cubicBezTo>
                                        <a:pt x="214117" y="920525"/>
                                        <a:pt x="226610" y="928000"/>
                                        <a:pt x="226610" y="928000"/>
                                      </a:cubicBezTo>
                                      <a:cubicBezTo>
                                        <a:pt x="226610" y="928000"/>
                                        <a:pt x="197937" y="904345"/>
                                        <a:pt x="193533" y="929946"/>
                                      </a:cubicBezTo>
                                      <a:cubicBezTo>
                                        <a:pt x="189130" y="955445"/>
                                        <a:pt x="186979" y="972342"/>
                                        <a:pt x="186979" y="972342"/>
                                      </a:cubicBezTo>
                                      <a:lnTo>
                                        <a:pt x="118982" y="900965"/>
                                      </a:lnTo>
                                      <a:cubicBezTo>
                                        <a:pt x="48117" y="830203"/>
                                        <a:pt x="4288" y="774392"/>
                                        <a:pt x="1625" y="741520"/>
                                      </a:cubicBezTo>
                                      <a:cubicBezTo>
                                        <a:pt x="1625" y="741520"/>
                                        <a:pt x="-6670" y="757085"/>
                                        <a:pt x="14221" y="693491"/>
                                      </a:cubicBezTo>
                                      <a:cubicBezTo>
                                        <a:pt x="31937" y="639421"/>
                                        <a:pt x="179094" y="169686"/>
                                        <a:pt x="179094" y="169686"/>
                                      </a:cubicBezTo>
                                      <a:cubicBezTo>
                                        <a:pt x="179094" y="169686"/>
                                        <a:pt x="212991" y="59293"/>
                                        <a:pt x="225996" y="42191"/>
                                      </a:cubicBezTo>
                                      <a:cubicBezTo>
                                        <a:pt x="239002" y="25089"/>
                                        <a:pt x="301469" y="103"/>
                                        <a:pt x="301469" y="103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FFFFFF">
                                    <a:alpha val="70000"/>
                                  </a:srgbClr>
                                </a:solidFill>
                                <a:ln w="10228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ru-RU"/>
                                </a:p>
                              </p:txBody>
                            </p:sp>
                          </p:grpSp>
                          <p:grpSp>
                            <p:nvGrpSpPr>
                              <p:cNvPr id="1481" name="Рисунок 1282">
                                <a:extLst>
                                  <a:ext uri="{FF2B5EF4-FFF2-40B4-BE49-F238E27FC236}">
                                    <a16:creationId xmlns:a16="http://schemas.microsoft.com/office/drawing/2014/main" id="{1C513778-6A5B-40D9-9E8A-2FA6961B2484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2315819" y="3650350"/>
                                <a:ext cx="160674" cy="224780"/>
                                <a:chOff x="2315819" y="3650350"/>
                                <a:chExt cx="160674" cy="224780"/>
                              </a:xfrm>
                            </p:grpSpPr>
                            <p:sp>
                              <p:nvSpPr>
                                <p:cNvPr id="1482" name="Полилиния: фигура 1481">
                                  <a:extLst>
                                    <a:ext uri="{FF2B5EF4-FFF2-40B4-BE49-F238E27FC236}">
                                      <a16:creationId xmlns:a16="http://schemas.microsoft.com/office/drawing/2014/main" id="{EAD58489-CF0B-4CBA-B04B-1A91DE1A0E14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2315819" y="3650350"/>
                                  <a:ext cx="160674" cy="224780"/>
                                </a:xfrm>
                                <a:custGeom>
                                  <a:avLst/>
                                  <a:gdLst>
                                    <a:gd name="connsiteX0" fmla="*/ 0 w 160674"/>
                                    <a:gd name="connsiteY0" fmla="*/ 33487 h 224780"/>
                                    <a:gd name="connsiteX1" fmla="*/ 0 w 160674"/>
                                    <a:gd name="connsiteY1" fmla="*/ 224780 h 224780"/>
                                    <a:gd name="connsiteX2" fmla="*/ 120532 w 160674"/>
                                    <a:gd name="connsiteY2" fmla="*/ 193854 h 224780"/>
                                    <a:gd name="connsiteX3" fmla="*/ 160675 w 160674"/>
                                    <a:gd name="connsiteY3" fmla="*/ 147669 h 224780"/>
                                    <a:gd name="connsiteX4" fmla="*/ 37071 w 160674"/>
                                    <a:gd name="connsiteY4" fmla="*/ 172349 h 224780"/>
                                    <a:gd name="connsiteX5" fmla="*/ 45161 w 160674"/>
                                    <a:gd name="connsiteY5" fmla="*/ 0 h 224780"/>
                                    <a:gd name="connsiteX6" fmla="*/ 0 w 160674"/>
                                    <a:gd name="connsiteY6" fmla="*/ 33487 h 224780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</a:cxnLst>
                                  <a:rect l="l" t="t" r="r" b="b"/>
                                  <a:pathLst>
                                    <a:path w="160674" h="224780">
                                      <a:moveTo>
                                        <a:pt x="0" y="33487"/>
                                      </a:moveTo>
                                      <a:lnTo>
                                        <a:pt x="0" y="224780"/>
                                      </a:lnTo>
                                      <a:lnTo>
                                        <a:pt x="120532" y="193854"/>
                                      </a:lnTo>
                                      <a:lnTo>
                                        <a:pt x="160675" y="147669"/>
                                      </a:lnTo>
                                      <a:lnTo>
                                        <a:pt x="37071" y="172349"/>
                                      </a:lnTo>
                                      <a:lnTo>
                                        <a:pt x="45161" y="0"/>
                                      </a:lnTo>
                                      <a:lnTo>
                                        <a:pt x="0" y="33487"/>
                                      </a:ln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92E3A9"/>
                                </a:solidFill>
                                <a:ln w="10228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ru-RU"/>
                                </a:p>
                              </p:txBody>
                            </p:sp>
                            <p:sp>
                              <p:nvSpPr>
                                <p:cNvPr id="1483" name="Полилиния: фигура 1482">
                                  <a:extLst>
                                    <a:ext uri="{FF2B5EF4-FFF2-40B4-BE49-F238E27FC236}">
                                      <a16:creationId xmlns:a16="http://schemas.microsoft.com/office/drawing/2014/main" id="{D2D5CF42-6577-490F-83E4-2BBFE182B3DD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2315819" y="3650350"/>
                                  <a:ext cx="160674" cy="224780"/>
                                </a:xfrm>
                                <a:custGeom>
                                  <a:avLst/>
                                  <a:gdLst>
                                    <a:gd name="connsiteX0" fmla="*/ 0 w 160674"/>
                                    <a:gd name="connsiteY0" fmla="*/ 33487 h 224780"/>
                                    <a:gd name="connsiteX1" fmla="*/ 0 w 160674"/>
                                    <a:gd name="connsiteY1" fmla="*/ 224780 h 224780"/>
                                    <a:gd name="connsiteX2" fmla="*/ 120532 w 160674"/>
                                    <a:gd name="connsiteY2" fmla="*/ 193854 h 224780"/>
                                    <a:gd name="connsiteX3" fmla="*/ 160675 w 160674"/>
                                    <a:gd name="connsiteY3" fmla="*/ 147669 h 224780"/>
                                    <a:gd name="connsiteX4" fmla="*/ 37071 w 160674"/>
                                    <a:gd name="connsiteY4" fmla="*/ 172349 h 224780"/>
                                    <a:gd name="connsiteX5" fmla="*/ 45161 w 160674"/>
                                    <a:gd name="connsiteY5" fmla="*/ 0 h 224780"/>
                                    <a:gd name="connsiteX6" fmla="*/ 0 w 160674"/>
                                    <a:gd name="connsiteY6" fmla="*/ 33487 h 224780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</a:cxnLst>
                                  <a:rect l="l" t="t" r="r" b="b"/>
                                  <a:pathLst>
                                    <a:path w="160674" h="224780">
                                      <a:moveTo>
                                        <a:pt x="0" y="33487"/>
                                      </a:moveTo>
                                      <a:lnTo>
                                        <a:pt x="0" y="224780"/>
                                      </a:lnTo>
                                      <a:lnTo>
                                        <a:pt x="120532" y="193854"/>
                                      </a:lnTo>
                                      <a:lnTo>
                                        <a:pt x="160675" y="147669"/>
                                      </a:lnTo>
                                      <a:lnTo>
                                        <a:pt x="37071" y="172349"/>
                                      </a:lnTo>
                                      <a:lnTo>
                                        <a:pt x="45161" y="0"/>
                                      </a:lnTo>
                                      <a:lnTo>
                                        <a:pt x="0" y="33487"/>
                                      </a:ln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FFFFFF">
                                    <a:alpha val="70000"/>
                                  </a:srgbClr>
                                </a:solidFill>
                                <a:ln w="10228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ru-RU"/>
                                </a:p>
                              </p:txBody>
                            </p:sp>
                          </p:grpSp>
                        </p:grpSp>
                        <p:sp>
                          <p:nvSpPr>
                            <p:cNvPr id="1484" name="Полилиния: фигура 1483">
                              <a:extLst>
                                <a:ext uri="{FF2B5EF4-FFF2-40B4-BE49-F238E27FC236}">
                                  <a16:creationId xmlns:a16="http://schemas.microsoft.com/office/drawing/2014/main" id="{AD5B65FD-F738-4E63-8D6A-97D46950543F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892731" y="3648199"/>
                              <a:ext cx="459134" cy="1055700"/>
                            </a:xfrm>
                            <a:custGeom>
                              <a:avLst/>
                              <a:gdLst>
                                <a:gd name="connsiteX0" fmla="*/ 459135 w 459134"/>
                                <a:gd name="connsiteY0" fmla="*/ 0 h 1055700"/>
                                <a:gd name="connsiteX1" fmla="*/ 224523 w 459134"/>
                                <a:gd name="connsiteY1" fmla="*/ 145928 h 1055700"/>
                                <a:gd name="connsiteX2" fmla="*/ 50 w 459134"/>
                                <a:gd name="connsiteY2" fmla="*/ 845257 h 1055700"/>
                                <a:gd name="connsiteX3" fmla="*/ 166664 w 459134"/>
                                <a:gd name="connsiteY3" fmla="*/ 1055700 h 105570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459134" h="1055700">
                                  <a:moveTo>
                                    <a:pt x="459135" y="0"/>
                                  </a:moveTo>
                                  <a:cubicBezTo>
                                    <a:pt x="459135" y="0"/>
                                    <a:pt x="234661" y="125652"/>
                                    <a:pt x="224523" y="145928"/>
                                  </a:cubicBezTo>
                                  <a:cubicBezTo>
                                    <a:pt x="214282" y="166307"/>
                                    <a:pt x="3429" y="801120"/>
                                    <a:pt x="50" y="845257"/>
                                  </a:cubicBezTo>
                                  <a:cubicBezTo>
                                    <a:pt x="-3330" y="889394"/>
                                    <a:pt x="166664" y="1055700"/>
                                    <a:pt x="166664" y="1055700"/>
                                  </a:cubicBezTo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485" name="Полилиния: фигура 1484">
                            <a:extLst>
                              <a:ext uri="{FF2B5EF4-FFF2-40B4-BE49-F238E27FC236}">
                                <a16:creationId xmlns:a16="http://schemas.microsoft.com/office/drawing/2014/main" id="{5DCE754A-1CB7-4351-AE4D-D5E840437D77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158012" y="3967295"/>
                            <a:ext cx="67997" cy="468506"/>
                          </a:xfrm>
                          <a:custGeom>
                            <a:avLst/>
                            <a:gdLst>
                              <a:gd name="connsiteX0" fmla="*/ 67997 w 67997"/>
                              <a:gd name="connsiteY0" fmla="*/ 0 h 468506"/>
                              <a:gd name="connsiteX1" fmla="*/ 0 w 67997"/>
                              <a:gd name="connsiteY1" fmla="*/ 468506 h 46850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67997" h="468506">
                                <a:moveTo>
                                  <a:pt x="67997" y="0"/>
                                </a:moveTo>
                                <a:lnTo>
                                  <a:pt x="0" y="468506"/>
                                </a:lnTo>
                              </a:path>
                            </a:pathLst>
                          </a:custGeom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86" name="Полилиния: фигура 1485">
                            <a:extLst>
                              <a:ext uri="{FF2B5EF4-FFF2-40B4-BE49-F238E27FC236}">
                                <a16:creationId xmlns:a16="http://schemas.microsoft.com/office/drawing/2014/main" id="{69B7D084-128C-4D86-82FB-4CC66AE13B4E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232768" y="3892641"/>
                            <a:ext cx="10240" cy="47516"/>
                          </a:xfrm>
                          <a:custGeom>
                            <a:avLst/>
                            <a:gdLst>
                              <a:gd name="connsiteX0" fmla="*/ 0 w 10240"/>
                              <a:gd name="connsiteY0" fmla="*/ 47516 h 47516"/>
                              <a:gd name="connsiteX1" fmla="*/ 10241 w 10240"/>
                              <a:gd name="connsiteY1" fmla="*/ 0 h 4751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0240" h="47516">
                                <a:moveTo>
                                  <a:pt x="0" y="47516"/>
                                </a:moveTo>
                                <a:lnTo>
                                  <a:pt x="10241" y="0"/>
                                </a:lnTo>
                              </a:path>
                            </a:pathLst>
                          </a:custGeom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87" name="Полилиния: фигура 1486">
                            <a:extLst>
                              <a:ext uri="{FF2B5EF4-FFF2-40B4-BE49-F238E27FC236}">
                                <a16:creationId xmlns:a16="http://schemas.microsoft.com/office/drawing/2014/main" id="{A3D09071-2C58-47E0-AE25-8F41A0786DE3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964158" y="4405047"/>
                            <a:ext cx="268712" cy="95167"/>
                          </a:xfrm>
                          <a:custGeom>
                            <a:avLst/>
                            <a:gdLst>
                              <a:gd name="connsiteX0" fmla="*/ 0 w 268712"/>
                              <a:gd name="connsiteY0" fmla="*/ 57892 h 95167"/>
                              <a:gd name="connsiteX1" fmla="*/ 108857 w 268712"/>
                              <a:gd name="connsiteY1" fmla="*/ 135 h 95167"/>
                              <a:gd name="connsiteX2" fmla="*/ 268713 w 268712"/>
                              <a:gd name="connsiteY2" fmla="*/ 95168 h 9516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268712" h="95167">
                                <a:moveTo>
                                  <a:pt x="0" y="57892"/>
                                </a:moveTo>
                                <a:cubicBezTo>
                                  <a:pt x="0" y="57892"/>
                                  <a:pt x="44239" y="-3244"/>
                                  <a:pt x="108857" y="135"/>
                                </a:cubicBezTo>
                                <a:cubicBezTo>
                                  <a:pt x="173475" y="3514"/>
                                  <a:pt x="268713" y="95168"/>
                                  <a:pt x="268713" y="95168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88" name="Полилиния: фигура 1487">
                            <a:extLst>
                              <a:ext uri="{FF2B5EF4-FFF2-40B4-BE49-F238E27FC236}">
                                <a16:creationId xmlns:a16="http://schemas.microsoft.com/office/drawing/2014/main" id="{A47A3B94-9383-4C58-AC84-21C465E2A55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984536" y="4369881"/>
                            <a:ext cx="105375" cy="21783"/>
                          </a:xfrm>
                          <a:custGeom>
                            <a:avLst/>
                            <a:gdLst>
                              <a:gd name="connsiteX0" fmla="*/ 0 w 105375"/>
                              <a:gd name="connsiteY0" fmla="*/ 21783 h 21783"/>
                              <a:gd name="connsiteX1" fmla="*/ 105375 w 105375"/>
                              <a:gd name="connsiteY1" fmla="*/ 15025 h 2178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105375" h="21783">
                                <a:moveTo>
                                  <a:pt x="0" y="21783"/>
                                </a:moveTo>
                                <a:cubicBezTo>
                                  <a:pt x="0" y="21783"/>
                                  <a:pt x="44239" y="-22353"/>
                                  <a:pt x="105375" y="15025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89" name="Полилиния: фигура 1488">
                            <a:extLst>
                              <a:ext uri="{FF2B5EF4-FFF2-40B4-BE49-F238E27FC236}">
                                <a16:creationId xmlns:a16="http://schemas.microsoft.com/office/drawing/2014/main" id="{3B75EB25-E5A5-40B7-AA41-85058E17F8F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232871" y="4501049"/>
                            <a:ext cx="72476" cy="149102"/>
                          </a:xfrm>
                          <a:custGeom>
                            <a:avLst/>
                            <a:gdLst>
                              <a:gd name="connsiteX0" fmla="*/ 66870 w 72476"/>
                              <a:gd name="connsiteY0" fmla="*/ 31935 h 149102"/>
                              <a:gd name="connsiteX1" fmla="*/ 15360 w 72476"/>
                              <a:gd name="connsiteY1" fmla="*/ 3875 h 149102"/>
                              <a:gd name="connsiteX2" fmla="*/ 408 w 72476"/>
                              <a:gd name="connsiteY2" fmla="*/ 26098 h 149102"/>
                              <a:gd name="connsiteX3" fmla="*/ 50280 w 72476"/>
                              <a:gd name="connsiteY3" fmla="*/ 148779 h 149102"/>
                              <a:gd name="connsiteX4" fmla="*/ 66870 w 72476"/>
                              <a:gd name="connsiteY4" fmla="*/ 32037 h 14910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72476" h="149102">
                                <a:moveTo>
                                  <a:pt x="66870" y="31935"/>
                                </a:moveTo>
                                <a:cubicBezTo>
                                  <a:pt x="63490" y="7767"/>
                                  <a:pt x="36967" y="-7594"/>
                                  <a:pt x="15360" y="3875"/>
                                </a:cubicBezTo>
                                <a:cubicBezTo>
                                  <a:pt x="7577" y="7972"/>
                                  <a:pt x="1535" y="14833"/>
                                  <a:pt x="408" y="26098"/>
                                </a:cubicBezTo>
                                <a:cubicBezTo>
                                  <a:pt x="-3381" y="63373"/>
                                  <a:pt x="19661" y="155231"/>
                                  <a:pt x="50280" y="148779"/>
                                </a:cubicBezTo>
                                <a:cubicBezTo>
                                  <a:pt x="76598" y="143147"/>
                                  <a:pt x="75779" y="94914"/>
                                  <a:pt x="66870" y="3203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FFFFFF"/>
                          </a:solidFill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0" name="Полилиния: фигура 1489">
                            <a:extLst>
                              <a:ext uri="{FF2B5EF4-FFF2-40B4-BE49-F238E27FC236}">
                                <a16:creationId xmlns:a16="http://schemas.microsoft.com/office/drawing/2014/main" id="{9AFAD617-9695-4F2F-9AF9-304F7FBFD82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164874" y="4528187"/>
                            <a:ext cx="72476" cy="149102"/>
                          </a:xfrm>
                          <a:custGeom>
                            <a:avLst/>
                            <a:gdLst>
                              <a:gd name="connsiteX0" fmla="*/ 66870 w 72476"/>
                              <a:gd name="connsiteY0" fmla="*/ 31935 h 149102"/>
                              <a:gd name="connsiteX1" fmla="*/ 15360 w 72476"/>
                              <a:gd name="connsiteY1" fmla="*/ 3875 h 149102"/>
                              <a:gd name="connsiteX2" fmla="*/ 408 w 72476"/>
                              <a:gd name="connsiteY2" fmla="*/ 26098 h 149102"/>
                              <a:gd name="connsiteX3" fmla="*/ 50280 w 72476"/>
                              <a:gd name="connsiteY3" fmla="*/ 148780 h 149102"/>
                              <a:gd name="connsiteX4" fmla="*/ 66870 w 72476"/>
                              <a:gd name="connsiteY4" fmla="*/ 32037 h 14910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72476" h="149102">
                                <a:moveTo>
                                  <a:pt x="66870" y="31935"/>
                                </a:moveTo>
                                <a:cubicBezTo>
                                  <a:pt x="63490" y="7767"/>
                                  <a:pt x="36967" y="-7594"/>
                                  <a:pt x="15360" y="3875"/>
                                </a:cubicBezTo>
                                <a:cubicBezTo>
                                  <a:pt x="7577" y="7972"/>
                                  <a:pt x="1535" y="14833"/>
                                  <a:pt x="408" y="26098"/>
                                </a:cubicBezTo>
                                <a:cubicBezTo>
                                  <a:pt x="-3381" y="63373"/>
                                  <a:pt x="19661" y="155231"/>
                                  <a:pt x="50280" y="148780"/>
                                </a:cubicBezTo>
                                <a:cubicBezTo>
                                  <a:pt x="76598" y="143147"/>
                                  <a:pt x="75779" y="94914"/>
                                  <a:pt x="66870" y="3203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FFFFFF"/>
                          </a:solidFill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1" name="Полилиния: фигура 1490">
                            <a:extLst>
                              <a:ext uri="{FF2B5EF4-FFF2-40B4-BE49-F238E27FC236}">
                                <a16:creationId xmlns:a16="http://schemas.microsoft.com/office/drawing/2014/main" id="{E546B6CF-BA17-43D1-9F4F-49393E9CB94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102966" y="4605532"/>
                            <a:ext cx="91648" cy="141984"/>
                          </a:xfrm>
                          <a:custGeom>
                            <a:avLst/>
                            <a:gdLst>
                              <a:gd name="connsiteX0" fmla="*/ 66311 w 91648"/>
                              <a:gd name="connsiteY0" fmla="*/ 23099 h 141984"/>
                              <a:gd name="connsiteX1" fmla="*/ 9373 w 91648"/>
                              <a:gd name="connsiteY1" fmla="*/ 8558 h 141984"/>
                              <a:gd name="connsiteX2" fmla="*/ 361 w 91648"/>
                              <a:gd name="connsiteY2" fmla="*/ 33749 h 141984"/>
                              <a:gd name="connsiteX3" fmla="*/ 78906 w 91648"/>
                              <a:gd name="connsiteY3" fmla="*/ 140354 h 141984"/>
                              <a:gd name="connsiteX4" fmla="*/ 66208 w 91648"/>
                              <a:gd name="connsiteY4" fmla="*/ 23099 h 14198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91648" h="141984">
                                <a:moveTo>
                                  <a:pt x="66311" y="23099"/>
                                </a:moveTo>
                                <a:cubicBezTo>
                                  <a:pt x="56787" y="570"/>
                                  <a:pt x="27601" y="-7827"/>
                                  <a:pt x="9373" y="8558"/>
                                </a:cubicBezTo>
                                <a:cubicBezTo>
                                  <a:pt x="2819" y="14497"/>
                                  <a:pt x="-1277" y="22587"/>
                                  <a:pt x="361" y="33749"/>
                                </a:cubicBezTo>
                                <a:cubicBezTo>
                                  <a:pt x="5891" y="70820"/>
                                  <a:pt x="51052" y="154690"/>
                                  <a:pt x="78906" y="140354"/>
                                </a:cubicBezTo>
                                <a:cubicBezTo>
                                  <a:pt x="102972" y="128065"/>
                                  <a:pt x="89659" y="78501"/>
                                  <a:pt x="66208" y="23099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FFFFFF"/>
                          </a:solidFill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2" name="Полилиния: фигура 1491">
                            <a:extLst>
                              <a:ext uri="{FF2B5EF4-FFF2-40B4-BE49-F238E27FC236}">
                                <a16:creationId xmlns:a16="http://schemas.microsoft.com/office/drawing/2014/main" id="{24B8E7CB-CF5B-4731-AECB-01C9F4AFEE1E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075714" y="4676883"/>
                            <a:ext cx="68711" cy="106195"/>
                          </a:xfrm>
                          <a:custGeom>
                            <a:avLst/>
                            <a:gdLst>
                              <a:gd name="connsiteX0" fmla="*/ 49528 w 68711"/>
                              <a:gd name="connsiteY0" fmla="*/ 17288 h 106195"/>
                              <a:gd name="connsiteX1" fmla="*/ 7030 w 68711"/>
                              <a:gd name="connsiteY1" fmla="*/ 6433 h 106195"/>
                              <a:gd name="connsiteX2" fmla="*/ 271 w 68711"/>
                              <a:gd name="connsiteY2" fmla="*/ 25276 h 106195"/>
                              <a:gd name="connsiteX3" fmla="*/ 59052 w 68711"/>
                              <a:gd name="connsiteY3" fmla="*/ 105050 h 106195"/>
                              <a:gd name="connsiteX4" fmla="*/ 49528 w 68711"/>
                              <a:gd name="connsiteY4" fmla="*/ 17391 h 10619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68711" h="106195">
                                <a:moveTo>
                                  <a:pt x="49528" y="17288"/>
                                </a:moveTo>
                                <a:cubicBezTo>
                                  <a:pt x="42565" y="391"/>
                                  <a:pt x="20547" y="-5856"/>
                                  <a:pt x="7030" y="6433"/>
                                </a:cubicBezTo>
                                <a:cubicBezTo>
                                  <a:pt x="2114" y="10837"/>
                                  <a:pt x="-958" y="16981"/>
                                  <a:pt x="271" y="25276"/>
                                </a:cubicBezTo>
                                <a:cubicBezTo>
                                  <a:pt x="4470" y="53028"/>
                                  <a:pt x="37956" y="115393"/>
                                  <a:pt x="59052" y="105050"/>
                                </a:cubicBezTo>
                                <a:cubicBezTo>
                                  <a:pt x="77075" y="96140"/>
                                  <a:pt x="67552" y="61323"/>
                                  <a:pt x="49528" y="17391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FFFFFF"/>
                          </a:solidFill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3" name="Полилиния: фигура 1492">
                            <a:extLst>
                              <a:ext uri="{FF2B5EF4-FFF2-40B4-BE49-F238E27FC236}">
                                <a16:creationId xmlns:a16="http://schemas.microsoft.com/office/drawing/2014/main" id="{AEB3E3C4-A989-44FC-8485-18BD076C56F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305373" y="4558073"/>
                            <a:ext cx="147361" cy="35933"/>
                          </a:xfrm>
                          <a:custGeom>
                            <a:avLst/>
                            <a:gdLst>
                              <a:gd name="connsiteX0" fmla="*/ 0 w 147361"/>
                              <a:gd name="connsiteY0" fmla="*/ 0 h 35933"/>
                              <a:gd name="connsiteX1" fmla="*/ 46390 w 147361"/>
                              <a:gd name="connsiteY1" fmla="*/ 34920 h 35933"/>
                              <a:gd name="connsiteX2" fmla="*/ 147362 w 147361"/>
                              <a:gd name="connsiteY2" fmla="*/ 24680 h 3593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147361" h="35933">
                                <a:moveTo>
                                  <a:pt x="0" y="0"/>
                                </a:moveTo>
                                <a:cubicBezTo>
                                  <a:pt x="0" y="0"/>
                                  <a:pt x="26625" y="28776"/>
                                  <a:pt x="46390" y="34920"/>
                                </a:cubicBezTo>
                                <a:cubicBezTo>
                                  <a:pt x="62672" y="39938"/>
                                  <a:pt x="147362" y="24680"/>
                                  <a:pt x="147362" y="24680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4" name="Полилиния: фигура 1493">
                            <a:extLst>
                              <a:ext uri="{FF2B5EF4-FFF2-40B4-BE49-F238E27FC236}">
                                <a16:creationId xmlns:a16="http://schemas.microsoft.com/office/drawing/2014/main" id="{3B6C5757-CF8A-4324-8053-33499EE624AA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208907" y="4646245"/>
                            <a:ext cx="217714" cy="64515"/>
                          </a:xfrm>
                          <a:custGeom>
                            <a:avLst/>
                            <a:gdLst>
                              <a:gd name="connsiteX0" fmla="*/ 217714 w 217714"/>
                              <a:gd name="connsiteY0" fmla="*/ 0 h 64515"/>
                              <a:gd name="connsiteX1" fmla="*/ 125857 w 217714"/>
                              <a:gd name="connsiteY1" fmla="*/ 20379 h 64515"/>
                              <a:gd name="connsiteX2" fmla="*/ 47619 w 217714"/>
                              <a:gd name="connsiteY2" fmla="*/ 30517 h 64515"/>
                              <a:gd name="connsiteX3" fmla="*/ 0 w 217714"/>
                              <a:gd name="connsiteY3" fmla="*/ 64515 h 6451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</a:cxnLst>
                            <a:rect l="l" t="t" r="r" b="b"/>
                            <a:pathLst>
                              <a:path w="217714" h="64515">
                                <a:moveTo>
                                  <a:pt x="217714" y="0"/>
                                </a:moveTo>
                                <a:cubicBezTo>
                                  <a:pt x="217714" y="0"/>
                                  <a:pt x="163337" y="13620"/>
                                  <a:pt x="125857" y="20379"/>
                                </a:cubicBezTo>
                                <a:cubicBezTo>
                                  <a:pt x="88479" y="27137"/>
                                  <a:pt x="47619" y="30517"/>
                                  <a:pt x="47619" y="30517"/>
                                </a:cubicBezTo>
                                <a:cubicBezTo>
                                  <a:pt x="47619" y="30517"/>
                                  <a:pt x="20379" y="64515"/>
                                  <a:pt x="0" y="64515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5" name="Полилиния: фигура 1494">
                            <a:extLst>
                              <a:ext uri="{FF2B5EF4-FFF2-40B4-BE49-F238E27FC236}">
                                <a16:creationId xmlns:a16="http://schemas.microsoft.com/office/drawing/2014/main" id="{04D01EC4-7978-4694-B7E6-ADEBF9EDEAC4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737935" y="3615736"/>
                            <a:ext cx="360468" cy="494005"/>
                          </a:xfrm>
                          <a:custGeom>
                            <a:avLst/>
                            <a:gdLst>
                              <a:gd name="connsiteX0" fmla="*/ 0 w 360468"/>
                              <a:gd name="connsiteY0" fmla="*/ 0 h 494005"/>
                              <a:gd name="connsiteX1" fmla="*/ 206245 w 360468"/>
                              <a:gd name="connsiteY1" fmla="*/ 138965 h 494005"/>
                              <a:gd name="connsiteX2" fmla="*/ 360468 w 360468"/>
                              <a:gd name="connsiteY2" fmla="*/ 494005 h 49400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360468" h="494005">
                                <a:moveTo>
                                  <a:pt x="0" y="0"/>
                                </a:moveTo>
                                <a:cubicBezTo>
                                  <a:pt x="0" y="0"/>
                                  <a:pt x="171939" y="104761"/>
                                  <a:pt x="206245" y="138965"/>
                                </a:cubicBezTo>
                                <a:cubicBezTo>
                                  <a:pt x="240551" y="173168"/>
                                  <a:pt x="360468" y="494005"/>
                                  <a:pt x="360468" y="494005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496" name="Полилиния: фигура 1495">
                            <a:extLst>
                              <a:ext uri="{FF2B5EF4-FFF2-40B4-BE49-F238E27FC236}">
                                <a16:creationId xmlns:a16="http://schemas.microsoft.com/office/drawing/2014/main" id="{2BFA6031-7261-48A9-9C39-83825E20713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901272" y="3844511"/>
                            <a:ext cx="38606" cy="278031"/>
                          </a:xfrm>
                          <a:custGeom>
                            <a:avLst/>
                            <a:gdLst>
                              <a:gd name="connsiteX0" fmla="*/ 0 w 38606"/>
                              <a:gd name="connsiteY0" fmla="*/ 0 h 278031"/>
                              <a:gd name="connsiteX1" fmla="*/ 38607 w 38606"/>
                              <a:gd name="connsiteY1" fmla="*/ 278031 h 27803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</a:cxnLst>
                            <a:rect l="l" t="t" r="r" b="b"/>
                            <a:pathLst>
                              <a:path w="38606" h="278031">
                                <a:moveTo>
                                  <a:pt x="0" y="0"/>
                                </a:moveTo>
                                <a:lnTo>
                                  <a:pt x="38607" y="278031"/>
                                </a:lnTo>
                              </a:path>
                            </a:pathLst>
                          </a:custGeom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grpSp>
                        <p:nvGrpSpPr>
                          <p:cNvPr id="1497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915916" y="3882503"/>
                            <a:ext cx="105887" cy="236761"/>
                            <a:chOff x="2915916" y="3882503"/>
                            <a:chExt cx="105887" cy="236761"/>
                          </a:xfrm>
                        </p:grpSpPr>
                        <p:sp>
                          <p:nvSpPr>
                            <p:cNvPr id="1498" name="Полилиния: фигура 1497">
                              <a:extLst>
                                <a:ext uri="{FF2B5EF4-FFF2-40B4-BE49-F238E27FC236}">
                                  <a16:creationId xmlns:a16="http://schemas.microsoft.com/office/drawing/2014/main" id="{BF1CB856-39F8-44C7-B17D-5F4567BA89B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915916" y="3882503"/>
                              <a:ext cx="105887" cy="236761"/>
                            </a:xfrm>
                            <a:custGeom>
                              <a:avLst/>
                              <a:gdLst>
                                <a:gd name="connsiteX0" fmla="*/ 23963 w 105887"/>
                                <a:gd name="connsiteY0" fmla="*/ 206552 h 236761"/>
                                <a:gd name="connsiteX1" fmla="*/ 0 w 105887"/>
                                <a:gd name="connsiteY1" fmla="*/ 0 h 236761"/>
                                <a:gd name="connsiteX2" fmla="*/ 105887 w 105887"/>
                                <a:gd name="connsiteY2" fmla="*/ 233383 h 236761"/>
                                <a:gd name="connsiteX3" fmla="*/ 28776 w 105887"/>
                                <a:gd name="connsiteY3" fmla="*/ 236762 h 236761"/>
                                <a:gd name="connsiteX4" fmla="*/ 23963 w 105887"/>
                                <a:gd name="connsiteY4" fmla="*/ 206552 h 23676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5887" h="236761">
                                  <a:moveTo>
                                    <a:pt x="23963" y="206552"/>
                                  </a:moveTo>
                                  <a:lnTo>
                                    <a:pt x="0" y="0"/>
                                  </a:lnTo>
                                  <a:lnTo>
                                    <a:pt x="105887" y="233383"/>
                                  </a:lnTo>
                                  <a:lnTo>
                                    <a:pt x="28776" y="236762"/>
                                  </a:lnTo>
                                  <a:lnTo>
                                    <a:pt x="23963" y="206552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2E3A9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499" name="Полилиния: фигура 1498">
                              <a:extLst>
                                <a:ext uri="{FF2B5EF4-FFF2-40B4-BE49-F238E27FC236}">
                                  <a16:creationId xmlns:a16="http://schemas.microsoft.com/office/drawing/2014/main" id="{192DFEC9-8213-4E84-A0C3-2D5B238AD20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915916" y="3882503"/>
                              <a:ext cx="105887" cy="236761"/>
                            </a:xfrm>
                            <a:custGeom>
                              <a:avLst/>
                              <a:gdLst>
                                <a:gd name="connsiteX0" fmla="*/ 23963 w 105887"/>
                                <a:gd name="connsiteY0" fmla="*/ 206552 h 236761"/>
                                <a:gd name="connsiteX1" fmla="*/ 0 w 105887"/>
                                <a:gd name="connsiteY1" fmla="*/ 0 h 236761"/>
                                <a:gd name="connsiteX2" fmla="*/ 105887 w 105887"/>
                                <a:gd name="connsiteY2" fmla="*/ 233383 h 236761"/>
                                <a:gd name="connsiteX3" fmla="*/ 28776 w 105887"/>
                                <a:gd name="connsiteY3" fmla="*/ 236762 h 236761"/>
                                <a:gd name="connsiteX4" fmla="*/ 23963 w 105887"/>
                                <a:gd name="connsiteY4" fmla="*/ 206552 h 23676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105887" h="236761">
                                  <a:moveTo>
                                    <a:pt x="23963" y="206552"/>
                                  </a:moveTo>
                                  <a:lnTo>
                                    <a:pt x="0" y="0"/>
                                  </a:lnTo>
                                  <a:lnTo>
                                    <a:pt x="105887" y="233383"/>
                                  </a:lnTo>
                                  <a:lnTo>
                                    <a:pt x="28776" y="236762"/>
                                  </a:lnTo>
                                  <a:lnTo>
                                    <a:pt x="23963" y="206552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FFFFF">
                                <a:alpha val="70000"/>
                              </a:srgbClr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500" name="Полилиния: фигура 1499">
                            <a:extLst>
                              <a:ext uri="{FF2B5EF4-FFF2-40B4-BE49-F238E27FC236}">
                                <a16:creationId xmlns:a16="http://schemas.microsoft.com/office/drawing/2014/main" id="{5C9E595E-0B57-4C5E-93F9-99AB914BB00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218431" y="3987366"/>
                            <a:ext cx="66666" cy="109164"/>
                          </a:xfrm>
                          <a:custGeom>
                            <a:avLst/>
                            <a:gdLst>
                              <a:gd name="connsiteX0" fmla="*/ 66666 w 66666"/>
                              <a:gd name="connsiteY0" fmla="*/ 0 h 109164"/>
                              <a:gd name="connsiteX1" fmla="*/ 0 w 66666"/>
                              <a:gd name="connsiteY1" fmla="*/ 109165 h 109164"/>
                              <a:gd name="connsiteX2" fmla="*/ 56528 w 66666"/>
                              <a:gd name="connsiteY2" fmla="*/ 64618 h 10916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66666" h="109164">
                                <a:moveTo>
                                  <a:pt x="66666" y="0"/>
                                </a:moveTo>
                                <a:lnTo>
                                  <a:pt x="0" y="109165"/>
                                </a:lnTo>
                                <a:lnTo>
                                  <a:pt x="56528" y="64618"/>
                                </a:ln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sp>
                        <p:nvSpPr>
                          <p:cNvPr id="1501" name="Полилиния: фигура 1500">
                            <a:extLst>
                              <a:ext uri="{FF2B5EF4-FFF2-40B4-BE49-F238E27FC236}">
                                <a16:creationId xmlns:a16="http://schemas.microsoft.com/office/drawing/2014/main" id="{91122172-D445-4E1A-BFB5-7140ABCD2D13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199998" y="4184190"/>
                            <a:ext cx="13824" cy="294826"/>
                          </a:xfrm>
                          <a:custGeom>
                            <a:avLst/>
                            <a:gdLst>
                              <a:gd name="connsiteX0" fmla="*/ 0 w 13824"/>
                              <a:gd name="connsiteY0" fmla="*/ 0 h 294826"/>
                              <a:gd name="connsiteX1" fmla="*/ 13825 w 13824"/>
                              <a:gd name="connsiteY1" fmla="*/ 230720 h 294826"/>
                              <a:gd name="connsiteX2" fmla="*/ 9831 w 13824"/>
                              <a:gd name="connsiteY2" fmla="*/ 294826 h 29482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</a:cxnLst>
                            <a:rect l="l" t="t" r="r" b="b"/>
                            <a:pathLst>
                              <a:path w="13824" h="294826">
                                <a:moveTo>
                                  <a:pt x="0" y="0"/>
                                </a:moveTo>
                                <a:cubicBezTo>
                                  <a:pt x="0" y="0"/>
                                  <a:pt x="13825" y="202968"/>
                                  <a:pt x="13825" y="230720"/>
                                </a:cubicBezTo>
                                <a:cubicBezTo>
                                  <a:pt x="13825" y="258472"/>
                                  <a:pt x="9831" y="294826"/>
                                  <a:pt x="9831" y="294826"/>
                                </a:cubicBez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</p:grpSp>
                  <p:grpSp>
                    <p:nvGrpSpPr>
                      <p:cNvPr id="1502" name="Рисунок 1282">
                        <a:extLst>
                          <a:ext uri="{FF2B5EF4-FFF2-40B4-BE49-F238E27FC236}">
                            <a16:creationId xmlns:a16="http://schemas.microsoft.com/office/drawing/2014/main" id="{1C513778-6A5B-40D9-9E8A-2FA6961B248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2307466" y="2828210"/>
                        <a:ext cx="474810" cy="657647"/>
                        <a:chOff x="2307466" y="2828210"/>
                        <a:chExt cx="474810" cy="657647"/>
                      </a:xfrm>
                    </p:grpSpPr>
                    <p:sp>
                      <p:nvSpPr>
                        <p:cNvPr id="1503" name="Полилиния: фигура 1502">
                          <a:extLst>
                            <a:ext uri="{FF2B5EF4-FFF2-40B4-BE49-F238E27FC236}">
                              <a16:creationId xmlns:a16="http://schemas.microsoft.com/office/drawing/2014/main" id="{D3C2F3C5-9845-44A4-98AB-ED31840F3C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341318" y="3165868"/>
                          <a:ext cx="307" cy="307"/>
                        </a:xfrm>
                        <a:custGeom>
                          <a:avLst/>
                          <a:gdLst>
                            <a:gd name="connsiteX0" fmla="*/ 307 w 307"/>
                            <a:gd name="connsiteY0" fmla="*/ 307 h 307"/>
                            <a:gd name="connsiteX1" fmla="*/ 0 w 307"/>
                            <a:gd name="connsiteY1" fmla="*/ 0 h 307"/>
                            <a:gd name="connsiteX2" fmla="*/ 307 w 307"/>
                            <a:gd name="connsiteY2" fmla="*/ 307 h 30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</a:cxnLst>
                          <a:rect l="l" t="t" r="r" b="b"/>
                          <a:pathLst>
                            <a:path w="307" h="307">
                              <a:moveTo>
                                <a:pt x="307" y="307"/>
                              </a:moveTo>
                              <a:cubicBezTo>
                                <a:pt x="307" y="307"/>
                                <a:pt x="205" y="205"/>
                                <a:pt x="0" y="0"/>
                              </a:cubicBezTo>
                              <a:lnTo>
                                <a:pt x="307" y="30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263238"/>
                        </a:solidFill>
                        <a:ln w="10228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ru-RU"/>
                        </a:p>
                      </p:txBody>
                    </p:sp>
                    <p:grpSp>
                      <p:nvGrpSpPr>
                        <p:cNvPr id="1504" name="Рисунок 1282">
                          <a:extLst>
                            <a:ext uri="{FF2B5EF4-FFF2-40B4-BE49-F238E27FC236}">
                              <a16:creationId xmlns:a16="http://schemas.microsoft.com/office/drawing/2014/main" id="{1C513778-6A5B-40D9-9E8A-2FA6961B248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2307466" y="2828210"/>
                          <a:ext cx="474810" cy="657647"/>
                          <a:chOff x="2307466" y="2828210"/>
                          <a:chExt cx="474810" cy="657647"/>
                        </a:xfrm>
                      </p:grpSpPr>
                      <p:grpSp>
                        <p:nvGrpSpPr>
                          <p:cNvPr id="1505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307466" y="2828210"/>
                            <a:ext cx="451803" cy="657647"/>
                            <a:chOff x="2307466" y="2828210"/>
                            <a:chExt cx="451803" cy="657647"/>
                          </a:xfrm>
                        </p:grpSpPr>
                        <p:sp>
                          <p:nvSpPr>
                            <p:cNvPr id="1506" name="Полилиния: фигура 1505">
                              <a:extLst>
                                <a:ext uri="{FF2B5EF4-FFF2-40B4-BE49-F238E27FC236}">
                                  <a16:creationId xmlns:a16="http://schemas.microsoft.com/office/drawing/2014/main" id="{162F9755-748F-48C0-B2A3-514CBE019A2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07466" y="2828210"/>
                              <a:ext cx="451803" cy="657647"/>
                            </a:xfrm>
                            <a:custGeom>
                              <a:avLst/>
                              <a:gdLst>
                                <a:gd name="connsiteX0" fmla="*/ 122535 w 451803"/>
                                <a:gd name="connsiteY0" fmla="*/ 29007 h 657647"/>
                                <a:gd name="connsiteX1" fmla="*/ 17159 w 451803"/>
                                <a:gd name="connsiteY1" fmla="*/ 171556 h 657647"/>
                                <a:gd name="connsiteX2" fmla="*/ 34159 w 451803"/>
                                <a:gd name="connsiteY2" fmla="*/ 337863 h 657647"/>
                                <a:gd name="connsiteX3" fmla="*/ 160 w 451803"/>
                                <a:gd name="connsiteY3" fmla="*/ 371861 h 657647"/>
                                <a:gd name="connsiteX4" fmla="*/ 68158 w 451803"/>
                                <a:gd name="connsiteY4" fmla="*/ 480514 h 657647"/>
                                <a:gd name="connsiteX5" fmla="*/ 88536 w 451803"/>
                                <a:gd name="connsiteY5" fmla="*/ 480514 h 657647"/>
                                <a:gd name="connsiteX6" fmla="*/ 188279 w 451803"/>
                                <a:gd name="connsiteY6" fmla="*/ 617737 h 657647"/>
                                <a:gd name="connsiteX7" fmla="*/ 333388 w 451803"/>
                                <a:gd name="connsiteY7" fmla="*/ 650200 h 657647"/>
                                <a:gd name="connsiteX8" fmla="*/ 449004 w 451803"/>
                                <a:gd name="connsiteY8" fmla="*/ 494031 h 657647"/>
                                <a:gd name="connsiteX9" fmla="*/ 442246 w 451803"/>
                                <a:gd name="connsiteY9" fmla="*/ 191934 h 657647"/>
                                <a:gd name="connsiteX10" fmla="*/ 326629 w 451803"/>
                                <a:gd name="connsiteY10" fmla="*/ 15387 h 657647"/>
                                <a:gd name="connsiteX11" fmla="*/ 122535 w 451803"/>
                                <a:gd name="connsiteY11" fmla="*/ 29007 h 6576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</a:cxnLst>
                              <a:rect l="l" t="t" r="r" b="b"/>
                              <a:pathLst>
                                <a:path w="451803" h="657647">
                                  <a:moveTo>
                                    <a:pt x="122535" y="29007"/>
                                  </a:moveTo>
                                  <a:cubicBezTo>
                                    <a:pt x="122535" y="29007"/>
                                    <a:pt x="23918" y="86764"/>
                                    <a:pt x="17159" y="171556"/>
                                  </a:cubicBezTo>
                                  <a:cubicBezTo>
                                    <a:pt x="10401" y="256348"/>
                                    <a:pt x="34159" y="337863"/>
                                    <a:pt x="34159" y="337863"/>
                                  </a:cubicBezTo>
                                  <a:cubicBezTo>
                                    <a:pt x="34159" y="337863"/>
                                    <a:pt x="3539" y="310725"/>
                                    <a:pt x="160" y="371861"/>
                                  </a:cubicBezTo>
                                  <a:cubicBezTo>
                                    <a:pt x="-3219" y="432997"/>
                                    <a:pt x="47779" y="480514"/>
                                    <a:pt x="68158" y="480514"/>
                                  </a:cubicBezTo>
                                  <a:lnTo>
                                    <a:pt x="88536" y="480514"/>
                                  </a:lnTo>
                                  <a:cubicBezTo>
                                    <a:pt x="88536" y="480514"/>
                                    <a:pt x="133902" y="573600"/>
                                    <a:pt x="188279" y="617737"/>
                                  </a:cubicBezTo>
                                  <a:cubicBezTo>
                                    <a:pt x="242657" y="661874"/>
                                    <a:pt x="295908" y="663820"/>
                                    <a:pt x="333388" y="650200"/>
                                  </a:cubicBezTo>
                                  <a:cubicBezTo>
                                    <a:pt x="370766" y="636580"/>
                                    <a:pt x="442246" y="575546"/>
                                    <a:pt x="449004" y="494031"/>
                                  </a:cubicBezTo>
                                  <a:cubicBezTo>
                                    <a:pt x="455763" y="412516"/>
                                    <a:pt x="449004" y="276726"/>
                                    <a:pt x="442246" y="191934"/>
                                  </a:cubicBezTo>
                                  <a:cubicBezTo>
                                    <a:pt x="435487" y="107040"/>
                                    <a:pt x="418487" y="46006"/>
                                    <a:pt x="326629" y="15387"/>
                                  </a:cubicBezTo>
                                  <a:cubicBezTo>
                                    <a:pt x="234772" y="-15130"/>
                                    <a:pt x="170154" y="5249"/>
                                    <a:pt x="122535" y="2900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FFFFFF"/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507" name="Полилиния: фигура 1506">
                              <a:extLst>
                                <a:ext uri="{FF2B5EF4-FFF2-40B4-BE49-F238E27FC236}">
                                  <a16:creationId xmlns:a16="http://schemas.microsoft.com/office/drawing/2014/main" id="{DDA1CDC8-89DC-45FE-90E6-D90568BC5F1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07466" y="2959111"/>
                              <a:ext cx="236717" cy="515919"/>
                            </a:xfrm>
                            <a:custGeom>
                              <a:avLst/>
                              <a:gdLst>
                                <a:gd name="connsiteX0" fmla="*/ 34159 w 236717"/>
                                <a:gd name="connsiteY0" fmla="*/ 207064 h 515919"/>
                                <a:gd name="connsiteX1" fmla="*/ 160 w 236717"/>
                                <a:gd name="connsiteY1" fmla="*/ 241063 h 515919"/>
                                <a:gd name="connsiteX2" fmla="*/ 68158 w 236717"/>
                                <a:gd name="connsiteY2" fmla="*/ 349716 h 515919"/>
                                <a:gd name="connsiteX3" fmla="*/ 88536 w 236717"/>
                                <a:gd name="connsiteY3" fmla="*/ 349716 h 515919"/>
                                <a:gd name="connsiteX4" fmla="*/ 188279 w 236717"/>
                                <a:gd name="connsiteY4" fmla="*/ 486939 h 515919"/>
                                <a:gd name="connsiteX5" fmla="*/ 211833 w 236717"/>
                                <a:gd name="connsiteY5" fmla="*/ 503426 h 515919"/>
                                <a:gd name="connsiteX6" fmla="*/ 236717 w 236717"/>
                                <a:gd name="connsiteY6" fmla="*/ 515920 h 515919"/>
                                <a:gd name="connsiteX7" fmla="*/ 159811 w 236717"/>
                                <a:gd name="connsiteY7" fmla="*/ 394774 h 515919"/>
                                <a:gd name="connsiteX8" fmla="*/ 135131 w 236717"/>
                                <a:gd name="connsiteY8" fmla="*/ 120224 h 515919"/>
                                <a:gd name="connsiteX9" fmla="*/ 184593 w 236717"/>
                                <a:gd name="connsiteY9" fmla="*/ 3072 h 515919"/>
                                <a:gd name="connsiteX10" fmla="*/ 122842 w 236717"/>
                                <a:gd name="connsiteY10" fmla="*/ 0 h 515919"/>
                                <a:gd name="connsiteX11" fmla="*/ 17774 w 236717"/>
                                <a:gd name="connsiteY11" fmla="*/ 111520 h 515919"/>
                                <a:gd name="connsiteX12" fmla="*/ 34261 w 236717"/>
                                <a:gd name="connsiteY12" fmla="*/ 207064 h 51591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</a:cxnLst>
                              <a:rect l="l" t="t" r="r" b="b"/>
                              <a:pathLst>
                                <a:path w="236717" h="515919">
                                  <a:moveTo>
                                    <a:pt x="34159" y="207064"/>
                                  </a:moveTo>
                                  <a:cubicBezTo>
                                    <a:pt x="34159" y="207064"/>
                                    <a:pt x="3539" y="179927"/>
                                    <a:pt x="160" y="241063"/>
                                  </a:cubicBezTo>
                                  <a:cubicBezTo>
                                    <a:pt x="-3219" y="302199"/>
                                    <a:pt x="47779" y="349716"/>
                                    <a:pt x="68158" y="349716"/>
                                  </a:cubicBezTo>
                                  <a:lnTo>
                                    <a:pt x="88536" y="349716"/>
                                  </a:lnTo>
                                  <a:cubicBezTo>
                                    <a:pt x="88536" y="349716"/>
                                    <a:pt x="133902" y="442802"/>
                                    <a:pt x="188279" y="486939"/>
                                  </a:cubicBezTo>
                                  <a:cubicBezTo>
                                    <a:pt x="196677" y="492879"/>
                                    <a:pt x="204562" y="498409"/>
                                    <a:pt x="211833" y="503426"/>
                                  </a:cubicBezTo>
                                  <a:cubicBezTo>
                                    <a:pt x="220230" y="508444"/>
                                    <a:pt x="228525" y="512643"/>
                                    <a:pt x="236717" y="515920"/>
                                  </a:cubicBezTo>
                                  <a:cubicBezTo>
                                    <a:pt x="218387" y="493391"/>
                                    <a:pt x="178448" y="441471"/>
                                    <a:pt x="159811" y="394774"/>
                                  </a:cubicBezTo>
                                  <a:cubicBezTo>
                                    <a:pt x="135131" y="333126"/>
                                    <a:pt x="128884" y="203583"/>
                                    <a:pt x="135131" y="120224"/>
                                  </a:cubicBezTo>
                                  <a:cubicBezTo>
                                    <a:pt x="141275" y="36968"/>
                                    <a:pt x="184593" y="3072"/>
                                    <a:pt x="184593" y="3072"/>
                                  </a:cubicBezTo>
                                  <a:lnTo>
                                    <a:pt x="122842" y="0"/>
                                  </a:lnTo>
                                  <a:cubicBezTo>
                                    <a:pt x="113728" y="0"/>
                                    <a:pt x="66212" y="70865"/>
                                    <a:pt x="17774" y="111520"/>
                                  </a:cubicBezTo>
                                  <a:lnTo>
                                    <a:pt x="34261" y="20706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2E3A9">
                                <a:alpha val="30000"/>
                              </a:srgbClr>
                            </a:solidFill>
                            <a:ln w="10228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508" name="Полилиния: фигура 1507">
                              <a:extLst>
                                <a:ext uri="{FF2B5EF4-FFF2-40B4-BE49-F238E27FC236}">
                                  <a16:creationId xmlns:a16="http://schemas.microsoft.com/office/drawing/2014/main" id="{225FC5D4-715B-45A2-89F3-6EA3E6CD7B6C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07466" y="2828210"/>
                              <a:ext cx="451803" cy="657647"/>
                            </a:xfrm>
                            <a:custGeom>
                              <a:avLst/>
                              <a:gdLst>
                                <a:gd name="connsiteX0" fmla="*/ 122535 w 451803"/>
                                <a:gd name="connsiteY0" fmla="*/ 29007 h 657647"/>
                                <a:gd name="connsiteX1" fmla="*/ 17159 w 451803"/>
                                <a:gd name="connsiteY1" fmla="*/ 171556 h 657647"/>
                                <a:gd name="connsiteX2" fmla="*/ 34159 w 451803"/>
                                <a:gd name="connsiteY2" fmla="*/ 337863 h 657647"/>
                                <a:gd name="connsiteX3" fmla="*/ 160 w 451803"/>
                                <a:gd name="connsiteY3" fmla="*/ 371861 h 657647"/>
                                <a:gd name="connsiteX4" fmla="*/ 68158 w 451803"/>
                                <a:gd name="connsiteY4" fmla="*/ 480514 h 657647"/>
                                <a:gd name="connsiteX5" fmla="*/ 88536 w 451803"/>
                                <a:gd name="connsiteY5" fmla="*/ 480514 h 657647"/>
                                <a:gd name="connsiteX6" fmla="*/ 188279 w 451803"/>
                                <a:gd name="connsiteY6" fmla="*/ 617737 h 657647"/>
                                <a:gd name="connsiteX7" fmla="*/ 333388 w 451803"/>
                                <a:gd name="connsiteY7" fmla="*/ 650200 h 657647"/>
                                <a:gd name="connsiteX8" fmla="*/ 449004 w 451803"/>
                                <a:gd name="connsiteY8" fmla="*/ 494031 h 657647"/>
                                <a:gd name="connsiteX9" fmla="*/ 442246 w 451803"/>
                                <a:gd name="connsiteY9" fmla="*/ 191934 h 657647"/>
                                <a:gd name="connsiteX10" fmla="*/ 326629 w 451803"/>
                                <a:gd name="connsiteY10" fmla="*/ 15387 h 657647"/>
                                <a:gd name="connsiteX11" fmla="*/ 122535 w 451803"/>
                                <a:gd name="connsiteY11" fmla="*/ 29007 h 6576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</a:cxnLst>
                              <a:rect l="l" t="t" r="r" b="b"/>
                              <a:pathLst>
                                <a:path w="451803" h="657647">
                                  <a:moveTo>
                                    <a:pt x="122535" y="29007"/>
                                  </a:moveTo>
                                  <a:cubicBezTo>
                                    <a:pt x="122535" y="29007"/>
                                    <a:pt x="23918" y="86764"/>
                                    <a:pt x="17159" y="171556"/>
                                  </a:cubicBezTo>
                                  <a:cubicBezTo>
                                    <a:pt x="10401" y="256348"/>
                                    <a:pt x="34159" y="337863"/>
                                    <a:pt x="34159" y="337863"/>
                                  </a:cubicBezTo>
                                  <a:cubicBezTo>
                                    <a:pt x="34159" y="337863"/>
                                    <a:pt x="3539" y="310725"/>
                                    <a:pt x="160" y="371861"/>
                                  </a:cubicBezTo>
                                  <a:cubicBezTo>
                                    <a:pt x="-3219" y="432997"/>
                                    <a:pt x="47779" y="480514"/>
                                    <a:pt x="68158" y="480514"/>
                                  </a:cubicBezTo>
                                  <a:lnTo>
                                    <a:pt x="88536" y="480514"/>
                                  </a:lnTo>
                                  <a:cubicBezTo>
                                    <a:pt x="88536" y="480514"/>
                                    <a:pt x="133902" y="573600"/>
                                    <a:pt x="188279" y="617737"/>
                                  </a:cubicBezTo>
                                  <a:cubicBezTo>
                                    <a:pt x="242657" y="661874"/>
                                    <a:pt x="295908" y="663820"/>
                                    <a:pt x="333388" y="650200"/>
                                  </a:cubicBezTo>
                                  <a:cubicBezTo>
                                    <a:pt x="370766" y="636580"/>
                                    <a:pt x="442246" y="575546"/>
                                    <a:pt x="449004" y="494031"/>
                                  </a:cubicBezTo>
                                  <a:cubicBezTo>
                                    <a:pt x="455763" y="412516"/>
                                    <a:pt x="449004" y="276726"/>
                                    <a:pt x="442246" y="191934"/>
                                  </a:cubicBezTo>
                                  <a:cubicBezTo>
                                    <a:pt x="435487" y="107040"/>
                                    <a:pt x="418487" y="46006"/>
                                    <a:pt x="326629" y="15387"/>
                                  </a:cubicBezTo>
                                  <a:cubicBezTo>
                                    <a:pt x="234772" y="-15130"/>
                                    <a:pt x="170154" y="5249"/>
                                    <a:pt x="122535" y="29007"/>
                                  </a:cubicBezTo>
                                  <a:close/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509" name="Полилиния: фигура 1508">
                            <a:extLst>
                              <a:ext uri="{FF2B5EF4-FFF2-40B4-BE49-F238E27FC236}">
                                <a16:creationId xmlns:a16="http://schemas.microsoft.com/office/drawing/2014/main" id="{8AD97E05-045A-4732-832D-21F34856317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587501" y="3139781"/>
                            <a:ext cx="77111" cy="174165"/>
                          </a:xfrm>
                          <a:custGeom>
                            <a:avLst/>
                            <a:gdLst>
                              <a:gd name="connsiteX0" fmla="*/ 0 w 77111"/>
                              <a:gd name="connsiteY0" fmla="*/ 29159 h 174165"/>
                              <a:gd name="connsiteX1" fmla="*/ 56835 w 77111"/>
                              <a:gd name="connsiteY1" fmla="*/ 8883 h 174165"/>
                              <a:gd name="connsiteX2" fmla="*/ 77112 w 77111"/>
                              <a:gd name="connsiteY2" fmla="*/ 105451 h 174165"/>
                              <a:gd name="connsiteX3" fmla="*/ 35740 w 77111"/>
                              <a:gd name="connsiteY3" fmla="*/ 113849 h 174165"/>
                              <a:gd name="connsiteX4" fmla="*/ 39631 w 77111"/>
                              <a:gd name="connsiteY4" fmla="*/ 174166 h 17416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77111" h="174165">
                                <a:moveTo>
                                  <a:pt x="0" y="29159"/>
                                </a:moveTo>
                                <a:cubicBezTo>
                                  <a:pt x="0" y="29159"/>
                                  <a:pt x="28366" y="-19484"/>
                                  <a:pt x="56835" y="8883"/>
                                </a:cubicBezTo>
                                <a:lnTo>
                                  <a:pt x="77112" y="105451"/>
                                </a:lnTo>
                                <a:lnTo>
                                  <a:pt x="35740" y="113849"/>
                                </a:lnTo>
                                <a:lnTo>
                                  <a:pt x="39631" y="174166"/>
                                </a:lnTo>
                              </a:path>
                            </a:pathLst>
                          </a:custGeom>
                          <a:noFill/>
                          <a:ln w="9921" cap="rnd">
                            <a:solidFill>
                              <a:srgbClr val="263238"/>
                            </a:solidFill>
                            <a:prstDash val="solid"/>
                            <a:round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  <p:grpSp>
                        <p:nvGrpSpPr>
                          <p:cNvPr id="1510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344083" y="3096027"/>
                            <a:ext cx="438193" cy="133639"/>
                            <a:chOff x="2344083" y="3096027"/>
                            <a:chExt cx="438193" cy="133639"/>
                          </a:xfrm>
                        </p:grpSpPr>
                        <p:grpSp>
                          <p:nvGrpSpPr>
                            <p:cNvPr id="1511" name="Рисунок 1282">
                              <a:extLst>
                                <a:ext uri="{FF2B5EF4-FFF2-40B4-BE49-F238E27FC236}">
                                  <a16:creationId xmlns:a16="http://schemas.microsoft.com/office/drawing/2014/main" id="{1C513778-6A5B-40D9-9E8A-2FA6961B248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2465843" y="3108214"/>
                              <a:ext cx="121657" cy="121453"/>
                              <a:chOff x="2465843" y="3108214"/>
                              <a:chExt cx="121657" cy="121453"/>
                            </a:xfrm>
                          </p:grpSpPr>
                          <p:sp>
                            <p:nvSpPr>
                              <p:cNvPr id="1512" name="Полилиния: фигура 1511">
                                <a:extLst>
                                  <a:ext uri="{FF2B5EF4-FFF2-40B4-BE49-F238E27FC236}">
                                    <a16:creationId xmlns:a16="http://schemas.microsoft.com/office/drawing/2014/main" id="{F7015917-B070-45AF-A6A1-9F4D0238345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465843" y="3108214"/>
                                <a:ext cx="121657" cy="121453"/>
                              </a:xfrm>
                              <a:custGeom>
                                <a:avLst/>
                                <a:gdLst>
                                  <a:gd name="connsiteX0" fmla="*/ 121658 w 121657"/>
                                  <a:gd name="connsiteY0" fmla="*/ 60727 h 121453"/>
                                  <a:gd name="connsiteX1" fmla="*/ 60829 w 121657"/>
                                  <a:gd name="connsiteY1" fmla="*/ 0 h 121453"/>
                                  <a:gd name="connsiteX2" fmla="*/ 0 w 121657"/>
                                  <a:gd name="connsiteY2" fmla="*/ 60727 h 121453"/>
                                  <a:gd name="connsiteX3" fmla="*/ 60829 w 121657"/>
                                  <a:gd name="connsiteY3" fmla="*/ 121453 h 121453"/>
                                  <a:gd name="connsiteX4" fmla="*/ 121658 w 121657"/>
                                  <a:gd name="connsiteY4" fmla="*/ 60727 h 121453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</a:cxnLst>
                                <a:rect l="l" t="t" r="r" b="b"/>
                                <a:pathLst>
                                  <a:path w="121657" h="121453">
                                    <a:moveTo>
                                      <a:pt x="121658" y="60727"/>
                                    </a:moveTo>
                                    <a:cubicBezTo>
                                      <a:pt x="121658" y="27138"/>
                                      <a:pt x="94418" y="0"/>
                                      <a:pt x="60829" y="0"/>
                                    </a:cubicBezTo>
                                    <a:cubicBezTo>
                                      <a:pt x="27240" y="0"/>
                                      <a:pt x="0" y="27240"/>
                                      <a:pt x="0" y="60727"/>
                                    </a:cubicBezTo>
                                    <a:cubicBezTo>
                                      <a:pt x="0" y="94213"/>
                                      <a:pt x="27240" y="121453"/>
                                      <a:pt x="60829" y="121453"/>
                                    </a:cubicBezTo>
                                    <a:cubicBezTo>
                                      <a:pt x="94418" y="121453"/>
                                      <a:pt x="121658" y="94213"/>
                                      <a:pt x="121658" y="60727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92E3A9"/>
                              </a:solidFill>
                              <a:ln w="9921" cap="rnd">
                                <a:solidFill>
                                  <a:srgbClr val="263238"/>
                                </a:solidFill>
                                <a:prstDash val="solid"/>
                                <a:round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  <p:sp>
                            <p:nvSpPr>
                              <p:cNvPr id="1513" name="Полилиния: фигура 1512">
                                <a:extLst>
                                  <a:ext uri="{FF2B5EF4-FFF2-40B4-BE49-F238E27FC236}">
                                    <a16:creationId xmlns:a16="http://schemas.microsoft.com/office/drawing/2014/main" id="{B60FFE16-8708-4B84-9856-58694240B8C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465843" y="3108214"/>
                                <a:ext cx="121657" cy="121453"/>
                              </a:xfrm>
                              <a:custGeom>
                                <a:avLst/>
                                <a:gdLst>
                                  <a:gd name="connsiteX0" fmla="*/ 121658 w 121657"/>
                                  <a:gd name="connsiteY0" fmla="*/ 60727 h 121453"/>
                                  <a:gd name="connsiteX1" fmla="*/ 60829 w 121657"/>
                                  <a:gd name="connsiteY1" fmla="*/ 0 h 121453"/>
                                  <a:gd name="connsiteX2" fmla="*/ 0 w 121657"/>
                                  <a:gd name="connsiteY2" fmla="*/ 60727 h 121453"/>
                                  <a:gd name="connsiteX3" fmla="*/ 60829 w 121657"/>
                                  <a:gd name="connsiteY3" fmla="*/ 121453 h 121453"/>
                                  <a:gd name="connsiteX4" fmla="*/ 121658 w 121657"/>
                                  <a:gd name="connsiteY4" fmla="*/ 60727 h 121453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</a:cxnLst>
                                <a:rect l="l" t="t" r="r" b="b"/>
                                <a:pathLst>
                                  <a:path w="121657" h="121453">
                                    <a:moveTo>
                                      <a:pt x="121658" y="60727"/>
                                    </a:moveTo>
                                    <a:cubicBezTo>
                                      <a:pt x="121658" y="27138"/>
                                      <a:pt x="94418" y="0"/>
                                      <a:pt x="60829" y="0"/>
                                    </a:cubicBezTo>
                                    <a:cubicBezTo>
                                      <a:pt x="27240" y="0"/>
                                      <a:pt x="0" y="27240"/>
                                      <a:pt x="0" y="60727"/>
                                    </a:cubicBezTo>
                                    <a:cubicBezTo>
                                      <a:pt x="0" y="94213"/>
                                      <a:pt x="27240" y="121453"/>
                                      <a:pt x="60829" y="121453"/>
                                    </a:cubicBezTo>
                                    <a:cubicBezTo>
                                      <a:pt x="94418" y="121453"/>
                                      <a:pt x="121658" y="94213"/>
                                      <a:pt x="121658" y="60727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FFFFFF">
                                  <a:alpha val="40000"/>
                                </a:srgbClr>
                              </a:solidFill>
                              <a:ln w="11967" cap="flat">
                                <a:solidFill>
                                  <a:srgbClr val="263238">
                                    <a:alpha val="40000"/>
                                  </a:srgbClr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</p:grpSp>
                        <p:grpSp>
                          <p:nvGrpSpPr>
                            <p:cNvPr id="1514" name="Рисунок 1282">
                              <a:extLst>
                                <a:ext uri="{FF2B5EF4-FFF2-40B4-BE49-F238E27FC236}">
                                  <a16:creationId xmlns:a16="http://schemas.microsoft.com/office/drawing/2014/main" id="{1C513778-6A5B-40D9-9E8A-2FA6961B248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2660619" y="3096027"/>
                              <a:ext cx="121658" cy="121453"/>
                              <a:chOff x="2660619" y="3096027"/>
                              <a:chExt cx="121658" cy="121453"/>
                            </a:xfrm>
                          </p:grpSpPr>
                          <p:sp>
                            <p:nvSpPr>
                              <p:cNvPr id="1515" name="Полилиния: фигура 1514">
                                <a:extLst>
                                  <a:ext uri="{FF2B5EF4-FFF2-40B4-BE49-F238E27FC236}">
                                    <a16:creationId xmlns:a16="http://schemas.microsoft.com/office/drawing/2014/main" id="{BE9A4575-BE8D-4C82-861B-2076B0A87319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660619" y="3096027"/>
                                <a:ext cx="121658" cy="121453"/>
                              </a:xfrm>
                              <a:custGeom>
                                <a:avLst/>
                                <a:gdLst>
                                  <a:gd name="connsiteX0" fmla="*/ 121658 w 121658"/>
                                  <a:gd name="connsiteY0" fmla="*/ 60727 h 121453"/>
                                  <a:gd name="connsiteX1" fmla="*/ 60829 w 121658"/>
                                  <a:gd name="connsiteY1" fmla="*/ 0 h 121453"/>
                                  <a:gd name="connsiteX2" fmla="*/ 0 w 121658"/>
                                  <a:gd name="connsiteY2" fmla="*/ 60727 h 121453"/>
                                  <a:gd name="connsiteX3" fmla="*/ 60829 w 121658"/>
                                  <a:gd name="connsiteY3" fmla="*/ 121453 h 121453"/>
                                  <a:gd name="connsiteX4" fmla="*/ 121658 w 121658"/>
                                  <a:gd name="connsiteY4" fmla="*/ 60727 h 121453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</a:cxnLst>
                                <a:rect l="l" t="t" r="r" b="b"/>
                                <a:pathLst>
                                  <a:path w="121658" h="121453">
                                    <a:moveTo>
                                      <a:pt x="121658" y="60727"/>
                                    </a:moveTo>
                                    <a:cubicBezTo>
                                      <a:pt x="121658" y="27137"/>
                                      <a:pt x="94418" y="0"/>
                                      <a:pt x="60829" y="0"/>
                                    </a:cubicBezTo>
                                    <a:cubicBezTo>
                                      <a:pt x="27240" y="0"/>
                                      <a:pt x="0" y="27240"/>
                                      <a:pt x="0" y="60727"/>
                                    </a:cubicBezTo>
                                    <a:cubicBezTo>
                                      <a:pt x="0" y="94213"/>
                                      <a:pt x="27240" y="121453"/>
                                      <a:pt x="60829" y="121453"/>
                                    </a:cubicBezTo>
                                    <a:cubicBezTo>
                                      <a:pt x="94418" y="121453"/>
                                      <a:pt x="121658" y="94213"/>
                                      <a:pt x="121658" y="60727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92E3A9"/>
                              </a:solidFill>
                              <a:ln w="9921" cap="rnd">
                                <a:solidFill>
                                  <a:srgbClr val="263238"/>
                                </a:solidFill>
                                <a:prstDash val="solid"/>
                                <a:round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  <p:sp>
                            <p:nvSpPr>
                              <p:cNvPr id="1516" name="Полилиния: фигура 1515">
                                <a:extLst>
                                  <a:ext uri="{FF2B5EF4-FFF2-40B4-BE49-F238E27FC236}">
                                    <a16:creationId xmlns:a16="http://schemas.microsoft.com/office/drawing/2014/main" id="{7E4FFD98-3DE4-4088-9BC6-85C5C084B00F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2660619" y="3096027"/>
                                <a:ext cx="121658" cy="121453"/>
                              </a:xfrm>
                              <a:custGeom>
                                <a:avLst/>
                                <a:gdLst>
                                  <a:gd name="connsiteX0" fmla="*/ 121658 w 121658"/>
                                  <a:gd name="connsiteY0" fmla="*/ 60727 h 121453"/>
                                  <a:gd name="connsiteX1" fmla="*/ 60829 w 121658"/>
                                  <a:gd name="connsiteY1" fmla="*/ 0 h 121453"/>
                                  <a:gd name="connsiteX2" fmla="*/ 0 w 121658"/>
                                  <a:gd name="connsiteY2" fmla="*/ 60727 h 121453"/>
                                  <a:gd name="connsiteX3" fmla="*/ 60829 w 121658"/>
                                  <a:gd name="connsiteY3" fmla="*/ 121453 h 121453"/>
                                  <a:gd name="connsiteX4" fmla="*/ 121658 w 121658"/>
                                  <a:gd name="connsiteY4" fmla="*/ 60727 h 121453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</a:cxnLst>
                                <a:rect l="l" t="t" r="r" b="b"/>
                                <a:pathLst>
                                  <a:path w="121658" h="121453">
                                    <a:moveTo>
                                      <a:pt x="121658" y="60727"/>
                                    </a:moveTo>
                                    <a:cubicBezTo>
                                      <a:pt x="121658" y="27137"/>
                                      <a:pt x="94418" y="0"/>
                                      <a:pt x="60829" y="0"/>
                                    </a:cubicBezTo>
                                    <a:cubicBezTo>
                                      <a:pt x="27240" y="0"/>
                                      <a:pt x="0" y="27240"/>
                                      <a:pt x="0" y="60727"/>
                                    </a:cubicBezTo>
                                    <a:cubicBezTo>
                                      <a:pt x="0" y="94213"/>
                                      <a:pt x="27240" y="121453"/>
                                      <a:pt x="60829" y="121453"/>
                                    </a:cubicBezTo>
                                    <a:cubicBezTo>
                                      <a:pt x="94418" y="121453"/>
                                      <a:pt x="121658" y="94213"/>
                                      <a:pt x="121658" y="60727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rgbClr val="FFFFFF">
                                  <a:alpha val="40000"/>
                                </a:srgbClr>
                              </a:solidFill>
                              <a:ln w="11967" cap="flat">
                                <a:solidFill>
                                  <a:srgbClr val="263238">
                                    <a:alpha val="40000"/>
                                  </a:srgbClr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ru-RU"/>
                              </a:p>
                            </p:txBody>
                          </p:sp>
                        </p:grpSp>
                        <p:sp>
                          <p:nvSpPr>
                            <p:cNvPr id="1517" name="Полилиния: фигура 1516">
                              <a:extLst>
                                <a:ext uri="{FF2B5EF4-FFF2-40B4-BE49-F238E27FC236}">
                                  <a16:creationId xmlns:a16="http://schemas.microsoft.com/office/drawing/2014/main" id="{9A6D3C08-2B10-4F26-9D8C-D81CB0151BF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344083" y="3168940"/>
                              <a:ext cx="121657" cy="8090"/>
                            </a:xfrm>
                            <a:custGeom>
                              <a:avLst/>
                              <a:gdLst>
                                <a:gd name="connsiteX0" fmla="*/ 121658 w 121657"/>
                                <a:gd name="connsiteY0" fmla="*/ 0 h 8090"/>
                                <a:gd name="connsiteX1" fmla="*/ 0 w 121657"/>
                                <a:gd name="connsiteY1" fmla="*/ 8090 h 8090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121657" h="8090">
                                  <a:moveTo>
                                    <a:pt x="121658" y="0"/>
                                  </a:moveTo>
                                  <a:lnTo>
                                    <a:pt x="0" y="8090"/>
                                  </a:lnTo>
                                </a:path>
                              </a:pathLst>
                            </a:custGeom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grpSp>
                        <p:nvGrpSpPr>
                          <p:cNvPr id="1518" name="Рисунок 1282">
                            <a:extLst>
                              <a:ext uri="{FF2B5EF4-FFF2-40B4-BE49-F238E27FC236}">
                                <a16:creationId xmlns:a16="http://schemas.microsoft.com/office/drawing/2014/main" id="{1C513778-6A5B-40D9-9E8A-2FA6961B2484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477005" y="3055802"/>
                            <a:ext cx="251610" cy="31930"/>
                            <a:chOff x="2477005" y="3055802"/>
                            <a:chExt cx="251610" cy="31930"/>
                          </a:xfrm>
                          <a:noFill/>
                        </p:grpSpPr>
                        <p:sp>
                          <p:nvSpPr>
                            <p:cNvPr id="1519" name="Полилиния: фигура 1518">
                              <a:extLst>
                                <a:ext uri="{FF2B5EF4-FFF2-40B4-BE49-F238E27FC236}">
                                  <a16:creationId xmlns:a16="http://schemas.microsoft.com/office/drawing/2014/main" id="{AF357544-43CC-43C4-B1EC-39D8A56FB8F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477005" y="3065286"/>
                              <a:ext cx="60214" cy="22446"/>
                            </a:xfrm>
                            <a:custGeom>
                              <a:avLst/>
                              <a:gdLst>
                                <a:gd name="connsiteX0" fmla="*/ 0 w 60214"/>
                                <a:gd name="connsiteY0" fmla="*/ 22446 h 22446"/>
                                <a:gd name="connsiteX1" fmla="*/ 60215 w 60214"/>
                                <a:gd name="connsiteY1" fmla="*/ 941 h 22446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0214" h="22446">
                                  <a:moveTo>
                                    <a:pt x="0" y="22446"/>
                                  </a:moveTo>
                                  <a:cubicBezTo>
                                    <a:pt x="0" y="22446"/>
                                    <a:pt x="19355" y="-5408"/>
                                    <a:pt x="60215" y="941"/>
                                  </a:cubicBezTo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  <p:sp>
                          <p:nvSpPr>
                            <p:cNvPr id="1520" name="Полилиния: фигура 1519">
                              <a:extLst>
                                <a:ext uri="{FF2B5EF4-FFF2-40B4-BE49-F238E27FC236}">
                                  <a16:creationId xmlns:a16="http://schemas.microsoft.com/office/drawing/2014/main" id="{26E460A4-8815-47D2-B775-7D2E5DF17B04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2666251" y="3055802"/>
                              <a:ext cx="62365" cy="16876"/>
                            </a:xfrm>
                            <a:custGeom>
                              <a:avLst/>
                              <a:gdLst>
                                <a:gd name="connsiteX0" fmla="*/ 0 w 62365"/>
                                <a:gd name="connsiteY0" fmla="*/ 6124 h 16876"/>
                                <a:gd name="connsiteX1" fmla="*/ 62365 w 62365"/>
                                <a:gd name="connsiteY1" fmla="*/ 16876 h 16876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</a:cxnLst>
                              <a:rect l="l" t="t" r="r" b="b"/>
                              <a:pathLst>
                                <a:path w="62365" h="16876">
                                  <a:moveTo>
                                    <a:pt x="0" y="6124"/>
                                  </a:moveTo>
                                  <a:cubicBezTo>
                                    <a:pt x="0" y="6124"/>
                                    <a:pt x="34408" y="-13231"/>
                                    <a:pt x="62365" y="16876"/>
                                  </a:cubicBezTo>
                                </a:path>
                              </a:pathLst>
                            </a:custGeom>
                            <a:noFill/>
                            <a:ln w="9921" cap="rnd">
                              <a:solidFill>
                                <a:srgbClr val="263238"/>
                              </a:solidFill>
                              <a:prstDash val="solid"/>
                              <a:round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ru-RU"/>
                            </a:p>
                          </p:txBody>
                        </p:sp>
                      </p:grpSp>
                      <p:sp>
                        <p:nvSpPr>
                          <p:cNvPr id="1521" name="Полилиния: фигура 1520">
                            <a:extLst>
                              <a:ext uri="{FF2B5EF4-FFF2-40B4-BE49-F238E27FC236}">
                                <a16:creationId xmlns:a16="http://schemas.microsoft.com/office/drawing/2014/main" id="{E4839ADB-C70D-4D4B-94C3-99C6C9119E4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2323416" y="2828210"/>
                            <a:ext cx="426910" cy="347400"/>
                          </a:xfrm>
                          <a:custGeom>
                            <a:avLst/>
                            <a:gdLst>
                              <a:gd name="connsiteX0" fmla="*/ 426296 w 426910"/>
                              <a:gd name="connsiteY0" fmla="*/ 191934 h 347400"/>
                              <a:gd name="connsiteX1" fmla="*/ 310680 w 426910"/>
                              <a:gd name="connsiteY1" fmla="*/ 15387 h 347400"/>
                              <a:gd name="connsiteX2" fmla="*/ 106586 w 426910"/>
                              <a:gd name="connsiteY2" fmla="*/ 29007 h 347400"/>
                              <a:gd name="connsiteX3" fmla="*/ 1210 w 426910"/>
                              <a:gd name="connsiteY3" fmla="*/ 171556 h 347400"/>
                              <a:gd name="connsiteX4" fmla="*/ 18209 w 426910"/>
                              <a:gd name="connsiteY4" fmla="*/ 337863 h 347400"/>
                              <a:gd name="connsiteX5" fmla="*/ 52208 w 426910"/>
                              <a:gd name="connsiteY5" fmla="*/ 327724 h 347400"/>
                              <a:gd name="connsiteX6" fmla="*/ 133826 w 426910"/>
                              <a:gd name="connsiteY6" fmla="*/ 158038 h 347400"/>
                              <a:gd name="connsiteX7" fmla="*/ 412676 w 426910"/>
                              <a:gd name="connsiteY7" fmla="*/ 188555 h 347400"/>
                              <a:gd name="connsiteX8" fmla="*/ 426911 w 426910"/>
                              <a:gd name="connsiteY8" fmla="*/ 204428 h 347400"/>
                              <a:gd name="connsiteX9" fmla="*/ 426296 w 426910"/>
                              <a:gd name="connsiteY9" fmla="*/ 191934 h 347400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</a:cxnLst>
                            <a:rect l="l" t="t" r="r" b="b"/>
                            <a:pathLst>
                              <a:path w="426910" h="347400">
                                <a:moveTo>
                                  <a:pt x="426296" y="191934"/>
                                </a:moveTo>
                                <a:cubicBezTo>
                                  <a:pt x="419537" y="107040"/>
                                  <a:pt x="402538" y="46006"/>
                                  <a:pt x="310680" y="15387"/>
                                </a:cubicBezTo>
                                <a:cubicBezTo>
                                  <a:pt x="218822" y="-15130"/>
                                  <a:pt x="154204" y="5249"/>
                                  <a:pt x="106586" y="29007"/>
                                </a:cubicBezTo>
                                <a:cubicBezTo>
                                  <a:pt x="106586" y="29007"/>
                                  <a:pt x="7969" y="86764"/>
                                  <a:pt x="1210" y="171556"/>
                                </a:cubicBezTo>
                                <a:cubicBezTo>
                                  <a:pt x="-5549" y="256348"/>
                                  <a:pt x="18209" y="337863"/>
                                  <a:pt x="18209" y="337863"/>
                                </a:cubicBezTo>
                                <a:cubicBezTo>
                                  <a:pt x="18209" y="337863"/>
                                  <a:pt x="45449" y="365000"/>
                                  <a:pt x="52208" y="327724"/>
                                </a:cubicBezTo>
                                <a:cubicBezTo>
                                  <a:pt x="58967" y="290346"/>
                                  <a:pt x="38588" y="229312"/>
                                  <a:pt x="133826" y="158038"/>
                                </a:cubicBezTo>
                                <a:cubicBezTo>
                                  <a:pt x="229063" y="86764"/>
                                  <a:pt x="365058" y="120660"/>
                                  <a:pt x="412676" y="188555"/>
                                </a:cubicBezTo>
                                <a:cubicBezTo>
                                  <a:pt x="412676" y="188555"/>
                                  <a:pt x="419230" y="193163"/>
                                  <a:pt x="426911" y="204428"/>
                                </a:cubicBezTo>
                                <a:cubicBezTo>
                                  <a:pt x="426911" y="203199"/>
                                  <a:pt x="426399" y="193163"/>
                                  <a:pt x="426296" y="191934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263238"/>
                          </a:solidFill>
                          <a:ln w="10228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ru-RU"/>
                          </a:p>
                        </p:txBody>
                      </p:sp>
                    </p:grpSp>
                  </p:grpSp>
                </p:grpSp>
                <p:grpSp>
                  <p:nvGrpSpPr>
                    <p:cNvPr id="1522" name="Рисунок 1282">
                      <a:extLst>
                        <a:ext uri="{FF2B5EF4-FFF2-40B4-BE49-F238E27FC236}">
                          <a16:creationId xmlns:a16="http://schemas.microsoft.com/office/drawing/2014/main" id="{1C513778-6A5B-40D9-9E8A-2FA6961B24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1653" y="3186656"/>
                      <a:ext cx="1265230" cy="611102"/>
                      <a:chOff x="831653" y="3186656"/>
                      <a:chExt cx="1265230" cy="611102"/>
                    </a:xfrm>
                  </p:grpSpPr>
                  <p:sp>
                    <p:nvSpPr>
                      <p:cNvPr id="1523" name="Полилиния: фигура 1522">
                        <a:extLst>
                          <a:ext uri="{FF2B5EF4-FFF2-40B4-BE49-F238E27FC236}">
                            <a16:creationId xmlns:a16="http://schemas.microsoft.com/office/drawing/2014/main" id="{E6645A42-F8A5-464B-90E8-434564DCD4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1835" y="3394812"/>
                        <a:ext cx="191765" cy="137975"/>
                      </a:xfrm>
                      <a:custGeom>
                        <a:avLst/>
                        <a:gdLst>
                          <a:gd name="connsiteX0" fmla="*/ 191766 w 191765"/>
                          <a:gd name="connsiteY0" fmla="*/ 2186 h 137975"/>
                          <a:gd name="connsiteX1" fmla="*/ 48910 w 191765"/>
                          <a:gd name="connsiteY1" fmla="*/ 29323 h 137975"/>
                          <a:gd name="connsiteX2" fmla="*/ 1291 w 191765"/>
                          <a:gd name="connsiteY2" fmla="*/ 137976 h 13797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191765" h="137975">
                            <a:moveTo>
                              <a:pt x="191766" y="2186"/>
                            </a:moveTo>
                            <a:cubicBezTo>
                              <a:pt x="191766" y="2186"/>
                              <a:pt x="110148" y="-11434"/>
                              <a:pt x="48910" y="29323"/>
                            </a:cubicBezTo>
                            <a:cubicBezTo>
                              <a:pt x="-12329" y="70081"/>
                              <a:pt x="1291" y="137976"/>
                              <a:pt x="1291" y="137976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4" name="Полилиния: фигура 1523">
                        <a:extLst>
                          <a:ext uri="{FF2B5EF4-FFF2-40B4-BE49-F238E27FC236}">
                            <a16:creationId xmlns:a16="http://schemas.microsoft.com/office/drawing/2014/main" id="{1ECA151B-9697-4E4A-9E08-7949D1F770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5886" y="3403756"/>
                        <a:ext cx="40859" cy="88273"/>
                      </a:xfrm>
                      <a:custGeom>
                        <a:avLst/>
                        <a:gdLst>
                          <a:gd name="connsiteX0" fmla="*/ 40860 w 40859"/>
                          <a:gd name="connsiteY0" fmla="*/ 0 h 88273"/>
                          <a:gd name="connsiteX1" fmla="*/ 0 w 40859"/>
                          <a:gd name="connsiteY1" fmla="*/ 88274 h 8827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40859" h="88273">
                            <a:moveTo>
                              <a:pt x="40860" y="0"/>
                            </a:moveTo>
                            <a:cubicBezTo>
                              <a:pt x="40860" y="0"/>
                              <a:pt x="0" y="47516"/>
                              <a:pt x="0" y="88274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5" name="Полилиния: фигура 1524">
                        <a:extLst>
                          <a:ext uri="{FF2B5EF4-FFF2-40B4-BE49-F238E27FC236}">
                            <a16:creationId xmlns:a16="http://schemas.microsoft.com/office/drawing/2014/main" id="{03CF7A7F-D260-4870-BB41-D2980FBFB7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1653" y="3186656"/>
                        <a:ext cx="799174" cy="611102"/>
                      </a:xfrm>
                      <a:custGeom>
                        <a:avLst/>
                        <a:gdLst>
                          <a:gd name="connsiteX0" fmla="*/ 0 w 799174"/>
                          <a:gd name="connsiteY0" fmla="*/ 23656 h 611102"/>
                          <a:gd name="connsiteX1" fmla="*/ 78238 w 799174"/>
                          <a:gd name="connsiteY1" fmla="*/ 346131 h 611102"/>
                          <a:gd name="connsiteX2" fmla="*/ 302711 w 799174"/>
                          <a:gd name="connsiteY2" fmla="*/ 526058 h 611102"/>
                          <a:gd name="connsiteX3" fmla="*/ 778795 w 799174"/>
                          <a:gd name="connsiteY3" fmla="*/ 610952 h 611102"/>
                          <a:gd name="connsiteX4" fmla="*/ 731177 w 799174"/>
                          <a:gd name="connsiteY4" fmla="*/ 448025 h 611102"/>
                          <a:gd name="connsiteX5" fmla="*/ 799174 w 799174"/>
                          <a:gd name="connsiteY5" fmla="*/ 359751 h 611102"/>
                          <a:gd name="connsiteX6" fmla="*/ 567942 w 799174"/>
                          <a:gd name="connsiteY6" fmla="*/ 261339 h 611102"/>
                          <a:gd name="connsiteX7" fmla="*/ 431947 w 799174"/>
                          <a:gd name="connsiteY7" fmla="*/ 210444 h 611102"/>
                          <a:gd name="connsiteX8" fmla="*/ 295953 w 799174"/>
                          <a:gd name="connsiteY8" fmla="*/ 88274 h 611102"/>
                          <a:gd name="connsiteX9" fmla="*/ 170096 w 799174"/>
                          <a:gd name="connsiteY9" fmla="*/ 0 h 61110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799174" h="611102">
                            <a:moveTo>
                              <a:pt x="0" y="23656"/>
                            </a:moveTo>
                            <a:cubicBezTo>
                              <a:pt x="0" y="23656"/>
                              <a:pt x="40860" y="271477"/>
                              <a:pt x="78238" y="346131"/>
                            </a:cubicBezTo>
                            <a:cubicBezTo>
                              <a:pt x="115616" y="420785"/>
                              <a:pt x="221094" y="492059"/>
                              <a:pt x="302711" y="526058"/>
                            </a:cubicBezTo>
                            <a:cubicBezTo>
                              <a:pt x="384329" y="560057"/>
                              <a:pt x="765175" y="614332"/>
                              <a:pt x="778795" y="610952"/>
                            </a:cubicBezTo>
                            <a:cubicBezTo>
                              <a:pt x="792415" y="607573"/>
                              <a:pt x="714177" y="536299"/>
                              <a:pt x="731177" y="448025"/>
                            </a:cubicBezTo>
                            <a:cubicBezTo>
                              <a:pt x="739574" y="404195"/>
                              <a:pt x="799174" y="359751"/>
                              <a:pt x="799174" y="359751"/>
                            </a:cubicBezTo>
                            <a:cubicBezTo>
                              <a:pt x="799174" y="359751"/>
                              <a:pt x="632560" y="288477"/>
                              <a:pt x="567942" y="261339"/>
                            </a:cubicBezTo>
                            <a:cubicBezTo>
                              <a:pt x="503324" y="234202"/>
                              <a:pt x="431947" y="210444"/>
                              <a:pt x="431947" y="210444"/>
                            </a:cubicBezTo>
                            <a:cubicBezTo>
                              <a:pt x="431947" y="210444"/>
                              <a:pt x="340089" y="125549"/>
                              <a:pt x="295953" y="88274"/>
                            </a:cubicBezTo>
                            <a:cubicBezTo>
                              <a:pt x="251713" y="50896"/>
                              <a:pt x="170096" y="0"/>
                              <a:pt x="170096" y="0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6" name="Полилиния: фигура 1525">
                        <a:extLst>
                          <a:ext uri="{FF2B5EF4-FFF2-40B4-BE49-F238E27FC236}">
                            <a16:creationId xmlns:a16="http://schemas.microsoft.com/office/drawing/2014/main" id="{CF3BA21F-DDB6-44A0-B12B-166E3A425F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07015" y="3661512"/>
                        <a:ext cx="138243" cy="122728"/>
                      </a:xfrm>
                      <a:custGeom>
                        <a:avLst/>
                        <a:gdLst>
                          <a:gd name="connsiteX0" fmla="*/ 49155 w 138243"/>
                          <a:gd name="connsiteY0" fmla="*/ 8500 h 122728"/>
                          <a:gd name="connsiteX1" fmla="*/ 93599 w 138243"/>
                          <a:gd name="connsiteY1" fmla="*/ 63799 h 122728"/>
                          <a:gd name="connsiteX2" fmla="*/ 122170 w 138243"/>
                          <a:gd name="connsiteY2" fmla="*/ 86430 h 122728"/>
                          <a:gd name="connsiteX3" fmla="*/ 128724 w 138243"/>
                          <a:gd name="connsiteY3" fmla="*/ 120531 h 122728"/>
                          <a:gd name="connsiteX4" fmla="*/ 79364 w 138243"/>
                          <a:gd name="connsiteY4" fmla="*/ 111417 h 122728"/>
                          <a:gd name="connsiteX5" fmla="*/ 36149 w 138243"/>
                          <a:gd name="connsiteY5" fmla="*/ 79774 h 122728"/>
                          <a:gd name="connsiteX6" fmla="*/ 0 w 138243"/>
                          <a:gd name="connsiteY6" fmla="*/ 47107 h 122728"/>
                          <a:gd name="connsiteX7" fmla="*/ 26216 w 138243"/>
                          <a:gd name="connsiteY7" fmla="*/ 0 h 122728"/>
                          <a:gd name="connsiteX8" fmla="*/ 49052 w 138243"/>
                          <a:gd name="connsiteY8" fmla="*/ 8397 h 12272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38243" h="122728">
                            <a:moveTo>
                              <a:pt x="49155" y="8500"/>
                            </a:moveTo>
                            <a:lnTo>
                              <a:pt x="93599" y="63799"/>
                            </a:lnTo>
                            <a:cubicBezTo>
                              <a:pt x="93599" y="63799"/>
                              <a:pt x="113875" y="82027"/>
                              <a:pt x="122170" y="86430"/>
                            </a:cubicBezTo>
                            <a:cubicBezTo>
                              <a:pt x="135585" y="93599"/>
                              <a:pt x="147055" y="115309"/>
                              <a:pt x="128724" y="120531"/>
                            </a:cubicBezTo>
                            <a:cubicBezTo>
                              <a:pt x="110393" y="125754"/>
                              <a:pt x="92882" y="121248"/>
                              <a:pt x="79364" y="111417"/>
                            </a:cubicBezTo>
                            <a:cubicBezTo>
                              <a:pt x="65847" y="101586"/>
                              <a:pt x="36149" y="79774"/>
                              <a:pt x="36149" y="79774"/>
                            </a:cubicBezTo>
                            <a:lnTo>
                              <a:pt x="0" y="47107"/>
                            </a:lnTo>
                            <a:lnTo>
                              <a:pt x="26216" y="0"/>
                            </a:lnTo>
                            <a:lnTo>
                              <a:pt x="49052" y="8397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7" name="Полилиния: фигура 1526">
                        <a:extLst>
                          <a:ext uri="{FF2B5EF4-FFF2-40B4-BE49-F238E27FC236}">
                            <a16:creationId xmlns:a16="http://schemas.microsoft.com/office/drawing/2014/main" id="{09B7B488-E8DA-4C9E-9909-121E09B9AA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79726" y="3546305"/>
                        <a:ext cx="517157" cy="244339"/>
                      </a:xfrm>
                      <a:custGeom>
                        <a:avLst/>
                        <a:gdLst>
                          <a:gd name="connsiteX0" fmla="*/ 51101 w 517157"/>
                          <a:gd name="connsiteY0" fmla="*/ 0 h 244339"/>
                          <a:gd name="connsiteX1" fmla="*/ 190577 w 517157"/>
                          <a:gd name="connsiteY1" fmla="*/ 30517 h 244339"/>
                          <a:gd name="connsiteX2" fmla="*/ 421809 w 517157"/>
                          <a:gd name="connsiteY2" fmla="*/ 78033 h 244339"/>
                          <a:gd name="connsiteX3" fmla="*/ 517046 w 517157"/>
                          <a:gd name="connsiteY3" fmla="*/ 122170 h 244339"/>
                          <a:gd name="connsiteX4" fmla="*/ 459187 w 517157"/>
                          <a:gd name="connsiteY4" fmla="*/ 142549 h 244339"/>
                          <a:gd name="connsiteX5" fmla="*/ 360570 w 517157"/>
                          <a:gd name="connsiteY5" fmla="*/ 125549 h 244339"/>
                          <a:gd name="connsiteX6" fmla="*/ 377570 w 517157"/>
                          <a:gd name="connsiteY6" fmla="*/ 179824 h 244339"/>
                          <a:gd name="connsiteX7" fmla="*/ 187095 w 517157"/>
                          <a:gd name="connsiteY7" fmla="*/ 244340 h 244339"/>
                          <a:gd name="connsiteX8" fmla="*/ 122477 w 517157"/>
                          <a:gd name="connsiteY8" fmla="*/ 173066 h 244339"/>
                          <a:gd name="connsiteX9" fmla="*/ 81617 w 517157"/>
                          <a:gd name="connsiteY9" fmla="*/ 122170 h 244339"/>
                          <a:gd name="connsiteX10" fmla="*/ 0 w 517157"/>
                          <a:gd name="connsiteY10" fmla="*/ 84792 h 2443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517157" h="244339">
                            <a:moveTo>
                              <a:pt x="51101" y="0"/>
                            </a:moveTo>
                            <a:cubicBezTo>
                              <a:pt x="51101" y="0"/>
                              <a:pt x="156476" y="23758"/>
                              <a:pt x="190577" y="30517"/>
                            </a:cubicBezTo>
                            <a:cubicBezTo>
                              <a:pt x="224576" y="37276"/>
                              <a:pt x="398051" y="67895"/>
                              <a:pt x="421809" y="78033"/>
                            </a:cubicBezTo>
                            <a:cubicBezTo>
                              <a:pt x="445567" y="88171"/>
                              <a:pt x="520426" y="91653"/>
                              <a:pt x="517046" y="122170"/>
                            </a:cubicBezTo>
                            <a:cubicBezTo>
                              <a:pt x="513667" y="152687"/>
                              <a:pt x="483048" y="145928"/>
                              <a:pt x="459187" y="142549"/>
                            </a:cubicBezTo>
                            <a:cubicBezTo>
                              <a:pt x="435429" y="139169"/>
                              <a:pt x="360570" y="125549"/>
                              <a:pt x="360570" y="125549"/>
                            </a:cubicBezTo>
                            <a:cubicBezTo>
                              <a:pt x="360570" y="125549"/>
                              <a:pt x="384329" y="169686"/>
                              <a:pt x="377570" y="179824"/>
                            </a:cubicBezTo>
                            <a:cubicBezTo>
                              <a:pt x="370811" y="189962"/>
                              <a:pt x="217715" y="244340"/>
                              <a:pt x="187095" y="244340"/>
                            </a:cubicBezTo>
                            <a:cubicBezTo>
                              <a:pt x="156476" y="244340"/>
                              <a:pt x="136097" y="190065"/>
                              <a:pt x="122477" y="173066"/>
                            </a:cubicBezTo>
                            <a:cubicBezTo>
                              <a:pt x="108857" y="156066"/>
                              <a:pt x="81617" y="122170"/>
                              <a:pt x="81617" y="122170"/>
                            </a:cubicBezTo>
                            <a:lnTo>
                              <a:pt x="0" y="84792"/>
                            </a:lnTo>
                          </a:path>
                        </a:pathLst>
                      </a:custGeom>
                      <a:solidFill>
                        <a:srgbClr val="FFFFFF"/>
                      </a:solidFill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8" name="Полилиния: фигура 1527">
                        <a:extLst>
                          <a:ext uri="{FF2B5EF4-FFF2-40B4-BE49-F238E27FC236}">
                            <a16:creationId xmlns:a16="http://schemas.microsoft.com/office/drawing/2014/main" id="{726F357B-DF38-4AED-BA02-89D105FE9C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16539" y="3637958"/>
                        <a:ext cx="23758" cy="33998"/>
                      </a:xfrm>
                      <a:custGeom>
                        <a:avLst/>
                        <a:gdLst>
                          <a:gd name="connsiteX0" fmla="*/ 23758 w 23758"/>
                          <a:gd name="connsiteY0" fmla="*/ 33999 h 33998"/>
                          <a:gd name="connsiteX1" fmla="*/ 0 w 23758"/>
                          <a:gd name="connsiteY1" fmla="*/ 0 h 3399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23758" h="33998">
                            <a:moveTo>
                              <a:pt x="23758" y="33999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29" name="Полилиния: фигура 1528">
                        <a:extLst>
                          <a:ext uri="{FF2B5EF4-FFF2-40B4-BE49-F238E27FC236}">
                            <a16:creationId xmlns:a16="http://schemas.microsoft.com/office/drawing/2014/main" id="{A7C6267E-D000-4C52-93F6-C7D5B55F2D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10448" y="3668578"/>
                        <a:ext cx="51563" cy="129030"/>
                      </a:xfrm>
                      <a:custGeom>
                        <a:avLst/>
                        <a:gdLst>
                          <a:gd name="connsiteX0" fmla="*/ 0 w 51563"/>
                          <a:gd name="connsiteY0" fmla="*/ 129031 h 129030"/>
                          <a:gd name="connsiteX1" fmla="*/ 50998 w 51563"/>
                          <a:gd name="connsiteY1" fmla="*/ 0 h 12903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51563" h="129030">
                            <a:moveTo>
                              <a:pt x="0" y="129031"/>
                            </a:moveTo>
                            <a:cubicBezTo>
                              <a:pt x="0" y="129031"/>
                              <a:pt x="57859" y="81515"/>
                              <a:pt x="50998" y="0"/>
                            </a:cubicBezTo>
                          </a:path>
                        </a:pathLst>
                      </a:custGeom>
                      <a:noFill/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30" name="Полилиния: фигура 1529">
                        <a:extLst>
                          <a:ext uri="{FF2B5EF4-FFF2-40B4-BE49-F238E27FC236}">
                            <a16:creationId xmlns:a16="http://schemas.microsoft.com/office/drawing/2014/main" id="{2F5576AB-8F39-4C12-B161-383443C48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90682" y="3712714"/>
                        <a:ext cx="27239" cy="64515"/>
                      </a:xfrm>
                      <a:custGeom>
                        <a:avLst/>
                        <a:gdLst>
                          <a:gd name="connsiteX0" fmla="*/ 0 w 27239"/>
                          <a:gd name="connsiteY0" fmla="*/ 0 h 64515"/>
                          <a:gd name="connsiteX1" fmla="*/ 27240 w 27239"/>
                          <a:gd name="connsiteY1" fmla="*/ 64516 h 645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27239" h="64515">
                            <a:moveTo>
                              <a:pt x="0" y="0"/>
                            </a:moveTo>
                            <a:lnTo>
                              <a:pt x="27240" y="64516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  <p:sp>
                    <p:nvSpPr>
                      <p:cNvPr id="1531" name="Полилиния: фигура 1530">
                        <a:extLst>
                          <a:ext uri="{FF2B5EF4-FFF2-40B4-BE49-F238E27FC236}">
                            <a16:creationId xmlns:a16="http://schemas.microsoft.com/office/drawing/2014/main" id="{888F5DF2-2F96-435F-A6EB-A7B7F9D4F9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858680" y="3685577"/>
                        <a:ext cx="27239" cy="71274"/>
                      </a:xfrm>
                      <a:custGeom>
                        <a:avLst/>
                        <a:gdLst>
                          <a:gd name="connsiteX0" fmla="*/ 0 w 27239"/>
                          <a:gd name="connsiteY0" fmla="*/ 0 h 71274"/>
                          <a:gd name="connsiteX1" fmla="*/ 27240 w 27239"/>
                          <a:gd name="connsiteY1" fmla="*/ 71274 h 7127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27239" h="71274">
                            <a:moveTo>
                              <a:pt x="0" y="0"/>
                            </a:moveTo>
                            <a:lnTo>
                              <a:pt x="27240" y="71274"/>
                            </a:lnTo>
                          </a:path>
                        </a:pathLst>
                      </a:custGeom>
                      <a:ln w="9921" cap="rnd">
                        <a:solidFill>
                          <a:srgbClr val="263238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endParaRPr lang="ru-RU"/>
                      </a:p>
                    </p:txBody>
                  </p:sp>
                </p:grpSp>
              </p:grpSp>
              <p:grpSp>
                <p:nvGrpSpPr>
                  <p:cNvPr id="1532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2467482" y="4096326"/>
                    <a:ext cx="1108644" cy="1089699"/>
                    <a:chOff x="2467482" y="4096326"/>
                    <a:chExt cx="1108644" cy="1089699"/>
                  </a:xfrm>
                </p:grpSpPr>
                <p:sp>
                  <p:nvSpPr>
                    <p:cNvPr id="1533" name="Полилиния: фигура 1532">
                      <a:extLst>
                        <a:ext uri="{FF2B5EF4-FFF2-40B4-BE49-F238E27FC236}">
                          <a16:creationId xmlns:a16="http://schemas.microsoft.com/office/drawing/2014/main" id="{3080D6AB-B650-4C37-9033-DEA41EBE7A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11618" y="4126843"/>
                      <a:ext cx="1064507" cy="852117"/>
                    </a:xfrm>
                    <a:custGeom>
                      <a:avLst/>
                      <a:gdLst>
                        <a:gd name="connsiteX0" fmla="*/ 0 w 1064507"/>
                        <a:gd name="connsiteY0" fmla="*/ 54275 h 852117"/>
                        <a:gd name="connsiteX1" fmla="*/ 0 w 1064507"/>
                        <a:gd name="connsiteY1" fmla="*/ 852118 h 852117"/>
                        <a:gd name="connsiteX2" fmla="*/ 1064507 w 1064507"/>
                        <a:gd name="connsiteY2" fmla="*/ 790982 h 852117"/>
                        <a:gd name="connsiteX3" fmla="*/ 1064507 w 1064507"/>
                        <a:gd name="connsiteY3" fmla="*/ 0 h 852117"/>
                        <a:gd name="connsiteX4" fmla="*/ 0 w 1064507"/>
                        <a:gd name="connsiteY4" fmla="*/ 54275 h 8521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64507" h="852117">
                          <a:moveTo>
                            <a:pt x="0" y="54275"/>
                          </a:moveTo>
                          <a:lnTo>
                            <a:pt x="0" y="852118"/>
                          </a:lnTo>
                          <a:lnTo>
                            <a:pt x="1064507" y="790982"/>
                          </a:lnTo>
                          <a:lnTo>
                            <a:pt x="1064507" y="0"/>
                          </a:lnTo>
                          <a:lnTo>
                            <a:pt x="0" y="54275"/>
                          </a:ln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34" name="Полилиния: фигура 1533">
                      <a:extLst>
                        <a:ext uri="{FF2B5EF4-FFF2-40B4-BE49-F238E27FC236}">
                          <a16:creationId xmlns:a16="http://schemas.microsoft.com/office/drawing/2014/main" id="{5F1B74F9-7742-421E-AD74-F37766E0A8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67482" y="4096326"/>
                      <a:ext cx="1108643" cy="882634"/>
                    </a:xfrm>
                    <a:custGeom>
                      <a:avLst/>
                      <a:gdLst>
                        <a:gd name="connsiteX0" fmla="*/ 1108644 w 1108643"/>
                        <a:gd name="connsiteY0" fmla="*/ 30517 h 882634"/>
                        <a:gd name="connsiteX1" fmla="*/ 1054164 w 1108643"/>
                        <a:gd name="connsiteY1" fmla="*/ 0 h 882634"/>
                        <a:gd name="connsiteX2" fmla="*/ 0 w 1108643"/>
                        <a:gd name="connsiteY2" fmla="*/ 50896 h 882634"/>
                        <a:gd name="connsiteX3" fmla="*/ 0 w 1108643"/>
                        <a:gd name="connsiteY3" fmla="*/ 828257 h 882634"/>
                        <a:gd name="connsiteX4" fmla="*/ 44137 w 1108643"/>
                        <a:gd name="connsiteY4" fmla="*/ 882635 h 882634"/>
                        <a:gd name="connsiteX5" fmla="*/ 44137 w 1108643"/>
                        <a:gd name="connsiteY5" fmla="*/ 84792 h 882634"/>
                        <a:gd name="connsiteX6" fmla="*/ 1108644 w 1108643"/>
                        <a:gd name="connsiteY6" fmla="*/ 30517 h 8826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108643" h="882634">
                          <a:moveTo>
                            <a:pt x="1108644" y="30517"/>
                          </a:moveTo>
                          <a:lnTo>
                            <a:pt x="1054164" y="0"/>
                          </a:lnTo>
                          <a:lnTo>
                            <a:pt x="0" y="50896"/>
                          </a:lnTo>
                          <a:lnTo>
                            <a:pt x="0" y="828257"/>
                          </a:lnTo>
                          <a:lnTo>
                            <a:pt x="44137" y="882635"/>
                          </a:lnTo>
                          <a:lnTo>
                            <a:pt x="44137" y="84792"/>
                          </a:lnTo>
                          <a:lnTo>
                            <a:pt x="1108644" y="30517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35" name="Полилиния: фигура 1534">
                      <a:extLst>
                        <a:ext uri="{FF2B5EF4-FFF2-40B4-BE49-F238E27FC236}">
                          <a16:creationId xmlns:a16="http://schemas.microsoft.com/office/drawing/2014/main" id="{2E79D40B-234C-4960-BAF8-568881F126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467482" y="4147222"/>
                      <a:ext cx="44136" cy="33896"/>
                    </a:xfrm>
                    <a:custGeom>
                      <a:avLst/>
                      <a:gdLst>
                        <a:gd name="connsiteX0" fmla="*/ 0 w 44136"/>
                        <a:gd name="connsiteY0" fmla="*/ 0 h 33896"/>
                        <a:gd name="connsiteX1" fmla="*/ 44137 w 44136"/>
                        <a:gd name="connsiteY1" fmla="*/ 33896 h 3389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4136" h="33896">
                          <a:moveTo>
                            <a:pt x="0" y="0"/>
                          </a:moveTo>
                          <a:lnTo>
                            <a:pt x="44137" y="33896"/>
                          </a:lnTo>
                        </a:path>
                      </a:pathLst>
                    </a:custGeom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36" name="Полилиния: фигура 1535">
                      <a:extLst>
                        <a:ext uri="{FF2B5EF4-FFF2-40B4-BE49-F238E27FC236}">
                          <a16:creationId xmlns:a16="http://schemas.microsoft.com/office/drawing/2014/main" id="{CF0B426B-A34E-4ADB-9876-7BE20AD271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36705" y="4622487"/>
                      <a:ext cx="292470" cy="563538"/>
                    </a:xfrm>
                    <a:custGeom>
                      <a:avLst/>
                      <a:gdLst>
                        <a:gd name="connsiteX0" fmla="*/ 0 w 292470"/>
                        <a:gd name="connsiteY0" fmla="*/ 23758 h 563538"/>
                        <a:gd name="connsiteX1" fmla="*/ 0 w 292470"/>
                        <a:gd name="connsiteY1" fmla="*/ 563539 h 563538"/>
                        <a:gd name="connsiteX2" fmla="*/ 292471 w 292470"/>
                        <a:gd name="connsiteY2" fmla="*/ 543160 h 563538"/>
                        <a:gd name="connsiteX3" fmla="*/ 292471 w 292470"/>
                        <a:gd name="connsiteY3" fmla="*/ 0 h 563538"/>
                        <a:gd name="connsiteX4" fmla="*/ 0 w 292470"/>
                        <a:gd name="connsiteY4" fmla="*/ 23758 h 5635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2470" h="563538">
                          <a:moveTo>
                            <a:pt x="0" y="23758"/>
                          </a:moveTo>
                          <a:lnTo>
                            <a:pt x="0" y="563539"/>
                          </a:lnTo>
                          <a:lnTo>
                            <a:pt x="292471" y="543160"/>
                          </a:lnTo>
                          <a:lnTo>
                            <a:pt x="292471" y="0"/>
                          </a:lnTo>
                          <a:lnTo>
                            <a:pt x="0" y="23758"/>
                          </a:ln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37" name="Полилиния: фигура 1536">
                      <a:extLst>
                        <a:ext uri="{FF2B5EF4-FFF2-40B4-BE49-F238E27FC236}">
                          <a16:creationId xmlns:a16="http://schemas.microsoft.com/office/drawing/2014/main" id="{9F34A6B6-995D-42E1-848C-90BF11AE8A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27693" y="4622487"/>
                      <a:ext cx="302404" cy="329336"/>
                    </a:xfrm>
                    <a:custGeom>
                      <a:avLst/>
                      <a:gdLst>
                        <a:gd name="connsiteX0" fmla="*/ 0 w 302404"/>
                        <a:gd name="connsiteY0" fmla="*/ 329337 h 329336"/>
                        <a:gd name="connsiteX1" fmla="*/ 0 w 302404"/>
                        <a:gd name="connsiteY1" fmla="*/ 23758 h 329336"/>
                        <a:gd name="connsiteX2" fmla="*/ 301483 w 302404"/>
                        <a:gd name="connsiteY2" fmla="*/ 0 h 329336"/>
                        <a:gd name="connsiteX3" fmla="*/ 302404 w 302404"/>
                        <a:gd name="connsiteY3" fmla="*/ 310494 h 3293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02404" h="329336">
                          <a:moveTo>
                            <a:pt x="0" y="329337"/>
                          </a:moveTo>
                          <a:lnTo>
                            <a:pt x="0" y="23758"/>
                          </a:lnTo>
                          <a:lnTo>
                            <a:pt x="301483" y="0"/>
                          </a:lnTo>
                          <a:lnTo>
                            <a:pt x="302404" y="310494"/>
                          </a:lnTo>
                        </a:path>
                      </a:pathLst>
                    </a:custGeom>
                    <a:noFill/>
                    <a:ln w="9921" cap="rnd">
                      <a:solidFill>
                        <a:srgbClr val="FFFFFF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38" name="Полилиния: фигура 1537">
                      <a:extLst>
                        <a:ext uri="{FF2B5EF4-FFF2-40B4-BE49-F238E27FC236}">
                          <a16:creationId xmlns:a16="http://schemas.microsoft.com/office/drawing/2014/main" id="{B4C4E323-0071-431A-AB7B-1A18660BB1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83710" y="5043476"/>
                      <a:ext cx="152994" cy="142548"/>
                    </a:xfrm>
                    <a:custGeom>
                      <a:avLst/>
                      <a:gdLst>
                        <a:gd name="connsiteX0" fmla="*/ 152994 w 152994"/>
                        <a:gd name="connsiteY0" fmla="*/ 142549 h 142548"/>
                        <a:gd name="connsiteX1" fmla="*/ 0 w 152994"/>
                        <a:gd name="connsiteY1" fmla="*/ 6759 h 142548"/>
                        <a:gd name="connsiteX2" fmla="*/ 152994 w 152994"/>
                        <a:gd name="connsiteY2" fmla="*/ 0 h 142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152994" h="142548">
                          <a:moveTo>
                            <a:pt x="152994" y="142549"/>
                          </a:moveTo>
                          <a:lnTo>
                            <a:pt x="0" y="6759"/>
                          </a:lnTo>
                          <a:lnTo>
                            <a:pt x="152994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921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</p:grpSp>
          </p:grpSp>
          <p:grpSp>
            <p:nvGrpSpPr>
              <p:cNvPr id="1539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500678" y="4620541"/>
                <a:ext cx="4085680" cy="627849"/>
                <a:chOff x="500678" y="4620541"/>
                <a:chExt cx="4085680" cy="627849"/>
              </a:xfrm>
            </p:grpSpPr>
            <p:grpSp>
              <p:nvGrpSpPr>
                <p:cNvPr id="1540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1082035" y="4652594"/>
                  <a:ext cx="1012587" cy="131591"/>
                  <a:chOff x="1082035" y="4652594"/>
                  <a:chExt cx="1012587" cy="131591"/>
                </a:xfrm>
              </p:grpSpPr>
              <p:sp>
                <p:nvSpPr>
                  <p:cNvPr id="1541" name="Полилиния: фигура 1540">
                    <a:extLst>
                      <a:ext uri="{FF2B5EF4-FFF2-40B4-BE49-F238E27FC236}">
                        <a16:creationId xmlns:a16="http://schemas.microsoft.com/office/drawing/2014/main" id="{806E1CC7-CDEA-4687-A79C-60C38E9EDE94}"/>
                      </a:ext>
                    </a:extLst>
                  </p:cNvPr>
                  <p:cNvSpPr/>
                  <p:nvPr/>
                </p:nvSpPr>
                <p:spPr>
                  <a:xfrm>
                    <a:off x="1082035" y="4652594"/>
                    <a:ext cx="1012587" cy="131591"/>
                  </a:xfrm>
                  <a:custGeom>
                    <a:avLst/>
                    <a:gdLst>
                      <a:gd name="connsiteX0" fmla="*/ 0 w 1012587"/>
                      <a:gd name="connsiteY0" fmla="*/ 34715 h 131591"/>
                      <a:gd name="connsiteX1" fmla="*/ 967222 w 1012587"/>
                      <a:gd name="connsiteY1" fmla="*/ 131591 h 131591"/>
                      <a:gd name="connsiteX2" fmla="*/ 944590 w 1012587"/>
                      <a:gd name="connsiteY2" fmla="*/ 98924 h 131591"/>
                      <a:gd name="connsiteX3" fmla="*/ 1012588 w 1012587"/>
                      <a:gd name="connsiteY3" fmla="*/ 89810 h 131591"/>
                      <a:gd name="connsiteX4" fmla="*/ 927386 w 1012587"/>
                      <a:gd name="connsiteY4" fmla="*/ 0 h 131591"/>
                      <a:gd name="connsiteX5" fmla="*/ 0 w 1012587"/>
                      <a:gd name="connsiteY5" fmla="*/ 34715 h 1315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2587" h="131591">
                        <a:moveTo>
                          <a:pt x="0" y="34715"/>
                        </a:moveTo>
                        <a:lnTo>
                          <a:pt x="967222" y="131591"/>
                        </a:lnTo>
                        <a:cubicBezTo>
                          <a:pt x="967222" y="131591"/>
                          <a:pt x="930151" y="101791"/>
                          <a:pt x="944590" y="98924"/>
                        </a:cubicBezTo>
                        <a:cubicBezTo>
                          <a:pt x="972035" y="93599"/>
                          <a:pt x="1012588" y="89810"/>
                          <a:pt x="1012588" y="89810"/>
                        </a:cubicBezTo>
                        <a:lnTo>
                          <a:pt x="927386" y="0"/>
                        </a:lnTo>
                        <a:lnTo>
                          <a:pt x="0" y="34715"/>
                        </a:lnTo>
                      </a:path>
                    </a:pathLst>
                  </a:custGeom>
                  <a:solidFill>
                    <a:srgbClr val="92E3A9">
                      <a:alpha val="70000"/>
                    </a:srgbClr>
                  </a:solidFill>
                  <a:ln w="102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542" name="Полилиния: фигура 1541">
                    <a:extLst>
                      <a:ext uri="{FF2B5EF4-FFF2-40B4-BE49-F238E27FC236}">
                        <a16:creationId xmlns:a16="http://schemas.microsoft.com/office/drawing/2014/main" id="{7D69EEDE-FA30-4992-A4A0-C8D42E729564}"/>
                      </a:ext>
                    </a:extLst>
                  </p:cNvPr>
                  <p:cNvSpPr/>
                  <p:nvPr/>
                </p:nvSpPr>
                <p:spPr>
                  <a:xfrm>
                    <a:off x="1082035" y="4652594"/>
                    <a:ext cx="1012587" cy="131591"/>
                  </a:xfrm>
                  <a:custGeom>
                    <a:avLst/>
                    <a:gdLst>
                      <a:gd name="connsiteX0" fmla="*/ 0 w 1012587"/>
                      <a:gd name="connsiteY0" fmla="*/ 34715 h 131591"/>
                      <a:gd name="connsiteX1" fmla="*/ 967222 w 1012587"/>
                      <a:gd name="connsiteY1" fmla="*/ 131591 h 131591"/>
                      <a:gd name="connsiteX2" fmla="*/ 944590 w 1012587"/>
                      <a:gd name="connsiteY2" fmla="*/ 98924 h 131591"/>
                      <a:gd name="connsiteX3" fmla="*/ 1012588 w 1012587"/>
                      <a:gd name="connsiteY3" fmla="*/ 89810 h 131591"/>
                      <a:gd name="connsiteX4" fmla="*/ 927386 w 1012587"/>
                      <a:gd name="connsiteY4" fmla="*/ 0 h 131591"/>
                      <a:gd name="connsiteX5" fmla="*/ 0 w 1012587"/>
                      <a:gd name="connsiteY5" fmla="*/ 34715 h 1315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012587" h="131591">
                        <a:moveTo>
                          <a:pt x="0" y="34715"/>
                        </a:moveTo>
                        <a:lnTo>
                          <a:pt x="967222" y="131591"/>
                        </a:lnTo>
                        <a:cubicBezTo>
                          <a:pt x="967222" y="131591"/>
                          <a:pt x="930151" y="101791"/>
                          <a:pt x="944590" y="98924"/>
                        </a:cubicBezTo>
                        <a:cubicBezTo>
                          <a:pt x="972035" y="93599"/>
                          <a:pt x="1012588" y="89810"/>
                          <a:pt x="1012588" y="89810"/>
                        </a:cubicBezTo>
                        <a:lnTo>
                          <a:pt x="927386" y="0"/>
                        </a:lnTo>
                        <a:lnTo>
                          <a:pt x="0" y="34715"/>
                        </a:lnTo>
                      </a:path>
                    </a:pathLst>
                  </a:custGeom>
                  <a:solidFill>
                    <a:srgbClr val="FFFFFF">
                      <a:alpha val="70000"/>
                    </a:srgbClr>
                  </a:solidFill>
                  <a:ln w="102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543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500678" y="4620541"/>
                  <a:ext cx="4085680" cy="627849"/>
                  <a:chOff x="500678" y="4620541"/>
                  <a:chExt cx="4085680" cy="627849"/>
                </a:xfrm>
              </p:grpSpPr>
              <p:sp>
                <p:nvSpPr>
                  <p:cNvPr id="1544" name="Полилиния: фигура 1543">
                    <a:extLst>
                      <a:ext uri="{FF2B5EF4-FFF2-40B4-BE49-F238E27FC236}">
                        <a16:creationId xmlns:a16="http://schemas.microsoft.com/office/drawing/2014/main" id="{5AA0E958-F169-463F-9DDB-EE05029A7D7F}"/>
                      </a:ext>
                    </a:extLst>
                  </p:cNvPr>
                  <p:cNvSpPr/>
                  <p:nvPr/>
                </p:nvSpPr>
                <p:spPr>
                  <a:xfrm>
                    <a:off x="500678" y="4652901"/>
                    <a:ext cx="1509357" cy="53762"/>
                  </a:xfrm>
                  <a:custGeom>
                    <a:avLst/>
                    <a:gdLst>
                      <a:gd name="connsiteX0" fmla="*/ 1509358 w 1509357"/>
                      <a:gd name="connsiteY0" fmla="*/ 0 h 53762"/>
                      <a:gd name="connsiteX1" fmla="*/ 0 w 1509357"/>
                      <a:gd name="connsiteY1" fmla="*/ 53763 h 53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9357" h="53762">
                        <a:moveTo>
                          <a:pt x="1509358" y="0"/>
                        </a:moveTo>
                        <a:lnTo>
                          <a:pt x="0" y="53763"/>
                        </a:lnTo>
                      </a:path>
                    </a:pathLst>
                  </a:custGeom>
                  <a:ln w="9921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545" name="Полилиния: фигура 1544">
                    <a:extLst>
                      <a:ext uri="{FF2B5EF4-FFF2-40B4-BE49-F238E27FC236}">
                        <a16:creationId xmlns:a16="http://schemas.microsoft.com/office/drawing/2014/main" id="{AAE700C3-CA52-488E-8E73-AF0C0D901610}"/>
                      </a:ext>
                    </a:extLst>
                  </p:cNvPr>
                  <p:cNvSpPr/>
                  <p:nvPr/>
                </p:nvSpPr>
                <p:spPr>
                  <a:xfrm>
                    <a:off x="3568855" y="4620541"/>
                    <a:ext cx="1017503" cy="627849"/>
                  </a:xfrm>
                  <a:custGeom>
                    <a:avLst/>
                    <a:gdLst>
                      <a:gd name="connsiteX0" fmla="*/ 0 w 1017503"/>
                      <a:gd name="connsiteY0" fmla="*/ 0 h 627849"/>
                      <a:gd name="connsiteX1" fmla="*/ 1017503 w 1017503"/>
                      <a:gd name="connsiteY1" fmla="*/ 627849 h 6278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7503" h="627849">
                        <a:moveTo>
                          <a:pt x="0" y="0"/>
                        </a:moveTo>
                        <a:lnTo>
                          <a:pt x="1017503" y="627849"/>
                        </a:lnTo>
                      </a:path>
                    </a:pathLst>
                  </a:custGeom>
                  <a:ln w="9921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1546" name="Рисунок 1282">
                <a:extLst>
                  <a:ext uri="{FF2B5EF4-FFF2-40B4-BE49-F238E27FC236}">
                    <a16:creationId xmlns:a16="http://schemas.microsoft.com/office/drawing/2014/main" id="{1C513778-6A5B-40D9-9E8A-2FA6961B2484}"/>
                  </a:ext>
                </a:extLst>
              </p:cNvPr>
              <p:cNvGrpSpPr/>
              <p:nvPr/>
            </p:nvGrpSpPr>
            <p:grpSpPr>
              <a:xfrm>
                <a:off x="1174814" y="4778655"/>
                <a:ext cx="929127" cy="508034"/>
                <a:chOff x="1174814" y="4778655"/>
                <a:chExt cx="929127" cy="508034"/>
              </a:xfrm>
            </p:grpSpPr>
            <p:grpSp>
              <p:nvGrpSpPr>
                <p:cNvPr id="1547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1174814" y="4778655"/>
                  <a:ext cx="929127" cy="508034"/>
                  <a:chOff x="1174814" y="4778655"/>
                  <a:chExt cx="929127" cy="508034"/>
                </a:xfrm>
              </p:grpSpPr>
              <p:grpSp>
                <p:nvGrpSpPr>
                  <p:cNvPr id="1548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1186591" y="4778655"/>
                    <a:ext cx="917350" cy="425290"/>
                    <a:chOff x="1186591" y="4778655"/>
                    <a:chExt cx="917350" cy="425290"/>
                  </a:xfrm>
                </p:grpSpPr>
                <p:sp>
                  <p:nvSpPr>
                    <p:cNvPr id="1549" name="Полилиния: фигура 1548">
                      <a:extLst>
                        <a:ext uri="{FF2B5EF4-FFF2-40B4-BE49-F238E27FC236}">
                          <a16:creationId xmlns:a16="http://schemas.microsoft.com/office/drawing/2014/main" id="{7CFA1ED8-8AEB-4114-AC8B-04C45E5BD6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6591" y="4778655"/>
                      <a:ext cx="917350" cy="425290"/>
                    </a:xfrm>
                    <a:custGeom>
                      <a:avLst/>
                      <a:gdLst>
                        <a:gd name="connsiteX0" fmla="*/ 532612 w 917350"/>
                        <a:gd name="connsiteY0" fmla="*/ 0 h 425290"/>
                        <a:gd name="connsiteX1" fmla="*/ 0 w 917350"/>
                        <a:gd name="connsiteY1" fmla="*/ 64925 h 425290"/>
                        <a:gd name="connsiteX2" fmla="*/ 343264 w 917350"/>
                        <a:gd name="connsiteY2" fmla="*/ 425291 h 425290"/>
                        <a:gd name="connsiteX3" fmla="*/ 917350 w 917350"/>
                        <a:gd name="connsiteY3" fmla="*/ 354426 h 425290"/>
                        <a:gd name="connsiteX4" fmla="*/ 532612 w 917350"/>
                        <a:gd name="connsiteY4" fmla="*/ 0 h 4252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350" h="425290">
                          <a:moveTo>
                            <a:pt x="532612" y="0"/>
                          </a:moveTo>
                          <a:lnTo>
                            <a:pt x="0" y="64925"/>
                          </a:lnTo>
                          <a:lnTo>
                            <a:pt x="343264" y="425291"/>
                          </a:lnTo>
                          <a:lnTo>
                            <a:pt x="917350" y="354426"/>
                          </a:lnTo>
                          <a:lnTo>
                            <a:pt x="532612" y="0"/>
                          </a:ln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0" name="Полилиния: фигура 1549">
                      <a:extLst>
                        <a:ext uri="{FF2B5EF4-FFF2-40B4-BE49-F238E27FC236}">
                          <a16:creationId xmlns:a16="http://schemas.microsoft.com/office/drawing/2014/main" id="{CDF51070-3394-48DA-8339-D3B7CC549F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6591" y="4778655"/>
                      <a:ext cx="917350" cy="425290"/>
                    </a:xfrm>
                    <a:custGeom>
                      <a:avLst/>
                      <a:gdLst>
                        <a:gd name="connsiteX0" fmla="*/ 532612 w 917350"/>
                        <a:gd name="connsiteY0" fmla="*/ 0 h 425290"/>
                        <a:gd name="connsiteX1" fmla="*/ 0 w 917350"/>
                        <a:gd name="connsiteY1" fmla="*/ 64925 h 425290"/>
                        <a:gd name="connsiteX2" fmla="*/ 343264 w 917350"/>
                        <a:gd name="connsiteY2" fmla="*/ 425291 h 425290"/>
                        <a:gd name="connsiteX3" fmla="*/ 917350 w 917350"/>
                        <a:gd name="connsiteY3" fmla="*/ 354426 h 425290"/>
                        <a:gd name="connsiteX4" fmla="*/ 532612 w 917350"/>
                        <a:gd name="connsiteY4" fmla="*/ 0 h 4252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350" h="425290">
                          <a:moveTo>
                            <a:pt x="532612" y="0"/>
                          </a:moveTo>
                          <a:lnTo>
                            <a:pt x="0" y="64925"/>
                          </a:lnTo>
                          <a:lnTo>
                            <a:pt x="343264" y="425291"/>
                          </a:lnTo>
                          <a:lnTo>
                            <a:pt x="917350" y="354426"/>
                          </a:lnTo>
                          <a:lnTo>
                            <a:pt x="532612" y="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70000"/>
                      </a:srgbClr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sp>
                <p:nvSpPr>
                  <p:cNvPr id="1551" name="Полилиния: фигура 1550">
                    <a:extLst>
                      <a:ext uri="{FF2B5EF4-FFF2-40B4-BE49-F238E27FC236}">
                        <a16:creationId xmlns:a16="http://schemas.microsoft.com/office/drawing/2014/main" id="{CBCB62EA-F663-4447-8BC5-B3038C344259}"/>
                      </a:ext>
                    </a:extLst>
                  </p:cNvPr>
                  <p:cNvSpPr/>
                  <p:nvPr/>
                </p:nvSpPr>
                <p:spPr>
                  <a:xfrm>
                    <a:off x="1174814" y="4861297"/>
                    <a:ext cx="816685" cy="425393"/>
                  </a:xfrm>
                  <a:custGeom>
                    <a:avLst/>
                    <a:gdLst>
                      <a:gd name="connsiteX0" fmla="*/ 0 w 816685"/>
                      <a:gd name="connsiteY0" fmla="*/ 59088 h 425393"/>
                      <a:gd name="connsiteX1" fmla="*/ 473422 w 816685"/>
                      <a:gd name="connsiteY1" fmla="*/ 0 h 425393"/>
                      <a:gd name="connsiteX2" fmla="*/ 816686 w 816685"/>
                      <a:gd name="connsiteY2" fmla="*/ 348589 h 425393"/>
                      <a:gd name="connsiteX3" fmla="*/ 272194 w 816685"/>
                      <a:gd name="connsiteY3" fmla="*/ 425393 h 425393"/>
                      <a:gd name="connsiteX4" fmla="*/ 0 w 816685"/>
                      <a:gd name="connsiteY4" fmla="*/ 59088 h 4253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6685" h="425393">
                        <a:moveTo>
                          <a:pt x="0" y="59088"/>
                        </a:moveTo>
                        <a:lnTo>
                          <a:pt x="473422" y="0"/>
                        </a:lnTo>
                        <a:lnTo>
                          <a:pt x="816686" y="348589"/>
                        </a:lnTo>
                        <a:lnTo>
                          <a:pt x="272194" y="425393"/>
                        </a:lnTo>
                        <a:lnTo>
                          <a:pt x="0" y="5908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022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552" name="Рисунок 1282">
                  <a:extLst>
                    <a:ext uri="{FF2B5EF4-FFF2-40B4-BE49-F238E27FC236}">
                      <a16:creationId xmlns:a16="http://schemas.microsoft.com/office/drawing/2014/main" id="{1C513778-6A5B-40D9-9E8A-2FA6961B2484}"/>
                    </a:ext>
                  </a:extLst>
                </p:cNvPr>
                <p:cNvGrpSpPr/>
                <p:nvPr/>
              </p:nvGrpSpPr>
              <p:grpSpPr>
                <a:xfrm>
                  <a:off x="1242175" y="4911759"/>
                  <a:ext cx="659639" cy="324240"/>
                  <a:chOff x="1242175" y="4911759"/>
                  <a:chExt cx="659639" cy="324240"/>
                </a:xfrm>
              </p:grpSpPr>
              <p:grpSp>
                <p:nvGrpSpPr>
                  <p:cNvPr id="1553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1242175" y="4911759"/>
                    <a:ext cx="659639" cy="324240"/>
                    <a:chOff x="1242175" y="4911759"/>
                    <a:chExt cx="659639" cy="324240"/>
                  </a:xfrm>
                  <a:solidFill>
                    <a:srgbClr val="92E3A9"/>
                  </a:solidFill>
                </p:grpSpPr>
                <p:sp>
                  <p:nvSpPr>
                    <p:cNvPr id="1554" name="Полилиния: фигура 1553">
                      <a:extLst>
                        <a:ext uri="{FF2B5EF4-FFF2-40B4-BE49-F238E27FC236}">
                          <a16:creationId xmlns:a16="http://schemas.microsoft.com/office/drawing/2014/main" id="{507327DC-8AC2-49B7-8B06-BB9CCB6B98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0197" y="5173817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2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5" name="Полилиния: фигура 1554">
                      <a:extLst>
                        <a:ext uri="{FF2B5EF4-FFF2-40B4-BE49-F238E27FC236}">
                          <a16:creationId xmlns:a16="http://schemas.microsoft.com/office/drawing/2014/main" id="{6C2DD8F1-2A95-4BC9-8E59-024BC5091D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927" y="5144629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4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6" name="Полилиния: фигура 1555">
                      <a:extLst>
                        <a:ext uri="{FF2B5EF4-FFF2-40B4-BE49-F238E27FC236}">
                          <a16:creationId xmlns:a16="http://schemas.microsoft.com/office/drawing/2014/main" id="{02F3D643-3965-4834-B20B-C1704EA7A7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759" y="5115564"/>
                      <a:ext cx="441618" cy="62166"/>
                    </a:xfrm>
                    <a:custGeom>
                      <a:avLst/>
                      <a:gdLst>
                        <a:gd name="connsiteX0" fmla="*/ 3094 w 441618"/>
                        <a:gd name="connsiteY0" fmla="*/ 62167 h 62166"/>
                        <a:gd name="connsiteX1" fmla="*/ 22 w 441618"/>
                        <a:gd name="connsiteY1" fmla="*/ 59504 h 62166"/>
                        <a:gd name="connsiteX2" fmla="*/ 2685 w 441618"/>
                        <a:gd name="connsiteY2" fmla="*/ 56022 h 62166"/>
                        <a:gd name="connsiteX3" fmla="*/ 438114 w 441618"/>
                        <a:gd name="connsiteY3" fmla="*/ 6 h 62166"/>
                        <a:gd name="connsiteX4" fmla="*/ 441596 w 441618"/>
                        <a:gd name="connsiteY4" fmla="*/ 2669 h 62166"/>
                        <a:gd name="connsiteX5" fmla="*/ 438933 w 441618"/>
                        <a:gd name="connsiteY5" fmla="*/ 6151 h 62166"/>
                        <a:gd name="connsiteX6" fmla="*/ 3504 w 441618"/>
                        <a:gd name="connsiteY6" fmla="*/ 62167 h 62166"/>
                        <a:gd name="connsiteX7" fmla="*/ 3094 w 441618"/>
                        <a:gd name="connsiteY7" fmla="*/ 62167 h 621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66">
                          <a:moveTo>
                            <a:pt x="3094" y="62167"/>
                          </a:moveTo>
                          <a:cubicBezTo>
                            <a:pt x="1558" y="62167"/>
                            <a:pt x="227" y="61040"/>
                            <a:pt x="22" y="59504"/>
                          </a:cubicBezTo>
                          <a:cubicBezTo>
                            <a:pt x="-183" y="57763"/>
                            <a:pt x="1046" y="56227"/>
                            <a:pt x="2685" y="56022"/>
                          </a:cubicBezTo>
                          <a:lnTo>
                            <a:pt x="438114" y="6"/>
                          </a:lnTo>
                          <a:cubicBezTo>
                            <a:pt x="439752" y="-96"/>
                            <a:pt x="441391" y="1031"/>
                            <a:pt x="441596" y="2669"/>
                          </a:cubicBezTo>
                          <a:cubicBezTo>
                            <a:pt x="441800" y="4410"/>
                            <a:pt x="440572" y="5946"/>
                            <a:pt x="438933" y="6151"/>
                          </a:cubicBezTo>
                          <a:lnTo>
                            <a:pt x="3504" y="62167"/>
                          </a:lnTo>
                          <a:cubicBezTo>
                            <a:pt x="3504" y="62167"/>
                            <a:pt x="3197" y="62167"/>
                            <a:pt x="3094" y="62167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7" name="Полилиния: фигура 1556">
                      <a:extLst>
                        <a:ext uri="{FF2B5EF4-FFF2-40B4-BE49-F238E27FC236}">
                          <a16:creationId xmlns:a16="http://schemas.microsoft.com/office/drawing/2014/main" id="{4D10A2DC-AE87-422A-86F1-4B7E3C4A95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489" y="5086465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8" name="Полилиния: фигура 1557">
                      <a:extLst>
                        <a:ext uri="{FF2B5EF4-FFF2-40B4-BE49-F238E27FC236}">
                          <a16:creationId xmlns:a16="http://schemas.microsoft.com/office/drawing/2014/main" id="{EC215189-1018-4BCE-B0F0-BF30CC78F9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321" y="5057277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4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59" name="Полилиния: фигура 1558">
                      <a:extLst>
                        <a:ext uri="{FF2B5EF4-FFF2-40B4-BE49-F238E27FC236}">
                          <a16:creationId xmlns:a16="http://schemas.microsoft.com/office/drawing/2014/main" id="{2F5479C8-1969-4FBE-B040-A23A67A970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051" y="5028196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2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3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0" name="Полилиния: фигура 1559">
                      <a:extLst>
                        <a:ext uri="{FF2B5EF4-FFF2-40B4-BE49-F238E27FC236}">
                          <a16:creationId xmlns:a16="http://schemas.microsoft.com/office/drawing/2014/main" id="{DF9DAD6D-004C-4F33-83B2-9BC6CFBF59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4883" y="4999111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3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1" name="Полилиния: фигура 1560">
                      <a:extLst>
                        <a:ext uri="{FF2B5EF4-FFF2-40B4-BE49-F238E27FC236}">
                          <a16:creationId xmlns:a16="http://schemas.microsoft.com/office/drawing/2014/main" id="{842F30E2-550C-42DB-AE25-21F4133621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0613" y="4969927"/>
                      <a:ext cx="441618" cy="62182"/>
                    </a:xfrm>
                    <a:custGeom>
                      <a:avLst/>
                      <a:gdLst>
                        <a:gd name="connsiteX0" fmla="*/ 3094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4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4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4" y="62183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2" name="Полилиния: фигура 1561">
                      <a:extLst>
                        <a:ext uri="{FF2B5EF4-FFF2-40B4-BE49-F238E27FC236}">
                          <a16:creationId xmlns:a16="http://schemas.microsoft.com/office/drawing/2014/main" id="{2D28D7A9-0EF9-49DD-92B1-569B858378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6445" y="4940844"/>
                      <a:ext cx="441618" cy="62182"/>
                    </a:xfrm>
                    <a:custGeom>
                      <a:avLst/>
                      <a:gdLst>
                        <a:gd name="connsiteX0" fmla="*/ 3094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4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4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4" y="62183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3" name="Полилиния: фигура 1562">
                      <a:extLst>
                        <a:ext uri="{FF2B5EF4-FFF2-40B4-BE49-F238E27FC236}">
                          <a16:creationId xmlns:a16="http://schemas.microsoft.com/office/drawing/2014/main" id="{7F4D9B2E-4A16-440F-BC60-86AB3545B3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2175" y="4911759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3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92E3A9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grpSp>
                <p:nvGrpSpPr>
                  <p:cNvPr id="1564" name="Рисунок 1282">
                    <a:extLst>
                      <a:ext uri="{FF2B5EF4-FFF2-40B4-BE49-F238E27FC236}">
                        <a16:creationId xmlns:a16="http://schemas.microsoft.com/office/drawing/2014/main" id="{1C513778-6A5B-40D9-9E8A-2FA6961B2484}"/>
                      </a:ext>
                    </a:extLst>
                  </p:cNvPr>
                  <p:cNvGrpSpPr/>
                  <p:nvPr/>
                </p:nvGrpSpPr>
                <p:grpSpPr>
                  <a:xfrm>
                    <a:off x="1242175" y="4911759"/>
                    <a:ext cx="659639" cy="324240"/>
                    <a:chOff x="1242175" y="4911759"/>
                    <a:chExt cx="659639" cy="324240"/>
                  </a:xfrm>
                  <a:solidFill>
                    <a:srgbClr val="FFFFFF"/>
                  </a:solidFill>
                </p:grpSpPr>
                <p:sp>
                  <p:nvSpPr>
                    <p:cNvPr id="1565" name="Полилиния: фигура 1564">
                      <a:extLst>
                        <a:ext uri="{FF2B5EF4-FFF2-40B4-BE49-F238E27FC236}">
                          <a16:creationId xmlns:a16="http://schemas.microsoft.com/office/drawing/2014/main" id="{16DEC5BF-E15A-41C5-AD14-33ADEA3300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0197" y="5173817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2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6" name="Полилиния: фигура 1565">
                      <a:extLst>
                        <a:ext uri="{FF2B5EF4-FFF2-40B4-BE49-F238E27FC236}">
                          <a16:creationId xmlns:a16="http://schemas.microsoft.com/office/drawing/2014/main" id="{0223B80D-15AA-4E35-A9F0-2A94FC71F4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927" y="5144629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4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7" name="Полилиния: фигура 1566">
                      <a:extLst>
                        <a:ext uri="{FF2B5EF4-FFF2-40B4-BE49-F238E27FC236}">
                          <a16:creationId xmlns:a16="http://schemas.microsoft.com/office/drawing/2014/main" id="{2A43B9C8-D166-41D3-88EF-A48F851777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759" y="5115564"/>
                      <a:ext cx="441618" cy="62166"/>
                    </a:xfrm>
                    <a:custGeom>
                      <a:avLst/>
                      <a:gdLst>
                        <a:gd name="connsiteX0" fmla="*/ 3094 w 441618"/>
                        <a:gd name="connsiteY0" fmla="*/ 62167 h 62166"/>
                        <a:gd name="connsiteX1" fmla="*/ 22 w 441618"/>
                        <a:gd name="connsiteY1" fmla="*/ 59504 h 62166"/>
                        <a:gd name="connsiteX2" fmla="*/ 2685 w 441618"/>
                        <a:gd name="connsiteY2" fmla="*/ 56022 h 62166"/>
                        <a:gd name="connsiteX3" fmla="*/ 438114 w 441618"/>
                        <a:gd name="connsiteY3" fmla="*/ 6 h 62166"/>
                        <a:gd name="connsiteX4" fmla="*/ 441596 w 441618"/>
                        <a:gd name="connsiteY4" fmla="*/ 2669 h 62166"/>
                        <a:gd name="connsiteX5" fmla="*/ 438933 w 441618"/>
                        <a:gd name="connsiteY5" fmla="*/ 6151 h 62166"/>
                        <a:gd name="connsiteX6" fmla="*/ 3504 w 441618"/>
                        <a:gd name="connsiteY6" fmla="*/ 62167 h 62166"/>
                        <a:gd name="connsiteX7" fmla="*/ 3094 w 441618"/>
                        <a:gd name="connsiteY7" fmla="*/ 62167 h 6216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66">
                          <a:moveTo>
                            <a:pt x="3094" y="62167"/>
                          </a:moveTo>
                          <a:cubicBezTo>
                            <a:pt x="1558" y="62167"/>
                            <a:pt x="227" y="61040"/>
                            <a:pt x="22" y="59504"/>
                          </a:cubicBezTo>
                          <a:cubicBezTo>
                            <a:pt x="-183" y="57763"/>
                            <a:pt x="1046" y="56227"/>
                            <a:pt x="2685" y="56022"/>
                          </a:cubicBezTo>
                          <a:lnTo>
                            <a:pt x="438114" y="6"/>
                          </a:lnTo>
                          <a:cubicBezTo>
                            <a:pt x="439752" y="-96"/>
                            <a:pt x="441391" y="1031"/>
                            <a:pt x="441596" y="2669"/>
                          </a:cubicBezTo>
                          <a:cubicBezTo>
                            <a:pt x="441800" y="4410"/>
                            <a:pt x="440572" y="5946"/>
                            <a:pt x="438933" y="6151"/>
                          </a:cubicBezTo>
                          <a:lnTo>
                            <a:pt x="3504" y="62167"/>
                          </a:lnTo>
                          <a:cubicBezTo>
                            <a:pt x="3504" y="62167"/>
                            <a:pt x="3197" y="62167"/>
                            <a:pt x="3094" y="62167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8" name="Полилиния: фигура 1567">
                      <a:extLst>
                        <a:ext uri="{FF2B5EF4-FFF2-40B4-BE49-F238E27FC236}">
                          <a16:creationId xmlns:a16="http://schemas.microsoft.com/office/drawing/2014/main" id="{C038043C-96CF-4209-A173-5578F5FF79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489" y="5086465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69" name="Полилиния: фигура 1568">
                      <a:extLst>
                        <a:ext uri="{FF2B5EF4-FFF2-40B4-BE49-F238E27FC236}">
                          <a16:creationId xmlns:a16="http://schemas.microsoft.com/office/drawing/2014/main" id="{962966F8-07D2-4DEB-ACCE-E0C8F466A1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321" y="5057277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4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70" name="Полилиния: фигура 1569">
                      <a:extLst>
                        <a:ext uri="{FF2B5EF4-FFF2-40B4-BE49-F238E27FC236}">
                          <a16:creationId xmlns:a16="http://schemas.microsoft.com/office/drawing/2014/main" id="{9887D272-0CFF-4831-9118-4F4D7072A8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051" y="5028196"/>
                      <a:ext cx="441618" cy="62182"/>
                    </a:xfrm>
                    <a:custGeom>
                      <a:avLst/>
                      <a:gdLst>
                        <a:gd name="connsiteX0" fmla="*/ 3095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5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5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2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3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5" y="6218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71" name="Полилиния: фигура 1570">
                      <a:extLst>
                        <a:ext uri="{FF2B5EF4-FFF2-40B4-BE49-F238E27FC236}">
                          <a16:creationId xmlns:a16="http://schemas.microsoft.com/office/drawing/2014/main" id="{D4EB7241-2F01-4591-BB8D-CFF4599ADC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4883" y="4999111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3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72" name="Полилиния: фигура 1571">
                      <a:extLst>
                        <a:ext uri="{FF2B5EF4-FFF2-40B4-BE49-F238E27FC236}">
                          <a16:creationId xmlns:a16="http://schemas.microsoft.com/office/drawing/2014/main" id="{AAB6F502-8A1F-4948-8B2E-6BF8251D24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0613" y="4969927"/>
                      <a:ext cx="441618" cy="62182"/>
                    </a:xfrm>
                    <a:custGeom>
                      <a:avLst/>
                      <a:gdLst>
                        <a:gd name="connsiteX0" fmla="*/ 3094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4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4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4" y="6218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73" name="Полилиния: фигура 1572">
                      <a:extLst>
                        <a:ext uri="{FF2B5EF4-FFF2-40B4-BE49-F238E27FC236}">
                          <a16:creationId xmlns:a16="http://schemas.microsoft.com/office/drawing/2014/main" id="{4DB3AA60-30B9-4852-B766-ABE89B1429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6445" y="4940844"/>
                      <a:ext cx="441618" cy="62182"/>
                    </a:xfrm>
                    <a:custGeom>
                      <a:avLst/>
                      <a:gdLst>
                        <a:gd name="connsiteX0" fmla="*/ 3094 w 441618"/>
                        <a:gd name="connsiteY0" fmla="*/ 62183 h 62182"/>
                        <a:gd name="connsiteX1" fmla="*/ 22 w 441618"/>
                        <a:gd name="connsiteY1" fmla="*/ 59520 h 62182"/>
                        <a:gd name="connsiteX2" fmla="*/ 2685 w 441618"/>
                        <a:gd name="connsiteY2" fmla="*/ 56038 h 62182"/>
                        <a:gd name="connsiteX3" fmla="*/ 438114 w 441618"/>
                        <a:gd name="connsiteY3" fmla="*/ 22 h 62182"/>
                        <a:gd name="connsiteX4" fmla="*/ 441596 w 441618"/>
                        <a:gd name="connsiteY4" fmla="*/ 2685 h 62182"/>
                        <a:gd name="connsiteX5" fmla="*/ 438933 w 441618"/>
                        <a:gd name="connsiteY5" fmla="*/ 6167 h 62182"/>
                        <a:gd name="connsiteX6" fmla="*/ 3504 w 441618"/>
                        <a:gd name="connsiteY6" fmla="*/ 62183 h 62182"/>
                        <a:gd name="connsiteX7" fmla="*/ 3094 w 441618"/>
                        <a:gd name="connsiteY7" fmla="*/ 62183 h 621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2">
                          <a:moveTo>
                            <a:pt x="3094" y="62183"/>
                          </a:moveTo>
                          <a:cubicBezTo>
                            <a:pt x="1558" y="62183"/>
                            <a:pt x="227" y="61056"/>
                            <a:pt x="22" y="59520"/>
                          </a:cubicBezTo>
                          <a:cubicBezTo>
                            <a:pt x="-183" y="57779"/>
                            <a:pt x="1046" y="56243"/>
                            <a:pt x="2685" y="56038"/>
                          </a:cubicBezTo>
                          <a:lnTo>
                            <a:pt x="438114" y="22"/>
                          </a:lnTo>
                          <a:cubicBezTo>
                            <a:pt x="439752" y="-182"/>
                            <a:pt x="441391" y="1046"/>
                            <a:pt x="441596" y="2685"/>
                          </a:cubicBezTo>
                          <a:cubicBezTo>
                            <a:pt x="441801" y="4426"/>
                            <a:pt x="440572" y="5962"/>
                            <a:pt x="438933" y="6167"/>
                          </a:cubicBezTo>
                          <a:lnTo>
                            <a:pt x="3504" y="62183"/>
                          </a:lnTo>
                          <a:cubicBezTo>
                            <a:pt x="3504" y="62183"/>
                            <a:pt x="3197" y="62183"/>
                            <a:pt x="3094" y="6218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574" name="Полилиния: фигура 1573">
                      <a:extLst>
                        <a:ext uri="{FF2B5EF4-FFF2-40B4-BE49-F238E27FC236}">
                          <a16:creationId xmlns:a16="http://schemas.microsoft.com/office/drawing/2014/main" id="{AF3B4E1F-C4EE-49B7-8D99-47D89EB05E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2175" y="4911759"/>
                      <a:ext cx="441618" cy="62184"/>
                    </a:xfrm>
                    <a:custGeom>
                      <a:avLst/>
                      <a:gdLst>
                        <a:gd name="connsiteX0" fmla="*/ 3095 w 441618"/>
                        <a:gd name="connsiteY0" fmla="*/ 62184 h 62184"/>
                        <a:gd name="connsiteX1" fmla="*/ 22 w 441618"/>
                        <a:gd name="connsiteY1" fmla="*/ 59522 h 62184"/>
                        <a:gd name="connsiteX2" fmla="*/ 2685 w 441618"/>
                        <a:gd name="connsiteY2" fmla="*/ 56040 h 62184"/>
                        <a:gd name="connsiteX3" fmla="*/ 438114 w 441618"/>
                        <a:gd name="connsiteY3" fmla="*/ 24 h 62184"/>
                        <a:gd name="connsiteX4" fmla="*/ 441596 w 441618"/>
                        <a:gd name="connsiteY4" fmla="*/ 2687 h 62184"/>
                        <a:gd name="connsiteX5" fmla="*/ 438933 w 441618"/>
                        <a:gd name="connsiteY5" fmla="*/ 6168 h 62184"/>
                        <a:gd name="connsiteX6" fmla="*/ 3504 w 441618"/>
                        <a:gd name="connsiteY6" fmla="*/ 62184 h 62184"/>
                        <a:gd name="connsiteX7" fmla="*/ 3095 w 441618"/>
                        <a:gd name="connsiteY7" fmla="*/ 62184 h 62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41618" h="62184">
                          <a:moveTo>
                            <a:pt x="3095" y="62184"/>
                          </a:moveTo>
                          <a:cubicBezTo>
                            <a:pt x="1558" y="62184"/>
                            <a:pt x="227" y="61058"/>
                            <a:pt x="22" y="59522"/>
                          </a:cubicBezTo>
                          <a:cubicBezTo>
                            <a:pt x="-182" y="57781"/>
                            <a:pt x="1046" y="56245"/>
                            <a:pt x="2685" y="56040"/>
                          </a:cubicBezTo>
                          <a:lnTo>
                            <a:pt x="438114" y="24"/>
                          </a:lnTo>
                          <a:cubicBezTo>
                            <a:pt x="439752" y="-181"/>
                            <a:pt x="441391" y="946"/>
                            <a:pt x="441596" y="2687"/>
                          </a:cubicBezTo>
                          <a:cubicBezTo>
                            <a:pt x="441801" y="4427"/>
                            <a:pt x="440572" y="5963"/>
                            <a:pt x="438933" y="6168"/>
                          </a:cubicBezTo>
                          <a:lnTo>
                            <a:pt x="3504" y="62184"/>
                          </a:lnTo>
                          <a:cubicBezTo>
                            <a:pt x="3504" y="62184"/>
                            <a:pt x="3197" y="62184"/>
                            <a:pt x="3095" y="62184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22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</p:grpSp>
          </p:grpSp>
        </p:grpSp>
        <p:sp>
          <p:nvSpPr>
            <p:cNvPr id="1575" name="Полилиния: фигура 1574">
              <a:extLst>
                <a:ext uri="{FF2B5EF4-FFF2-40B4-BE49-F238E27FC236}">
                  <a16:creationId xmlns:a16="http://schemas.microsoft.com/office/drawing/2014/main" id="{7640C367-3B15-4168-8BE9-EBCFFE2F95AB}"/>
                </a:ext>
              </a:extLst>
            </p:cNvPr>
            <p:cNvSpPr/>
            <p:nvPr/>
          </p:nvSpPr>
          <p:spPr>
            <a:xfrm>
              <a:off x="1705686" y="2969249"/>
              <a:ext cx="176035" cy="277929"/>
            </a:xfrm>
            <a:custGeom>
              <a:avLst/>
              <a:gdLst>
                <a:gd name="connsiteX0" fmla="*/ 0 w 176035"/>
                <a:gd name="connsiteY0" fmla="*/ 0 h 277929"/>
                <a:gd name="connsiteX1" fmla="*/ 101996 w 176035"/>
                <a:gd name="connsiteY1" fmla="*/ 61136 h 277929"/>
                <a:gd name="connsiteX2" fmla="*/ 176035 w 176035"/>
                <a:gd name="connsiteY2" fmla="*/ 277929 h 277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6035" h="277929">
                  <a:moveTo>
                    <a:pt x="0" y="0"/>
                  </a:moveTo>
                  <a:cubicBezTo>
                    <a:pt x="0" y="0"/>
                    <a:pt x="81617" y="27137"/>
                    <a:pt x="101996" y="61136"/>
                  </a:cubicBezTo>
                  <a:cubicBezTo>
                    <a:pt x="122375" y="95032"/>
                    <a:pt x="176035" y="277929"/>
                    <a:pt x="176035" y="277929"/>
                  </a:cubicBezTo>
                </a:path>
              </a:pathLst>
            </a:custGeom>
            <a:noFill/>
            <a:ln w="9921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326" name="ОТП_Logo">
            <a:extLst>
              <a:ext uri="{FF2B5EF4-FFF2-40B4-BE49-F238E27FC236}">
                <a16:creationId xmlns:a16="http://schemas.microsoft.com/office/drawing/2014/main" id="{3140EDC9-BAEB-4444-88A4-B6C8AB9EF4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287998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750" fill="hold"/>
                                        <p:tgtEl>
                                          <p:spTgt spid="13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ccel="45000" decel="4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000" fill="hold"/>
                                        <p:tgtEl>
                                          <p:spTgt spid="13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59259E-6 L -3.33333E-6 0.05139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13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59259E-6 L -3.33333E-6 0.05139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13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59259E-6 L -3.33333E-6 0.05139 " pathEditMode="relative" rAng="0" ptsTypes="AA">
                                      <p:cBhvr>
                                        <p:cTn id="14" dur="750" fill="hold"/>
                                        <p:tgtEl>
                                          <p:spTgt spid="13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6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4.81481E-6 L -4.375E-6 0.02755 " pathEditMode="relative" rAng="0" ptsTypes="AA">
                                      <p:cBhvr>
                                        <p:cTn id="16" dur="1000" fill="hold"/>
                                        <p:tgtEl>
                                          <p:spTgt spid="13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2576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890" name="Rounded Rectangle">
            <a:extLst>
              <a:ext uri="{FF2B5EF4-FFF2-40B4-BE49-F238E27FC236}">
                <a16:creationId xmlns:a16="http://schemas.microsoft.com/office/drawing/2014/main" id="{85082F30-007E-46CD-9C6B-20C87B5B5CEC}"/>
              </a:ext>
            </a:extLst>
          </p:cNvPr>
          <p:cNvSpPr/>
          <p:nvPr/>
        </p:nvSpPr>
        <p:spPr>
          <a:xfrm>
            <a:off x="5188" y="2679685"/>
            <a:ext cx="4872220" cy="1667114"/>
          </a:xfrm>
          <a:prstGeom prst="roundRect">
            <a:avLst>
              <a:gd name="adj" fmla="val 0"/>
            </a:avLst>
          </a:prstGeom>
          <a:solidFill>
            <a:schemeClr val="bg1">
              <a:alpha val="93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5" y="376044"/>
            <a:ext cx="460973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Шаг 2. Обратный поток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8E269EC-E40B-4C44-8D6D-E331FC37DE89}"/>
              </a:ext>
            </a:extLst>
          </p:cNvPr>
          <p:cNvGrpSpPr/>
          <p:nvPr/>
        </p:nvGrpSpPr>
        <p:grpSpPr>
          <a:xfrm>
            <a:off x="7552175" y="883422"/>
            <a:ext cx="2497745" cy="1627098"/>
            <a:chOff x="7621592" y="751203"/>
            <a:chExt cx="2497745" cy="1627098"/>
          </a:xfrm>
        </p:grpSpPr>
        <p:sp>
          <p:nvSpPr>
            <p:cNvPr id="1189" name="Shape_фон">
              <a:extLst>
                <a:ext uri="{FF2B5EF4-FFF2-40B4-BE49-F238E27FC236}">
                  <a16:creationId xmlns:a16="http://schemas.microsoft.com/office/drawing/2014/main" id="{2FD81F28-8C41-41DF-B1A9-A3630F91157B}"/>
                </a:ext>
              </a:extLst>
            </p:cNvPr>
            <p:cNvSpPr/>
            <p:nvPr/>
          </p:nvSpPr>
          <p:spPr>
            <a:xfrm>
              <a:off x="7621592" y="751203"/>
              <a:ext cx="2497745" cy="162709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90" name="Описание">
              <a:extLst>
                <a:ext uri="{FF2B5EF4-FFF2-40B4-BE49-F238E27FC236}">
                  <a16:creationId xmlns:a16="http://schemas.microsoft.com/office/drawing/2014/main" id="{392FFD61-0810-4CC6-8F97-B2E665D33E6A}"/>
                </a:ext>
              </a:extLst>
            </p:cNvPr>
            <p:cNvSpPr txBox="1"/>
            <p:nvPr/>
          </p:nvSpPr>
          <p:spPr>
            <a:xfrm>
              <a:off x="7931762" y="890546"/>
              <a:ext cx="18101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«Единый клиент»</a:t>
              </a:r>
            </a:p>
          </p:txBody>
        </p:sp>
        <p:grpSp>
          <p:nvGrpSpPr>
            <p:cNvPr id="1191" name="ЕК_Лого">
              <a:extLst>
                <a:ext uri="{FF2B5EF4-FFF2-40B4-BE49-F238E27FC236}">
                  <a16:creationId xmlns:a16="http://schemas.microsoft.com/office/drawing/2014/main" id="{B3EE9007-F211-4439-AB50-E09E36B6B40A}"/>
                </a:ext>
              </a:extLst>
            </p:cNvPr>
            <p:cNvGrpSpPr/>
            <p:nvPr/>
          </p:nvGrpSpPr>
          <p:grpSpPr>
            <a:xfrm>
              <a:off x="8376674" y="1278537"/>
              <a:ext cx="966802" cy="959407"/>
              <a:chOff x="9141588" y="2080803"/>
              <a:chExt cx="2020578" cy="2005124"/>
            </a:xfrm>
          </p:grpSpPr>
          <p:sp>
            <p:nvSpPr>
              <p:cNvPr id="1192" name="Полилиния: фигура 1191">
                <a:extLst>
                  <a:ext uri="{FF2B5EF4-FFF2-40B4-BE49-F238E27FC236}">
                    <a16:creationId xmlns:a16="http://schemas.microsoft.com/office/drawing/2014/main" id="{DD97320C-AB5E-4382-A3A3-1A88C414E9EF}"/>
                  </a:ext>
                </a:extLst>
              </p:cNvPr>
              <p:cNvSpPr/>
              <p:nvPr/>
            </p:nvSpPr>
            <p:spPr>
              <a:xfrm>
                <a:off x="10289981" y="2794439"/>
                <a:ext cx="184663" cy="294906"/>
              </a:xfrm>
              <a:custGeom>
                <a:avLst/>
                <a:gdLst>
                  <a:gd name="connsiteX0" fmla="*/ 15893 w 184663"/>
                  <a:gd name="connsiteY0" fmla="*/ 4498 h 294906"/>
                  <a:gd name="connsiteX1" fmla="*/ 6956 w 184663"/>
                  <a:gd name="connsiteY1" fmla="*/ 9719 h 294906"/>
                  <a:gd name="connsiteX2" fmla="*/ 2856 w 184663"/>
                  <a:gd name="connsiteY2" fmla="*/ 19246 h 294906"/>
                  <a:gd name="connsiteX3" fmla="*/ 18902 w 184663"/>
                  <a:gd name="connsiteY3" fmla="*/ 271287 h 294906"/>
                  <a:gd name="connsiteX4" fmla="*/ 23680 w 184663"/>
                  <a:gd name="connsiteY4" fmla="*/ 278986 h 294906"/>
                  <a:gd name="connsiteX5" fmla="*/ 31143 w 184663"/>
                  <a:gd name="connsiteY5" fmla="*/ 284118 h 294906"/>
                  <a:gd name="connsiteX6" fmla="*/ 122137 w 184663"/>
                  <a:gd name="connsiteY6" fmla="*/ 294736 h 294906"/>
                  <a:gd name="connsiteX7" fmla="*/ 165525 w 184663"/>
                  <a:gd name="connsiteY7" fmla="*/ 291138 h 294906"/>
                  <a:gd name="connsiteX8" fmla="*/ 171897 w 184663"/>
                  <a:gd name="connsiteY8" fmla="*/ 286684 h 294906"/>
                  <a:gd name="connsiteX9" fmla="*/ 175554 w 184663"/>
                  <a:gd name="connsiteY9" fmla="*/ 279811 h 294906"/>
                  <a:gd name="connsiteX10" fmla="*/ 184373 w 184663"/>
                  <a:gd name="connsiteY10" fmla="*/ 163805 h 294906"/>
                  <a:gd name="connsiteX11" fmla="*/ 137062 w 184663"/>
                  <a:gd name="connsiteY11" fmla="*/ 23434 h 294906"/>
                  <a:gd name="connsiteX12" fmla="*/ 15923 w 184663"/>
                  <a:gd name="connsiteY12" fmla="*/ 4498 h 294906"/>
                  <a:gd name="connsiteX13" fmla="*/ 151456 w 184663"/>
                  <a:gd name="connsiteY13" fmla="*/ 162389 h 294906"/>
                  <a:gd name="connsiteX14" fmla="*/ 145350 w 184663"/>
                  <a:gd name="connsiteY14" fmla="*/ 261229 h 294906"/>
                  <a:gd name="connsiteX15" fmla="*/ 48958 w 184663"/>
                  <a:gd name="connsiteY15" fmla="*/ 255507 h 294906"/>
                  <a:gd name="connsiteX16" fmla="*/ 34918 w 184663"/>
                  <a:gd name="connsiteY16" fmla="*/ 34937 h 294906"/>
                  <a:gd name="connsiteX17" fmla="*/ 115088 w 184663"/>
                  <a:gd name="connsiteY17" fmla="*/ 48063 h 294906"/>
                  <a:gd name="connsiteX18" fmla="*/ 151456 w 184663"/>
                  <a:gd name="connsiteY18" fmla="*/ 162359 h 2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4663" h="294906">
                    <a:moveTo>
                      <a:pt x="15893" y="4498"/>
                    </a:moveTo>
                    <a:cubicBezTo>
                      <a:pt x="12442" y="5235"/>
                      <a:pt x="9286" y="7064"/>
                      <a:pt x="6956" y="9719"/>
                    </a:cubicBezTo>
                    <a:cubicBezTo>
                      <a:pt x="4626" y="12373"/>
                      <a:pt x="3181" y="15706"/>
                      <a:pt x="2856" y="19246"/>
                    </a:cubicBezTo>
                    <a:cubicBezTo>
                      <a:pt x="-7172" y="130828"/>
                      <a:pt x="11882" y="250345"/>
                      <a:pt x="18902" y="271287"/>
                    </a:cubicBezTo>
                    <a:cubicBezTo>
                      <a:pt x="19934" y="274148"/>
                      <a:pt x="21557" y="276773"/>
                      <a:pt x="23680" y="278986"/>
                    </a:cubicBezTo>
                    <a:cubicBezTo>
                      <a:pt x="25774" y="281198"/>
                      <a:pt x="28311" y="282938"/>
                      <a:pt x="31143" y="284118"/>
                    </a:cubicBezTo>
                    <a:cubicBezTo>
                      <a:pt x="46185" y="291344"/>
                      <a:pt x="88453" y="294736"/>
                      <a:pt x="122137" y="294736"/>
                    </a:cubicBezTo>
                    <a:cubicBezTo>
                      <a:pt x="136708" y="295385"/>
                      <a:pt x="151279" y="294176"/>
                      <a:pt x="165525" y="291138"/>
                    </a:cubicBezTo>
                    <a:cubicBezTo>
                      <a:pt x="167974" y="290165"/>
                      <a:pt x="170156" y="288660"/>
                      <a:pt x="171897" y="286684"/>
                    </a:cubicBezTo>
                    <a:cubicBezTo>
                      <a:pt x="173637" y="284708"/>
                      <a:pt x="174876" y="282348"/>
                      <a:pt x="175554" y="279811"/>
                    </a:cubicBezTo>
                    <a:cubicBezTo>
                      <a:pt x="178858" y="267187"/>
                      <a:pt x="180657" y="239697"/>
                      <a:pt x="184373" y="163805"/>
                    </a:cubicBezTo>
                    <a:cubicBezTo>
                      <a:pt x="187175" y="106258"/>
                      <a:pt x="169537" y="53520"/>
                      <a:pt x="137062" y="23434"/>
                    </a:cubicBezTo>
                    <a:cubicBezTo>
                      <a:pt x="98776" y="-11843"/>
                      <a:pt x="24034" y="2669"/>
                      <a:pt x="15923" y="4498"/>
                    </a:cubicBezTo>
                    <a:close/>
                    <a:moveTo>
                      <a:pt x="151456" y="162389"/>
                    </a:moveTo>
                    <a:cubicBezTo>
                      <a:pt x="149244" y="207901"/>
                      <a:pt x="147444" y="243296"/>
                      <a:pt x="145350" y="261229"/>
                    </a:cubicBezTo>
                    <a:cubicBezTo>
                      <a:pt x="113111" y="262792"/>
                      <a:pt x="80784" y="260875"/>
                      <a:pt x="48958" y="255507"/>
                    </a:cubicBezTo>
                    <a:cubicBezTo>
                      <a:pt x="35302" y="182829"/>
                      <a:pt x="30582" y="108765"/>
                      <a:pt x="34918" y="34937"/>
                    </a:cubicBezTo>
                    <a:cubicBezTo>
                      <a:pt x="57571" y="32017"/>
                      <a:pt x="96535" y="31132"/>
                      <a:pt x="115088" y="48063"/>
                    </a:cubicBezTo>
                    <a:cubicBezTo>
                      <a:pt x="140041" y="71719"/>
                      <a:pt x="154258" y="114429"/>
                      <a:pt x="151456" y="1623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3" name="Полилиния: фигура 1192">
                <a:extLst>
                  <a:ext uri="{FF2B5EF4-FFF2-40B4-BE49-F238E27FC236}">
                    <a16:creationId xmlns:a16="http://schemas.microsoft.com/office/drawing/2014/main" id="{8DDB9238-14C6-4D5C-84D4-6B98C2552F00}"/>
                  </a:ext>
                </a:extLst>
              </p:cNvPr>
              <p:cNvSpPr/>
              <p:nvPr/>
            </p:nvSpPr>
            <p:spPr>
              <a:xfrm>
                <a:off x="9768388" y="2275873"/>
                <a:ext cx="369594" cy="581022"/>
              </a:xfrm>
              <a:custGeom>
                <a:avLst/>
                <a:gdLst>
                  <a:gd name="connsiteX0" fmla="*/ 293084 w 369594"/>
                  <a:gd name="connsiteY0" fmla="*/ 253885 h 581022"/>
                  <a:gd name="connsiteX1" fmla="*/ 285061 w 369594"/>
                  <a:gd name="connsiteY1" fmla="*/ 253885 h 581022"/>
                  <a:gd name="connsiteX2" fmla="*/ 234152 w 369594"/>
                  <a:gd name="connsiteY2" fmla="*/ 243856 h 581022"/>
                  <a:gd name="connsiteX3" fmla="*/ 229137 w 369594"/>
                  <a:gd name="connsiteY3" fmla="*/ 230318 h 581022"/>
                  <a:gd name="connsiteX4" fmla="*/ 230730 w 369594"/>
                  <a:gd name="connsiteY4" fmla="*/ 215983 h 581022"/>
                  <a:gd name="connsiteX5" fmla="*/ 241467 w 369594"/>
                  <a:gd name="connsiteY5" fmla="*/ 199849 h 581022"/>
                  <a:gd name="connsiteX6" fmla="*/ 257512 w 369594"/>
                  <a:gd name="connsiteY6" fmla="*/ 174689 h 581022"/>
                  <a:gd name="connsiteX7" fmla="*/ 270431 w 369594"/>
                  <a:gd name="connsiteY7" fmla="*/ 118234 h 581022"/>
                  <a:gd name="connsiteX8" fmla="*/ 266774 w 369594"/>
                  <a:gd name="connsiteY8" fmla="*/ 72309 h 581022"/>
                  <a:gd name="connsiteX9" fmla="*/ 244977 w 369594"/>
                  <a:gd name="connsiteY9" fmla="*/ 31723 h 581022"/>
                  <a:gd name="connsiteX10" fmla="*/ 215038 w 369594"/>
                  <a:gd name="connsiteY10" fmla="*/ 9217 h 581022"/>
                  <a:gd name="connsiteX11" fmla="*/ 178699 w 369594"/>
                  <a:gd name="connsiteY11" fmla="*/ 103 h 581022"/>
                  <a:gd name="connsiteX12" fmla="*/ 141682 w 369594"/>
                  <a:gd name="connsiteY12" fmla="*/ 5825 h 581022"/>
                  <a:gd name="connsiteX13" fmla="*/ 109797 w 369594"/>
                  <a:gd name="connsiteY13" fmla="*/ 25499 h 581022"/>
                  <a:gd name="connsiteX14" fmla="*/ 79741 w 369594"/>
                  <a:gd name="connsiteY14" fmla="*/ 111125 h 581022"/>
                  <a:gd name="connsiteX15" fmla="*/ 90950 w 369594"/>
                  <a:gd name="connsiteY15" fmla="*/ 172388 h 581022"/>
                  <a:gd name="connsiteX16" fmla="*/ 119619 w 369594"/>
                  <a:gd name="connsiteY16" fmla="*/ 212502 h 581022"/>
                  <a:gd name="connsiteX17" fmla="*/ 126934 w 369594"/>
                  <a:gd name="connsiteY17" fmla="*/ 220407 h 581022"/>
                  <a:gd name="connsiteX18" fmla="*/ 125637 w 369594"/>
                  <a:gd name="connsiteY18" fmla="*/ 246776 h 581022"/>
                  <a:gd name="connsiteX19" fmla="*/ 90478 w 369594"/>
                  <a:gd name="connsiteY19" fmla="*/ 256805 h 581022"/>
                  <a:gd name="connsiteX20" fmla="*/ 82750 w 369594"/>
                  <a:gd name="connsiteY20" fmla="*/ 256805 h 581022"/>
                  <a:gd name="connsiteX21" fmla="*/ 10308 w 369594"/>
                  <a:gd name="connsiteY21" fmla="*/ 290283 h 581022"/>
                  <a:gd name="connsiteX22" fmla="*/ 50393 w 369594"/>
                  <a:gd name="connsiteY22" fmla="*/ 560966 h 581022"/>
                  <a:gd name="connsiteX23" fmla="*/ 75140 w 369594"/>
                  <a:gd name="connsiteY23" fmla="*/ 581023 h 581022"/>
                  <a:gd name="connsiteX24" fmla="*/ 252409 w 369594"/>
                  <a:gd name="connsiteY24" fmla="*/ 581023 h 581022"/>
                  <a:gd name="connsiteX25" fmla="*/ 311843 w 369594"/>
                  <a:gd name="connsiteY25" fmla="*/ 580521 h 581022"/>
                  <a:gd name="connsiteX26" fmla="*/ 323671 w 369594"/>
                  <a:gd name="connsiteY26" fmla="*/ 576244 h 581022"/>
                  <a:gd name="connsiteX27" fmla="*/ 331871 w 369594"/>
                  <a:gd name="connsiteY27" fmla="*/ 566688 h 581022"/>
                  <a:gd name="connsiteX28" fmla="*/ 365231 w 369594"/>
                  <a:gd name="connsiteY28" fmla="*/ 297598 h 581022"/>
                  <a:gd name="connsiteX29" fmla="*/ 335765 w 369594"/>
                  <a:gd name="connsiteY29" fmla="*/ 264828 h 581022"/>
                  <a:gd name="connsiteX30" fmla="*/ 293084 w 369594"/>
                  <a:gd name="connsiteY30" fmla="*/ 253885 h 581022"/>
                  <a:gd name="connsiteX31" fmla="*/ 304499 w 369594"/>
                  <a:gd name="connsiteY31" fmla="*/ 548046 h 581022"/>
                  <a:gd name="connsiteX32" fmla="*/ 134751 w 369594"/>
                  <a:gd name="connsiteY32" fmla="*/ 548046 h 581022"/>
                  <a:gd name="connsiteX33" fmla="*/ 81127 w 369594"/>
                  <a:gd name="connsiteY33" fmla="*/ 548046 h 581022"/>
                  <a:gd name="connsiteX34" fmla="*/ 38447 w 369594"/>
                  <a:gd name="connsiteY34" fmla="*/ 308128 h 581022"/>
                  <a:gd name="connsiteX35" fmla="*/ 83251 w 369594"/>
                  <a:gd name="connsiteY35" fmla="*/ 289693 h 581022"/>
                  <a:gd name="connsiteX36" fmla="*/ 92159 w 369594"/>
                  <a:gd name="connsiteY36" fmla="*/ 289693 h 581022"/>
                  <a:gd name="connsiteX37" fmla="*/ 153776 w 369594"/>
                  <a:gd name="connsiteY37" fmla="*/ 265123 h 581022"/>
                  <a:gd name="connsiteX38" fmla="*/ 155073 w 369594"/>
                  <a:gd name="connsiteY38" fmla="*/ 201854 h 581022"/>
                  <a:gd name="connsiteX39" fmla="*/ 144248 w 369594"/>
                  <a:gd name="connsiteY39" fmla="*/ 189938 h 581022"/>
                  <a:gd name="connsiteX40" fmla="*/ 122097 w 369594"/>
                  <a:gd name="connsiteY40" fmla="*/ 159852 h 581022"/>
                  <a:gd name="connsiteX41" fmla="*/ 113278 w 369594"/>
                  <a:gd name="connsiteY41" fmla="*/ 110417 h 581022"/>
                  <a:gd name="connsiteX42" fmla="*/ 133306 w 369594"/>
                  <a:gd name="connsiteY42" fmla="*/ 48653 h 581022"/>
                  <a:gd name="connsiteX43" fmla="*/ 152448 w 369594"/>
                  <a:gd name="connsiteY43" fmla="*/ 36648 h 581022"/>
                  <a:gd name="connsiteX44" fmla="*/ 174777 w 369594"/>
                  <a:gd name="connsiteY44" fmla="*/ 33197 h 581022"/>
                  <a:gd name="connsiteX45" fmla="*/ 199553 w 369594"/>
                  <a:gd name="connsiteY45" fmla="*/ 38094 h 581022"/>
                  <a:gd name="connsiteX46" fmla="*/ 219758 w 369594"/>
                  <a:gd name="connsiteY46" fmla="*/ 53255 h 581022"/>
                  <a:gd name="connsiteX47" fmla="*/ 234594 w 369594"/>
                  <a:gd name="connsiteY47" fmla="*/ 81276 h 581022"/>
                  <a:gd name="connsiteX48" fmla="*/ 237190 w 369594"/>
                  <a:gd name="connsiteY48" fmla="*/ 112895 h 581022"/>
                  <a:gd name="connsiteX49" fmla="*/ 225981 w 369594"/>
                  <a:gd name="connsiteY49" fmla="*/ 163038 h 581022"/>
                  <a:gd name="connsiteX50" fmla="*/ 215363 w 369594"/>
                  <a:gd name="connsiteY50" fmla="*/ 178789 h 581022"/>
                  <a:gd name="connsiteX51" fmla="*/ 199022 w 369594"/>
                  <a:gd name="connsiteY51" fmla="*/ 204863 h 581022"/>
                  <a:gd name="connsiteX52" fmla="*/ 195925 w 369594"/>
                  <a:gd name="connsiteY52" fmla="*/ 234506 h 581022"/>
                  <a:gd name="connsiteX53" fmla="*/ 206455 w 369594"/>
                  <a:gd name="connsiteY53" fmla="*/ 262409 h 581022"/>
                  <a:gd name="connsiteX54" fmla="*/ 285209 w 369594"/>
                  <a:gd name="connsiteY54" fmla="*/ 287481 h 581022"/>
                  <a:gd name="connsiteX55" fmla="*/ 292435 w 369594"/>
                  <a:gd name="connsiteY55" fmla="*/ 287481 h 581022"/>
                  <a:gd name="connsiteX56" fmla="*/ 317477 w 369594"/>
                  <a:gd name="connsiteY56" fmla="*/ 292878 h 581022"/>
                  <a:gd name="connsiteX57" fmla="*/ 335116 w 369594"/>
                  <a:gd name="connsiteY57" fmla="*/ 311431 h 581022"/>
                  <a:gd name="connsiteX58" fmla="*/ 304440 w 369594"/>
                  <a:gd name="connsiteY58" fmla="*/ 548046 h 581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69594" h="581022">
                    <a:moveTo>
                      <a:pt x="293084" y="253885"/>
                    </a:moveTo>
                    <a:lnTo>
                      <a:pt x="285061" y="253885"/>
                    </a:lnTo>
                    <a:cubicBezTo>
                      <a:pt x="268839" y="253885"/>
                      <a:pt x="241467" y="253885"/>
                      <a:pt x="234152" y="243856"/>
                    </a:cubicBezTo>
                    <a:cubicBezTo>
                      <a:pt x="231438" y="239786"/>
                      <a:pt x="229727" y="235155"/>
                      <a:pt x="229137" y="230318"/>
                    </a:cubicBezTo>
                    <a:cubicBezTo>
                      <a:pt x="228547" y="225480"/>
                      <a:pt x="229078" y="220555"/>
                      <a:pt x="230730" y="215983"/>
                    </a:cubicBezTo>
                    <a:cubicBezTo>
                      <a:pt x="233385" y="210054"/>
                      <a:pt x="237013" y="204597"/>
                      <a:pt x="241467" y="199849"/>
                    </a:cubicBezTo>
                    <a:cubicBezTo>
                      <a:pt x="248192" y="192416"/>
                      <a:pt x="253619" y="183921"/>
                      <a:pt x="257512" y="174689"/>
                    </a:cubicBezTo>
                    <a:cubicBezTo>
                      <a:pt x="263765" y="156372"/>
                      <a:pt x="268101" y="137465"/>
                      <a:pt x="270431" y="118234"/>
                    </a:cubicBezTo>
                    <a:cubicBezTo>
                      <a:pt x="272408" y="102837"/>
                      <a:pt x="271169" y="87204"/>
                      <a:pt x="266774" y="72309"/>
                    </a:cubicBezTo>
                    <a:cubicBezTo>
                      <a:pt x="262409" y="57413"/>
                      <a:pt x="254976" y="43609"/>
                      <a:pt x="244977" y="31723"/>
                    </a:cubicBezTo>
                    <a:cubicBezTo>
                      <a:pt x="236600" y="22284"/>
                      <a:pt x="226424" y="14645"/>
                      <a:pt x="215038" y="9217"/>
                    </a:cubicBezTo>
                    <a:cubicBezTo>
                      <a:pt x="203653" y="3790"/>
                      <a:pt x="191294" y="693"/>
                      <a:pt x="178699" y="103"/>
                    </a:cubicBezTo>
                    <a:cubicBezTo>
                      <a:pt x="166105" y="-487"/>
                      <a:pt x="153510" y="1460"/>
                      <a:pt x="141682" y="5825"/>
                    </a:cubicBezTo>
                    <a:cubicBezTo>
                      <a:pt x="129854" y="10191"/>
                      <a:pt x="119000" y="16886"/>
                      <a:pt x="109797" y="25499"/>
                    </a:cubicBezTo>
                    <a:cubicBezTo>
                      <a:pt x="88826" y="48919"/>
                      <a:pt x="78030" y="79712"/>
                      <a:pt x="79741" y="111125"/>
                    </a:cubicBezTo>
                    <a:cubicBezTo>
                      <a:pt x="79653" y="132067"/>
                      <a:pt x="83458" y="152832"/>
                      <a:pt x="90950" y="172388"/>
                    </a:cubicBezTo>
                    <a:cubicBezTo>
                      <a:pt x="97940" y="187431"/>
                      <a:pt x="107644" y="201028"/>
                      <a:pt x="119619" y="212502"/>
                    </a:cubicBezTo>
                    <a:lnTo>
                      <a:pt x="126934" y="220407"/>
                    </a:lnTo>
                    <a:cubicBezTo>
                      <a:pt x="127937" y="229197"/>
                      <a:pt x="127495" y="238105"/>
                      <a:pt x="125637" y="246776"/>
                    </a:cubicBezTo>
                    <a:cubicBezTo>
                      <a:pt x="119413" y="255183"/>
                      <a:pt x="97675" y="256097"/>
                      <a:pt x="90478" y="256805"/>
                    </a:cubicBezTo>
                    <a:lnTo>
                      <a:pt x="82750" y="256805"/>
                    </a:lnTo>
                    <a:cubicBezTo>
                      <a:pt x="63695" y="256805"/>
                      <a:pt x="31928" y="256805"/>
                      <a:pt x="10308" y="290283"/>
                    </a:cubicBezTo>
                    <a:cubicBezTo>
                      <a:pt x="-21046" y="338508"/>
                      <a:pt x="26944" y="518167"/>
                      <a:pt x="50393" y="560966"/>
                    </a:cubicBezTo>
                    <a:cubicBezTo>
                      <a:pt x="53608" y="566983"/>
                      <a:pt x="61218" y="581023"/>
                      <a:pt x="75140" y="581023"/>
                    </a:cubicBezTo>
                    <a:lnTo>
                      <a:pt x="252409" y="581023"/>
                    </a:lnTo>
                    <a:cubicBezTo>
                      <a:pt x="283881" y="581023"/>
                      <a:pt x="305620" y="581023"/>
                      <a:pt x="311843" y="580521"/>
                    </a:cubicBezTo>
                    <a:cubicBezTo>
                      <a:pt x="316091" y="580138"/>
                      <a:pt x="320161" y="578663"/>
                      <a:pt x="323671" y="576244"/>
                    </a:cubicBezTo>
                    <a:cubicBezTo>
                      <a:pt x="327181" y="573826"/>
                      <a:pt x="330013" y="570522"/>
                      <a:pt x="331871" y="566688"/>
                    </a:cubicBezTo>
                    <a:cubicBezTo>
                      <a:pt x="355232" y="527989"/>
                      <a:pt x="379772" y="328893"/>
                      <a:pt x="365231" y="297598"/>
                    </a:cubicBezTo>
                    <a:cubicBezTo>
                      <a:pt x="358860" y="284000"/>
                      <a:pt x="348595" y="272585"/>
                      <a:pt x="335765" y="264828"/>
                    </a:cubicBezTo>
                    <a:cubicBezTo>
                      <a:pt x="322934" y="257041"/>
                      <a:pt x="308068" y="253236"/>
                      <a:pt x="293084" y="253885"/>
                    </a:cubicBezTo>
                    <a:close/>
                    <a:moveTo>
                      <a:pt x="304499" y="548046"/>
                    </a:moveTo>
                    <a:cubicBezTo>
                      <a:pt x="279841" y="548548"/>
                      <a:pt x="193565" y="548046"/>
                      <a:pt x="134751" y="548046"/>
                    </a:cubicBezTo>
                    <a:lnTo>
                      <a:pt x="81127" y="548046"/>
                    </a:lnTo>
                    <a:cubicBezTo>
                      <a:pt x="59979" y="516781"/>
                      <a:pt x="18301" y="339128"/>
                      <a:pt x="38447" y="308128"/>
                    </a:cubicBezTo>
                    <a:cubicBezTo>
                      <a:pt x="50363" y="289781"/>
                      <a:pt x="65613" y="289781"/>
                      <a:pt x="83251" y="289693"/>
                    </a:cubicBezTo>
                    <a:lnTo>
                      <a:pt x="92159" y="289693"/>
                    </a:lnTo>
                    <a:cubicBezTo>
                      <a:pt x="105992" y="289103"/>
                      <a:pt x="138467" y="287776"/>
                      <a:pt x="153776" y="265123"/>
                    </a:cubicBezTo>
                    <a:cubicBezTo>
                      <a:pt x="162683" y="251879"/>
                      <a:pt x="163804" y="211676"/>
                      <a:pt x="155073" y="201854"/>
                    </a:cubicBezTo>
                    <a:cubicBezTo>
                      <a:pt x="151563" y="197754"/>
                      <a:pt x="147847" y="193743"/>
                      <a:pt x="144248" y="189938"/>
                    </a:cubicBezTo>
                    <a:cubicBezTo>
                      <a:pt x="135134" y="181325"/>
                      <a:pt x="127642" y="171120"/>
                      <a:pt x="122097" y="159852"/>
                    </a:cubicBezTo>
                    <a:cubicBezTo>
                      <a:pt x="116168" y="144072"/>
                      <a:pt x="113160" y="127318"/>
                      <a:pt x="113278" y="110417"/>
                    </a:cubicBezTo>
                    <a:cubicBezTo>
                      <a:pt x="111626" y="88001"/>
                      <a:pt x="118823" y="65820"/>
                      <a:pt x="133306" y="48653"/>
                    </a:cubicBezTo>
                    <a:cubicBezTo>
                      <a:pt x="138821" y="43403"/>
                      <a:pt x="145340" y="39303"/>
                      <a:pt x="152448" y="36648"/>
                    </a:cubicBezTo>
                    <a:cubicBezTo>
                      <a:pt x="159586" y="33994"/>
                      <a:pt x="167167" y="32814"/>
                      <a:pt x="174777" y="33197"/>
                    </a:cubicBezTo>
                    <a:cubicBezTo>
                      <a:pt x="183301" y="32961"/>
                      <a:pt x="191766" y="34613"/>
                      <a:pt x="199553" y="38094"/>
                    </a:cubicBezTo>
                    <a:cubicBezTo>
                      <a:pt x="207340" y="41574"/>
                      <a:pt x="214242" y="46736"/>
                      <a:pt x="219758" y="53255"/>
                    </a:cubicBezTo>
                    <a:cubicBezTo>
                      <a:pt x="226542" y="61484"/>
                      <a:pt x="231615" y="71040"/>
                      <a:pt x="234594" y="81276"/>
                    </a:cubicBezTo>
                    <a:cubicBezTo>
                      <a:pt x="237603" y="91540"/>
                      <a:pt x="238458" y="102277"/>
                      <a:pt x="237190" y="112895"/>
                    </a:cubicBezTo>
                    <a:cubicBezTo>
                      <a:pt x="235213" y="129944"/>
                      <a:pt x="231438" y="146756"/>
                      <a:pt x="225981" y="163038"/>
                    </a:cubicBezTo>
                    <a:cubicBezTo>
                      <a:pt x="223297" y="168819"/>
                      <a:pt x="219699" y="174128"/>
                      <a:pt x="215363" y="178789"/>
                    </a:cubicBezTo>
                    <a:cubicBezTo>
                      <a:pt x="208402" y="186428"/>
                      <a:pt x="202886" y="195247"/>
                      <a:pt x="199022" y="204863"/>
                    </a:cubicBezTo>
                    <a:cubicBezTo>
                      <a:pt x="195689" y="214361"/>
                      <a:pt x="194627" y="224537"/>
                      <a:pt x="195925" y="234506"/>
                    </a:cubicBezTo>
                    <a:cubicBezTo>
                      <a:pt x="197223" y="244505"/>
                      <a:pt x="200821" y="254062"/>
                      <a:pt x="206455" y="262409"/>
                    </a:cubicBezTo>
                    <a:cubicBezTo>
                      <a:pt x="223799" y="288189"/>
                      <a:pt x="260757" y="287687"/>
                      <a:pt x="285209" y="287481"/>
                    </a:cubicBezTo>
                    <a:lnTo>
                      <a:pt x="292435" y="287481"/>
                    </a:lnTo>
                    <a:cubicBezTo>
                      <a:pt x="301137" y="286714"/>
                      <a:pt x="309867" y="288601"/>
                      <a:pt x="317477" y="292878"/>
                    </a:cubicBezTo>
                    <a:cubicBezTo>
                      <a:pt x="325087" y="297155"/>
                      <a:pt x="331252" y="303615"/>
                      <a:pt x="335116" y="311431"/>
                    </a:cubicBezTo>
                    <a:cubicBezTo>
                      <a:pt x="345144" y="337299"/>
                      <a:pt x="320987" y="516751"/>
                      <a:pt x="304440" y="5480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4" name="Полилиния: фигура 1193">
                <a:extLst>
                  <a:ext uri="{FF2B5EF4-FFF2-40B4-BE49-F238E27FC236}">
                    <a16:creationId xmlns:a16="http://schemas.microsoft.com/office/drawing/2014/main" id="{E9B57928-5C2E-460A-953B-9C479702485B}"/>
                  </a:ext>
                </a:extLst>
              </p:cNvPr>
              <p:cNvSpPr/>
              <p:nvPr/>
            </p:nvSpPr>
            <p:spPr>
              <a:xfrm>
                <a:off x="10491629" y="2418533"/>
                <a:ext cx="389206" cy="1132074"/>
              </a:xfrm>
              <a:custGeom>
                <a:avLst/>
                <a:gdLst>
                  <a:gd name="connsiteX0" fmla="*/ 389148 w 389206"/>
                  <a:gd name="connsiteY0" fmla="*/ 396833 h 1132074"/>
                  <a:gd name="connsiteX1" fmla="*/ 387850 w 389206"/>
                  <a:gd name="connsiteY1" fmla="*/ 389695 h 1132074"/>
                  <a:gd name="connsiteX2" fmla="*/ 383662 w 389206"/>
                  <a:gd name="connsiteY2" fmla="*/ 383796 h 1132074"/>
                  <a:gd name="connsiteX3" fmla="*/ 377350 w 389206"/>
                  <a:gd name="connsiteY3" fmla="*/ 380227 h 1132074"/>
                  <a:gd name="connsiteX4" fmla="*/ 370123 w 389206"/>
                  <a:gd name="connsiteY4" fmla="*/ 379696 h 1132074"/>
                  <a:gd name="connsiteX5" fmla="*/ 328446 w 389206"/>
                  <a:gd name="connsiteY5" fmla="*/ 371378 h 1132074"/>
                  <a:gd name="connsiteX6" fmla="*/ 290956 w 389206"/>
                  <a:gd name="connsiteY6" fmla="*/ 323742 h 1132074"/>
                  <a:gd name="connsiteX7" fmla="*/ 290160 w 389206"/>
                  <a:gd name="connsiteY7" fmla="*/ 299969 h 1132074"/>
                  <a:gd name="connsiteX8" fmla="*/ 283730 w 389206"/>
                  <a:gd name="connsiteY8" fmla="*/ 260769 h 1132074"/>
                  <a:gd name="connsiteX9" fmla="*/ 273436 w 389206"/>
                  <a:gd name="connsiteY9" fmla="*/ 253867 h 1132074"/>
                  <a:gd name="connsiteX10" fmla="*/ 261077 w 389206"/>
                  <a:gd name="connsiteY10" fmla="*/ 252834 h 1132074"/>
                  <a:gd name="connsiteX11" fmla="*/ 238041 w 389206"/>
                  <a:gd name="connsiteY11" fmla="*/ 246021 h 1132074"/>
                  <a:gd name="connsiteX12" fmla="*/ 236242 w 389206"/>
                  <a:gd name="connsiteY12" fmla="*/ 229680 h 1132074"/>
                  <a:gd name="connsiteX13" fmla="*/ 287446 w 389206"/>
                  <a:gd name="connsiteY13" fmla="*/ 98748 h 1132074"/>
                  <a:gd name="connsiteX14" fmla="*/ 272993 w 389206"/>
                  <a:gd name="connsiteY14" fmla="*/ 52941 h 1132074"/>
                  <a:gd name="connsiteX15" fmla="*/ 241757 w 389206"/>
                  <a:gd name="connsiteY15" fmla="*/ 16455 h 1132074"/>
                  <a:gd name="connsiteX16" fmla="*/ 141560 w 389206"/>
                  <a:gd name="connsiteY16" fmla="*/ 6426 h 1132074"/>
                  <a:gd name="connsiteX17" fmla="*/ 131738 w 389206"/>
                  <a:gd name="connsiteY17" fmla="*/ 14125 h 1132074"/>
                  <a:gd name="connsiteX18" fmla="*/ 130027 w 389206"/>
                  <a:gd name="connsiteY18" fmla="*/ 26484 h 1132074"/>
                  <a:gd name="connsiteX19" fmla="*/ 131945 w 389206"/>
                  <a:gd name="connsiteY19" fmla="*/ 106683 h 1132074"/>
                  <a:gd name="connsiteX20" fmla="*/ 98467 w 389206"/>
                  <a:gd name="connsiteY20" fmla="*/ 159215 h 1132074"/>
                  <a:gd name="connsiteX21" fmla="*/ 94101 w 389206"/>
                  <a:gd name="connsiteY21" fmla="*/ 167179 h 1132074"/>
                  <a:gd name="connsiteX22" fmla="*/ 94573 w 389206"/>
                  <a:gd name="connsiteY22" fmla="*/ 176263 h 1132074"/>
                  <a:gd name="connsiteX23" fmla="*/ 129349 w 389206"/>
                  <a:gd name="connsiteY23" fmla="*/ 230506 h 1132074"/>
                  <a:gd name="connsiteX24" fmla="*/ 128051 w 389206"/>
                  <a:gd name="connsiteY24" fmla="*/ 244841 h 1132074"/>
                  <a:gd name="connsiteX25" fmla="*/ 82156 w 389206"/>
                  <a:gd name="connsiteY25" fmla="*/ 260267 h 1132074"/>
                  <a:gd name="connsiteX26" fmla="*/ 6706 w 389206"/>
                  <a:gd name="connsiteY26" fmla="*/ 295574 h 1132074"/>
                  <a:gd name="connsiteX27" fmla="*/ 187 w 389206"/>
                  <a:gd name="connsiteY27" fmla="*/ 342590 h 1132074"/>
                  <a:gd name="connsiteX28" fmla="*/ 187 w 389206"/>
                  <a:gd name="connsiteY28" fmla="*/ 354034 h 1132074"/>
                  <a:gd name="connsiteX29" fmla="*/ 2488 w 389206"/>
                  <a:gd name="connsiteY29" fmla="*/ 395624 h 1132074"/>
                  <a:gd name="connsiteX30" fmla="*/ 6676 w 389206"/>
                  <a:gd name="connsiteY30" fmla="*/ 405741 h 1132074"/>
                  <a:gd name="connsiteX31" fmla="*/ 16233 w 389206"/>
                  <a:gd name="connsiteY31" fmla="*/ 411079 h 1132074"/>
                  <a:gd name="connsiteX32" fmla="*/ 55728 w 389206"/>
                  <a:gd name="connsiteY32" fmla="*/ 414088 h 1132074"/>
                  <a:gd name="connsiteX33" fmla="*/ 153123 w 389206"/>
                  <a:gd name="connsiteY33" fmla="*/ 432434 h 1132074"/>
                  <a:gd name="connsiteX34" fmla="*/ 234383 w 389206"/>
                  <a:gd name="connsiteY34" fmla="*/ 731286 h 1132074"/>
                  <a:gd name="connsiteX35" fmla="*/ 235150 w 389206"/>
                  <a:gd name="connsiteY35" fmla="*/ 738129 h 1132074"/>
                  <a:gd name="connsiteX36" fmla="*/ 238631 w 389206"/>
                  <a:gd name="connsiteY36" fmla="*/ 744057 h 1132074"/>
                  <a:gd name="connsiteX37" fmla="*/ 244206 w 389206"/>
                  <a:gd name="connsiteY37" fmla="*/ 748098 h 1132074"/>
                  <a:gd name="connsiteX38" fmla="*/ 250931 w 389206"/>
                  <a:gd name="connsiteY38" fmla="*/ 749514 h 1132074"/>
                  <a:gd name="connsiteX39" fmla="*/ 251727 w 389206"/>
                  <a:gd name="connsiteY39" fmla="*/ 749514 h 1132074"/>
                  <a:gd name="connsiteX40" fmla="*/ 328386 w 389206"/>
                  <a:gd name="connsiteY40" fmla="*/ 734766 h 1132074"/>
                  <a:gd name="connsiteX41" fmla="*/ 271342 w 389206"/>
                  <a:gd name="connsiteY41" fmla="*/ 911475 h 1132074"/>
                  <a:gd name="connsiteX42" fmla="*/ 145808 w 389206"/>
                  <a:gd name="connsiteY42" fmla="*/ 1048277 h 1132074"/>
                  <a:gd name="connsiteX43" fmla="*/ 112330 w 389206"/>
                  <a:gd name="connsiteY43" fmla="*/ 990819 h 1132074"/>
                  <a:gd name="connsiteX44" fmla="*/ 82982 w 389206"/>
                  <a:gd name="connsiteY44" fmla="*/ 1101989 h 1132074"/>
                  <a:gd name="connsiteX45" fmla="*/ 193915 w 389206"/>
                  <a:gd name="connsiteY45" fmla="*/ 1132075 h 1132074"/>
                  <a:gd name="connsiteX46" fmla="*/ 162060 w 389206"/>
                  <a:gd name="connsiteY46" fmla="*/ 1077242 h 1132074"/>
                  <a:gd name="connsiteX47" fmla="*/ 361658 w 389206"/>
                  <a:gd name="connsiteY47" fmla="*/ 678518 h 1132074"/>
                  <a:gd name="connsiteX48" fmla="*/ 366967 w 389206"/>
                  <a:gd name="connsiteY48" fmla="*/ 647754 h 1132074"/>
                  <a:gd name="connsiteX49" fmla="*/ 389207 w 389206"/>
                  <a:gd name="connsiteY49" fmla="*/ 396803 h 1132074"/>
                  <a:gd name="connsiteX50" fmla="*/ 334433 w 389206"/>
                  <a:gd name="connsiteY50" fmla="*/ 642975 h 1132074"/>
                  <a:gd name="connsiteX51" fmla="*/ 330628 w 389206"/>
                  <a:gd name="connsiteY51" fmla="*/ 667634 h 1132074"/>
                  <a:gd name="connsiteX52" fmla="*/ 328711 w 389206"/>
                  <a:gd name="connsiteY52" fmla="*/ 676541 h 1132074"/>
                  <a:gd name="connsiteX53" fmla="*/ 328711 w 389206"/>
                  <a:gd name="connsiteY53" fmla="*/ 677043 h 1132074"/>
                  <a:gd name="connsiteX54" fmla="*/ 268599 w 389206"/>
                  <a:gd name="connsiteY54" fmla="*/ 715240 h 1132074"/>
                  <a:gd name="connsiteX55" fmla="*/ 167104 w 389206"/>
                  <a:gd name="connsiteY55" fmla="*/ 402437 h 1132074"/>
                  <a:gd name="connsiteX56" fmla="*/ 56258 w 389206"/>
                  <a:gd name="connsiteY56" fmla="*/ 379991 h 1132074"/>
                  <a:gd name="connsiteX57" fmla="*/ 34314 w 389206"/>
                  <a:gd name="connsiteY57" fmla="*/ 378988 h 1132074"/>
                  <a:gd name="connsiteX58" fmla="*/ 32809 w 389206"/>
                  <a:gd name="connsiteY58" fmla="*/ 352029 h 1132074"/>
                  <a:gd name="connsiteX59" fmla="*/ 32809 w 389206"/>
                  <a:gd name="connsiteY59" fmla="*/ 340997 h 1132074"/>
                  <a:gd name="connsiteX60" fmla="*/ 35021 w 389206"/>
                  <a:gd name="connsiteY60" fmla="*/ 310912 h 1132074"/>
                  <a:gd name="connsiteX61" fmla="*/ 85135 w 389206"/>
                  <a:gd name="connsiteY61" fmla="*/ 292270 h 1132074"/>
                  <a:gd name="connsiteX62" fmla="*/ 156780 w 389206"/>
                  <a:gd name="connsiteY62" fmla="*/ 259589 h 1132074"/>
                  <a:gd name="connsiteX63" fmla="*/ 152179 w 389206"/>
                  <a:gd name="connsiteY63" fmla="*/ 205553 h 1132074"/>
                  <a:gd name="connsiteX64" fmla="*/ 128936 w 389206"/>
                  <a:gd name="connsiteY64" fmla="*/ 173461 h 1132074"/>
                  <a:gd name="connsiteX65" fmla="*/ 162414 w 389206"/>
                  <a:gd name="connsiteY65" fmla="*/ 117331 h 1132074"/>
                  <a:gd name="connsiteX66" fmla="*/ 164921 w 389206"/>
                  <a:gd name="connsiteY66" fmla="*/ 34418 h 1132074"/>
                  <a:gd name="connsiteX67" fmla="*/ 221051 w 389206"/>
                  <a:gd name="connsiteY67" fmla="*/ 42234 h 1132074"/>
                  <a:gd name="connsiteX68" fmla="*/ 243468 w 389206"/>
                  <a:gd name="connsiteY68" fmla="*/ 68279 h 1132074"/>
                  <a:gd name="connsiteX69" fmla="*/ 254116 w 389206"/>
                  <a:gd name="connsiteY69" fmla="*/ 100961 h 1132074"/>
                  <a:gd name="connsiteX70" fmla="*/ 212439 w 389206"/>
                  <a:gd name="connsiteY70" fmla="*/ 205641 h 1132074"/>
                  <a:gd name="connsiteX71" fmla="*/ 205330 w 389206"/>
                  <a:gd name="connsiteY71" fmla="*/ 252067 h 1132074"/>
                  <a:gd name="connsiteX72" fmla="*/ 256948 w 389206"/>
                  <a:gd name="connsiteY72" fmla="*/ 285663 h 1132074"/>
                  <a:gd name="connsiteX73" fmla="*/ 256948 w 389206"/>
                  <a:gd name="connsiteY73" fmla="*/ 298494 h 1132074"/>
                  <a:gd name="connsiteX74" fmla="*/ 258659 w 389206"/>
                  <a:gd name="connsiteY74" fmla="*/ 330969 h 1132074"/>
                  <a:gd name="connsiteX75" fmla="*/ 314789 w 389206"/>
                  <a:gd name="connsiteY75" fmla="*/ 401139 h 1132074"/>
                  <a:gd name="connsiteX76" fmla="*/ 354874 w 389206"/>
                  <a:gd name="connsiteY76" fmla="*/ 412761 h 1132074"/>
                  <a:gd name="connsiteX77" fmla="*/ 334522 w 389206"/>
                  <a:gd name="connsiteY77" fmla="*/ 642946 h 113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9206" h="1132074">
                    <a:moveTo>
                      <a:pt x="389148" y="396833"/>
                    </a:moveTo>
                    <a:cubicBezTo>
                      <a:pt x="389236" y="394385"/>
                      <a:pt x="388794" y="391966"/>
                      <a:pt x="387850" y="389695"/>
                    </a:cubicBezTo>
                    <a:cubicBezTo>
                      <a:pt x="386906" y="387453"/>
                      <a:pt x="385461" y="385418"/>
                      <a:pt x="383662" y="383796"/>
                    </a:cubicBezTo>
                    <a:cubicBezTo>
                      <a:pt x="381833" y="382144"/>
                      <a:pt x="379680" y="380935"/>
                      <a:pt x="377350" y="380227"/>
                    </a:cubicBezTo>
                    <a:cubicBezTo>
                      <a:pt x="375019" y="379519"/>
                      <a:pt x="372542" y="379342"/>
                      <a:pt x="370123" y="379696"/>
                    </a:cubicBezTo>
                    <a:cubicBezTo>
                      <a:pt x="355700" y="381230"/>
                      <a:pt x="341158" y="378309"/>
                      <a:pt x="328446" y="371378"/>
                    </a:cubicBezTo>
                    <a:cubicBezTo>
                      <a:pt x="302991" y="359845"/>
                      <a:pt x="297268" y="350436"/>
                      <a:pt x="290956" y="323742"/>
                    </a:cubicBezTo>
                    <a:cubicBezTo>
                      <a:pt x="289777" y="315867"/>
                      <a:pt x="289511" y="307903"/>
                      <a:pt x="290160" y="299969"/>
                    </a:cubicBezTo>
                    <a:cubicBezTo>
                      <a:pt x="290661" y="285132"/>
                      <a:pt x="291163" y="271092"/>
                      <a:pt x="283730" y="260769"/>
                    </a:cubicBezTo>
                    <a:cubicBezTo>
                      <a:pt x="280928" y="257642"/>
                      <a:pt x="277388" y="255253"/>
                      <a:pt x="273436" y="253867"/>
                    </a:cubicBezTo>
                    <a:cubicBezTo>
                      <a:pt x="269483" y="252480"/>
                      <a:pt x="265236" y="252126"/>
                      <a:pt x="261077" y="252834"/>
                    </a:cubicBezTo>
                    <a:cubicBezTo>
                      <a:pt x="242642" y="252834"/>
                      <a:pt x="238926" y="250534"/>
                      <a:pt x="238041" y="246021"/>
                    </a:cubicBezTo>
                    <a:cubicBezTo>
                      <a:pt x="236979" y="240623"/>
                      <a:pt x="236389" y="235166"/>
                      <a:pt x="236242" y="229680"/>
                    </a:cubicBezTo>
                    <a:cubicBezTo>
                      <a:pt x="276327" y="198297"/>
                      <a:pt x="290750" y="141960"/>
                      <a:pt x="287446" y="98748"/>
                    </a:cubicBezTo>
                    <a:cubicBezTo>
                      <a:pt x="285765" y="82644"/>
                      <a:pt x="280839" y="67070"/>
                      <a:pt x="272993" y="52941"/>
                    </a:cubicBezTo>
                    <a:cubicBezTo>
                      <a:pt x="265148" y="38783"/>
                      <a:pt x="254529" y="26395"/>
                      <a:pt x="241757" y="16455"/>
                    </a:cubicBezTo>
                    <a:cubicBezTo>
                      <a:pt x="205891" y="-11507"/>
                      <a:pt x="147754" y="4126"/>
                      <a:pt x="141560" y="6426"/>
                    </a:cubicBezTo>
                    <a:cubicBezTo>
                      <a:pt x="137431" y="7636"/>
                      <a:pt x="133891" y="10379"/>
                      <a:pt x="131738" y="14125"/>
                    </a:cubicBezTo>
                    <a:cubicBezTo>
                      <a:pt x="129585" y="17871"/>
                      <a:pt x="128966" y="22295"/>
                      <a:pt x="130027" y="26484"/>
                    </a:cubicBezTo>
                    <a:cubicBezTo>
                      <a:pt x="135248" y="47426"/>
                      <a:pt x="138935" y="87953"/>
                      <a:pt x="131945" y="106683"/>
                    </a:cubicBezTo>
                    <a:cubicBezTo>
                      <a:pt x="124630" y="126356"/>
                      <a:pt x="113215" y="144260"/>
                      <a:pt x="98467" y="159215"/>
                    </a:cubicBezTo>
                    <a:cubicBezTo>
                      <a:pt x="96314" y="161427"/>
                      <a:pt x="94780" y="164170"/>
                      <a:pt x="94101" y="167179"/>
                    </a:cubicBezTo>
                    <a:cubicBezTo>
                      <a:pt x="93423" y="170187"/>
                      <a:pt x="93571" y="173343"/>
                      <a:pt x="94573" y="176263"/>
                    </a:cubicBezTo>
                    <a:cubicBezTo>
                      <a:pt x="101063" y="197146"/>
                      <a:pt x="113067" y="215876"/>
                      <a:pt x="129349" y="230506"/>
                    </a:cubicBezTo>
                    <a:cubicBezTo>
                      <a:pt x="129555" y="235314"/>
                      <a:pt x="129113" y="240151"/>
                      <a:pt x="128051" y="244841"/>
                    </a:cubicBezTo>
                    <a:cubicBezTo>
                      <a:pt x="121326" y="255459"/>
                      <a:pt x="106106" y="257878"/>
                      <a:pt x="82156" y="260267"/>
                    </a:cubicBezTo>
                    <a:cubicBezTo>
                      <a:pt x="55905" y="262981"/>
                      <a:pt x="23223" y="266373"/>
                      <a:pt x="6706" y="295574"/>
                    </a:cubicBezTo>
                    <a:cubicBezTo>
                      <a:pt x="-609" y="308493"/>
                      <a:pt x="-226" y="327341"/>
                      <a:pt x="187" y="342590"/>
                    </a:cubicBezTo>
                    <a:lnTo>
                      <a:pt x="187" y="354034"/>
                    </a:lnTo>
                    <a:lnTo>
                      <a:pt x="2488" y="395624"/>
                    </a:lnTo>
                    <a:cubicBezTo>
                      <a:pt x="2694" y="399369"/>
                      <a:pt x="4169" y="402938"/>
                      <a:pt x="6676" y="405741"/>
                    </a:cubicBezTo>
                    <a:cubicBezTo>
                      <a:pt x="9183" y="408543"/>
                      <a:pt x="12546" y="410430"/>
                      <a:pt x="16233" y="411079"/>
                    </a:cubicBezTo>
                    <a:cubicBezTo>
                      <a:pt x="29299" y="412967"/>
                      <a:pt x="42513" y="413970"/>
                      <a:pt x="55728" y="414088"/>
                    </a:cubicBezTo>
                    <a:cubicBezTo>
                      <a:pt x="89146" y="412908"/>
                      <a:pt x="122417" y="419191"/>
                      <a:pt x="153123" y="432434"/>
                    </a:cubicBezTo>
                    <a:cubicBezTo>
                      <a:pt x="240312" y="474436"/>
                      <a:pt x="245415" y="618199"/>
                      <a:pt x="234383" y="731286"/>
                    </a:cubicBezTo>
                    <a:cubicBezTo>
                      <a:pt x="234148" y="733586"/>
                      <a:pt x="234413" y="735917"/>
                      <a:pt x="235150" y="738129"/>
                    </a:cubicBezTo>
                    <a:cubicBezTo>
                      <a:pt x="235888" y="740341"/>
                      <a:pt x="237068" y="742347"/>
                      <a:pt x="238631" y="744057"/>
                    </a:cubicBezTo>
                    <a:cubicBezTo>
                      <a:pt x="240194" y="745768"/>
                      <a:pt x="242082" y="747154"/>
                      <a:pt x="244206" y="748098"/>
                    </a:cubicBezTo>
                    <a:cubicBezTo>
                      <a:pt x="246329" y="749042"/>
                      <a:pt x="248600" y="749514"/>
                      <a:pt x="250931" y="749514"/>
                    </a:cubicBezTo>
                    <a:lnTo>
                      <a:pt x="251727" y="749514"/>
                    </a:lnTo>
                    <a:cubicBezTo>
                      <a:pt x="287712" y="747803"/>
                      <a:pt x="311839" y="744205"/>
                      <a:pt x="328386" y="734766"/>
                    </a:cubicBezTo>
                    <a:cubicBezTo>
                      <a:pt x="322310" y="797091"/>
                      <a:pt x="302843" y="857380"/>
                      <a:pt x="271342" y="911475"/>
                    </a:cubicBezTo>
                    <a:cubicBezTo>
                      <a:pt x="239840" y="965571"/>
                      <a:pt x="197012" y="1012233"/>
                      <a:pt x="145808" y="1048277"/>
                    </a:cubicBezTo>
                    <a:lnTo>
                      <a:pt x="112330" y="990819"/>
                    </a:lnTo>
                    <a:lnTo>
                      <a:pt x="82982" y="1101989"/>
                    </a:lnTo>
                    <a:lnTo>
                      <a:pt x="193915" y="1132075"/>
                    </a:lnTo>
                    <a:lnTo>
                      <a:pt x="162060" y="1077242"/>
                    </a:lnTo>
                    <a:cubicBezTo>
                      <a:pt x="291723" y="987811"/>
                      <a:pt x="370801" y="831099"/>
                      <a:pt x="361658" y="678518"/>
                    </a:cubicBezTo>
                    <a:cubicBezTo>
                      <a:pt x="363663" y="669492"/>
                      <a:pt x="365374" y="659257"/>
                      <a:pt x="366967" y="647754"/>
                    </a:cubicBezTo>
                    <a:cubicBezTo>
                      <a:pt x="378205" y="568941"/>
                      <a:pt x="385520" y="484347"/>
                      <a:pt x="389207" y="396803"/>
                    </a:cubicBezTo>
                    <a:close/>
                    <a:moveTo>
                      <a:pt x="334433" y="642975"/>
                    </a:moveTo>
                    <a:cubicBezTo>
                      <a:pt x="333135" y="652502"/>
                      <a:pt x="331926" y="660525"/>
                      <a:pt x="330628" y="667634"/>
                    </a:cubicBezTo>
                    <a:cubicBezTo>
                      <a:pt x="329153" y="670377"/>
                      <a:pt x="328505" y="673474"/>
                      <a:pt x="328711" y="676541"/>
                    </a:cubicBezTo>
                    <a:lnTo>
                      <a:pt x="328711" y="677043"/>
                    </a:lnTo>
                    <a:cubicBezTo>
                      <a:pt x="321809" y="707129"/>
                      <a:pt x="310276" y="712644"/>
                      <a:pt x="268599" y="715240"/>
                    </a:cubicBezTo>
                    <a:cubicBezTo>
                      <a:pt x="281931" y="546613"/>
                      <a:pt x="247863" y="441430"/>
                      <a:pt x="167104" y="402437"/>
                    </a:cubicBezTo>
                    <a:cubicBezTo>
                      <a:pt x="132269" y="386804"/>
                      <a:pt x="94426" y="379135"/>
                      <a:pt x="56258" y="379991"/>
                    </a:cubicBezTo>
                    <a:cubicBezTo>
                      <a:pt x="48649" y="379991"/>
                      <a:pt x="41216" y="379991"/>
                      <a:pt x="34314" y="378988"/>
                    </a:cubicBezTo>
                    <a:lnTo>
                      <a:pt x="32809" y="352029"/>
                    </a:lnTo>
                    <a:lnTo>
                      <a:pt x="32809" y="340997"/>
                    </a:lnTo>
                    <a:cubicBezTo>
                      <a:pt x="31865" y="330910"/>
                      <a:pt x="32603" y="320763"/>
                      <a:pt x="35021" y="310912"/>
                    </a:cubicBezTo>
                    <a:cubicBezTo>
                      <a:pt x="42543" y="297579"/>
                      <a:pt x="58972" y="294984"/>
                      <a:pt x="85135" y="292270"/>
                    </a:cubicBezTo>
                    <a:cubicBezTo>
                      <a:pt x="111298" y="289557"/>
                      <a:pt x="141354" y="286460"/>
                      <a:pt x="156780" y="259589"/>
                    </a:cubicBezTo>
                    <a:cubicBezTo>
                      <a:pt x="160673" y="252864"/>
                      <a:pt x="168814" y="218177"/>
                      <a:pt x="152179" y="205553"/>
                    </a:cubicBezTo>
                    <a:cubicBezTo>
                      <a:pt x="141855" y="196969"/>
                      <a:pt x="133862" y="185938"/>
                      <a:pt x="128936" y="173461"/>
                    </a:cubicBezTo>
                    <a:cubicBezTo>
                      <a:pt x="143389" y="156914"/>
                      <a:pt x="154715" y="137889"/>
                      <a:pt x="162414" y="117331"/>
                    </a:cubicBezTo>
                    <a:cubicBezTo>
                      <a:pt x="171440" y="93469"/>
                      <a:pt x="168519" y="57189"/>
                      <a:pt x="164921" y="34418"/>
                    </a:cubicBezTo>
                    <a:cubicBezTo>
                      <a:pt x="182147" y="31822"/>
                      <a:pt x="206923" y="31203"/>
                      <a:pt x="221051" y="42234"/>
                    </a:cubicBezTo>
                    <a:cubicBezTo>
                      <a:pt x="230166" y="49343"/>
                      <a:pt x="237805" y="58192"/>
                      <a:pt x="243468" y="68279"/>
                    </a:cubicBezTo>
                    <a:cubicBezTo>
                      <a:pt x="249131" y="78367"/>
                      <a:pt x="252759" y="89487"/>
                      <a:pt x="254116" y="100961"/>
                    </a:cubicBezTo>
                    <a:cubicBezTo>
                      <a:pt x="256712" y="135235"/>
                      <a:pt x="244796" y="182664"/>
                      <a:pt x="212439" y="205641"/>
                    </a:cubicBezTo>
                    <a:cubicBezTo>
                      <a:pt x="208221" y="208650"/>
                      <a:pt x="198222" y="215670"/>
                      <a:pt x="205330" y="252067"/>
                    </a:cubicBezTo>
                    <a:cubicBezTo>
                      <a:pt x="211347" y="282832"/>
                      <a:pt x="241403" y="285545"/>
                      <a:pt x="256948" y="285663"/>
                    </a:cubicBezTo>
                    <a:lnTo>
                      <a:pt x="256948" y="298494"/>
                    </a:lnTo>
                    <a:cubicBezTo>
                      <a:pt x="256122" y="309348"/>
                      <a:pt x="256682" y="320262"/>
                      <a:pt x="258659" y="330969"/>
                    </a:cubicBezTo>
                    <a:cubicBezTo>
                      <a:pt x="266563" y="364358"/>
                      <a:pt x="277388" y="384297"/>
                      <a:pt x="314789" y="401139"/>
                    </a:cubicBezTo>
                    <a:cubicBezTo>
                      <a:pt x="327384" y="407304"/>
                      <a:pt x="340952" y="411227"/>
                      <a:pt x="354874" y="412761"/>
                    </a:cubicBezTo>
                    <a:cubicBezTo>
                      <a:pt x="351452" y="493668"/>
                      <a:pt x="344462" y="570858"/>
                      <a:pt x="334522" y="642946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5" name="Полилиния: фигура 1194">
                <a:extLst>
                  <a:ext uri="{FF2B5EF4-FFF2-40B4-BE49-F238E27FC236}">
                    <a16:creationId xmlns:a16="http://schemas.microsoft.com/office/drawing/2014/main" id="{91B8B889-595D-4C09-95B9-8B62B268FC5A}"/>
                  </a:ext>
                </a:extLst>
              </p:cNvPr>
              <p:cNvSpPr/>
              <p:nvPr/>
            </p:nvSpPr>
            <p:spPr>
              <a:xfrm>
                <a:off x="9410517" y="2575586"/>
                <a:ext cx="369442" cy="1013749"/>
              </a:xfrm>
              <a:custGeom>
                <a:avLst/>
                <a:gdLst>
                  <a:gd name="connsiteX0" fmla="*/ 292935 w 369442"/>
                  <a:gd name="connsiteY0" fmla="*/ 253525 h 1013749"/>
                  <a:gd name="connsiteX1" fmla="*/ 285207 w 369442"/>
                  <a:gd name="connsiteY1" fmla="*/ 253525 h 1013749"/>
                  <a:gd name="connsiteX2" fmla="*/ 234298 w 369442"/>
                  <a:gd name="connsiteY2" fmla="*/ 243497 h 1013749"/>
                  <a:gd name="connsiteX3" fmla="*/ 229136 w 369442"/>
                  <a:gd name="connsiteY3" fmla="*/ 229988 h 1013749"/>
                  <a:gd name="connsiteX4" fmla="*/ 230581 w 369442"/>
                  <a:gd name="connsiteY4" fmla="*/ 215623 h 1013749"/>
                  <a:gd name="connsiteX5" fmla="*/ 241288 w 369442"/>
                  <a:gd name="connsiteY5" fmla="*/ 199489 h 1013749"/>
                  <a:gd name="connsiteX6" fmla="*/ 257334 w 369442"/>
                  <a:gd name="connsiteY6" fmla="*/ 174329 h 1013749"/>
                  <a:gd name="connsiteX7" fmla="*/ 270253 w 369442"/>
                  <a:gd name="connsiteY7" fmla="*/ 117874 h 1013749"/>
                  <a:gd name="connsiteX8" fmla="*/ 266655 w 369442"/>
                  <a:gd name="connsiteY8" fmla="*/ 72185 h 1013749"/>
                  <a:gd name="connsiteX9" fmla="*/ 245093 w 369442"/>
                  <a:gd name="connsiteY9" fmla="*/ 31746 h 1013749"/>
                  <a:gd name="connsiteX10" fmla="*/ 213562 w 369442"/>
                  <a:gd name="connsiteY10" fmla="*/ 8032 h 1013749"/>
                  <a:gd name="connsiteX11" fmla="*/ 174952 w 369442"/>
                  <a:gd name="connsiteY11" fmla="*/ 38 h 1013749"/>
                  <a:gd name="connsiteX12" fmla="*/ 139646 w 369442"/>
                  <a:gd name="connsiteY12" fmla="*/ 6203 h 1013749"/>
                  <a:gd name="connsiteX13" fmla="*/ 109619 w 369442"/>
                  <a:gd name="connsiteY13" fmla="*/ 25788 h 1013749"/>
                  <a:gd name="connsiteX14" fmla="*/ 79563 w 369442"/>
                  <a:gd name="connsiteY14" fmla="*/ 111415 h 1013749"/>
                  <a:gd name="connsiteX15" fmla="*/ 90801 w 369442"/>
                  <a:gd name="connsiteY15" fmla="*/ 172677 h 1013749"/>
                  <a:gd name="connsiteX16" fmla="*/ 119471 w 369442"/>
                  <a:gd name="connsiteY16" fmla="*/ 212792 h 1013749"/>
                  <a:gd name="connsiteX17" fmla="*/ 126786 w 369442"/>
                  <a:gd name="connsiteY17" fmla="*/ 220726 h 1013749"/>
                  <a:gd name="connsiteX18" fmla="*/ 125488 w 369442"/>
                  <a:gd name="connsiteY18" fmla="*/ 247095 h 1013749"/>
                  <a:gd name="connsiteX19" fmla="*/ 90329 w 369442"/>
                  <a:gd name="connsiteY19" fmla="*/ 257124 h 1013749"/>
                  <a:gd name="connsiteX20" fmla="*/ 82601 w 369442"/>
                  <a:gd name="connsiteY20" fmla="*/ 257124 h 1013749"/>
                  <a:gd name="connsiteX21" fmla="*/ 10159 w 369442"/>
                  <a:gd name="connsiteY21" fmla="*/ 290601 h 1013749"/>
                  <a:gd name="connsiteX22" fmla="*/ 48032 w 369442"/>
                  <a:gd name="connsiteY22" fmla="*/ 557391 h 1013749"/>
                  <a:gd name="connsiteX23" fmla="*/ 247836 w 369442"/>
                  <a:gd name="connsiteY23" fmla="*/ 958917 h 1013749"/>
                  <a:gd name="connsiteX24" fmla="*/ 215981 w 369442"/>
                  <a:gd name="connsiteY24" fmla="*/ 1013750 h 1013749"/>
                  <a:gd name="connsiteX25" fmla="*/ 326914 w 369442"/>
                  <a:gd name="connsiteY25" fmla="*/ 983664 h 1013749"/>
                  <a:gd name="connsiteX26" fmla="*/ 298068 w 369442"/>
                  <a:gd name="connsiteY26" fmla="*/ 872495 h 1013749"/>
                  <a:gd name="connsiteX27" fmla="*/ 264590 w 369442"/>
                  <a:gd name="connsiteY27" fmla="*/ 929952 h 1013749"/>
                  <a:gd name="connsiteX28" fmla="*/ 80713 w 369442"/>
                  <a:gd name="connsiteY28" fmla="*/ 580752 h 1013749"/>
                  <a:gd name="connsiteX29" fmla="*/ 252674 w 369442"/>
                  <a:gd name="connsiteY29" fmla="*/ 580752 h 1013749"/>
                  <a:gd name="connsiteX30" fmla="*/ 312108 w 369442"/>
                  <a:gd name="connsiteY30" fmla="*/ 580250 h 1013749"/>
                  <a:gd name="connsiteX31" fmla="*/ 323935 w 369442"/>
                  <a:gd name="connsiteY31" fmla="*/ 575973 h 1013749"/>
                  <a:gd name="connsiteX32" fmla="*/ 332135 w 369442"/>
                  <a:gd name="connsiteY32" fmla="*/ 566417 h 1013749"/>
                  <a:gd name="connsiteX33" fmla="*/ 365112 w 369442"/>
                  <a:gd name="connsiteY33" fmla="*/ 297238 h 1013749"/>
                  <a:gd name="connsiteX34" fmla="*/ 335645 w 369442"/>
                  <a:gd name="connsiteY34" fmla="*/ 264468 h 1013749"/>
                  <a:gd name="connsiteX35" fmla="*/ 292965 w 369442"/>
                  <a:gd name="connsiteY35" fmla="*/ 253525 h 1013749"/>
                  <a:gd name="connsiteX36" fmla="*/ 304350 w 369442"/>
                  <a:gd name="connsiteY36" fmla="*/ 547864 h 1013749"/>
                  <a:gd name="connsiteX37" fmla="*/ 134602 w 369442"/>
                  <a:gd name="connsiteY37" fmla="*/ 547864 h 1013749"/>
                  <a:gd name="connsiteX38" fmla="*/ 80979 w 369442"/>
                  <a:gd name="connsiteY38" fmla="*/ 547864 h 1013749"/>
                  <a:gd name="connsiteX39" fmla="*/ 38298 w 369442"/>
                  <a:gd name="connsiteY39" fmla="*/ 308152 h 1013749"/>
                  <a:gd name="connsiteX40" fmla="*/ 83102 w 369442"/>
                  <a:gd name="connsiteY40" fmla="*/ 289717 h 1013749"/>
                  <a:gd name="connsiteX41" fmla="*/ 91833 w 369442"/>
                  <a:gd name="connsiteY41" fmla="*/ 289717 h 1013749"/>
                  <a:gd name="connsiteX42" fmla="*/ 153450 w 369442"/>
                  <a:gd name="connsiteY42" fmla="*/ 265147 h 1013749"/>
                  <a:gd name="connsiteX43" fmla="*/ 154748 w 369442"/>
                  <a:gd name="connsiteY43" fmla="*/ 201878 h 1013749"/>
                  <a:gd name="connsiteX44" fmla="*/ 143923 w 369442"/>
                  <a:gd name="connsiteY44" fmla="*/ 189932 h 1013749"/>
                  <a:gd name="connsiteX45" fmla="*/ 121771 w 369442"/>
                  <a:gd name="connsiteY45" fmla="*/ 159847 h 1013749"/>
                  <a:gd name="connsiteX46" fmla="*/ 112952 w 369442"/>
                  <a:gd name="connsiteY46" fmla="*/ 110412 h 1013749"/>
                  <a:gd name="connsiteX47" fmla="*/ 132980 w 369442"/>
                  <a:gd name="connsiteY47" fmla="*/ 48648 h 1013749"/>
                  <a:gd name="connsiteX48" fmla="*/ 152181 w 369442"/>
                  <a:gd name="connsiteY48" fmla="*/ 36377 h 1013749"/>
                  <a:gd name="connsiteX49" fmla="*/ 174657 w 369442"/>
                  <a:gd name="connsiteY49" fmla="*/ 32808 h 1013749"/>
                  <a:gd name="connsiteX50" fmla="*/ 199434 w 369442"/>
                  <a:gd name="connsiteY50" fmla="*/ 37705 h 1013749"/>
                  <a:gd name="connsiteX51" fmla="*/ 219638 w 369442"/>
                  <a:gd name="connsiteY51" fmla="*/ 52865 h 1013749"/>
                  <a:gd name="connsiteX52" fmla="*/ 234475 w 369442"/>
                  <a:gd name="connsiteY52" fmla="*/ 80857 h 1013749"/>
                  <a:gd name="connsiteX53" fmla="*/ 237070 w 369442"/>
                  <a:gd name="connsiteY53" fmla="*/ 112417 h 1013749"/>
                  <a:gd name="connsiteX54" fmla="*/ 225862 w 369442"/>
                  <a:gd name="connsiteY54" fmla="*/ 162531 h 1013749"/>
                  <a:gd name="connsiteX55" fmla="*/ 215243 w 369442"/>
                  <a:gd name="connsiteY55" fmla="*/ 178282 h 1013749"/>
                  <a:gd name="connsiteX56" fmla="*/ 198903 w 369442"/>
                  <a:gd name="connsiteY56" fmla="*/ 204356 h 1013749"/>
                  <a:gd name="connsiteX57" fmla="*/ 195806 w 369442"/>
                  <a:gd name="connsiteY57" fmla="*/ 233999 h 1013749"/>
                  <a:gd name="connsiteX58" fmla="*/ 206336 w 369442"/>
                  <a:gd name="connsiteY58" fmla="*/ 261902 h 1013749"/>
                  <a:gd name="connsiteX59" fmla="*/ 285591 w 369442"/>
                  <a:gd name="connsiteY59" fmla="*/ 287180 h 1013749"/>
                  <a:gd name="connsiteX60" fmla="*/ 292817 w 369442"/>
                  <a:gd name="connsiteY60" fmla="*/ 287180 h 1013749"/>
                  <a:gd name="connsiteX61" fmla="*/ 317594 w 369442"/>
                  <a:gd name="connsiteY61" fmla="*/ 292932 h 1013749"/>
                  <a:gd name="connsiteX62" fmla="*/ 334908 w 369442"/>
                  <a:gd name="connsiteY62" fmla="*/ 311544 h 1013749"/>
                  <a:gd name="connsiteX63" fmla="*/ 304350 w 369442"/>
                  <a:gd name="connsiteY63" fmla="*/ 547834 h 1013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9442" h="1013749">
                    <a:moveTo>
                      <a:pt x="292935" y="253525"/>
                    </a:moveTo>
                    <a:lnTo>
                      <a:pt x="285207" y="253525"/>
                    </a:lnTo>
                    <a:cubicBezTo>
                      <a:pt x="268867" y="253525"/>
                      <a:pt x="241613" y="253525"/>
                      <a:pt x="234298" y="243497"/>
                    </a:cubicBezTo>
                    <a:cubicBezTo>
                      <a:pt x="231555" y="239456"/>
                      <a:pt x="229785" y="234825"/>
                      <a:pt x="229136" y="229988"/>
                    </a:cubicBezTo>
                    <a:cubicBezTo>
                      <a:pt x="228487" y="225150"/>
                      <a:pt x="228988" y="220225"/>
                      <a:pt x="230581" y="215623"/>
                    </a:cubicBezTo>
                    <a:cubicBezTo>
                      <a:pt x="233236" y="209695"/>
                      <a:pt x="236864" y="204238"/>
                      <a:pt x="241288" y="199489"/>
                    </a:cubicBezTo>
                    <a:cubicBezTo>
                      <a:pt x="248013" y="192086"/>
                      <a:pt x="253440" y="183561"/>
                      <a:pt x="257334" y="174329"/>
                    </a:cubicBezTo>
                    <a:cubicBezTo>
                      <a:pt x="263617" y="156012"/>
                      <a:pt x="267952" y="137105"/>
                      <a:pt x="270253" y="117874"/>
                    </a:cubicBezTo>
                    <a:cubicBezTo>
                      <a:pt x="272200" y="102566"/>
                      <a:pt x="270990" y="86992"/>
                      <a:pt x="266655" y="72185"/>
                    </a:cubicBezTo>
                    <a:cubicBezTo>
                      <a:pt x="262319" y="57378"/>
                      <a:pt x="254974" y="43604"/>
                      <a:pt x="245093" y="31746"/>
                    </a:cubicBezTo>
                    <a:cubicBezTo>
                      <a:pt x="236451" y="21629"/>
                      <a:pt x="225685" y="13518"/>
                      <a:pt x="213562" y="8032"/>
                    </a:cubicBezTo>
                    <a:cubicBezTo>
                      <a:pt x="201439" y="2546"/>
                      <a:pt x="188255" y="-168"/>
                      <a:pt x="174952" y="38"/>
                    </a:cubicBezTo>
                    <a:cubicBezTo>
                      <a:pt x="162888" y="-316"/>
                      <a:pt x="150884" y="1779"/>
                      <a:pt x="139646" y="6203"/>
                    </a:cubicBezTo>
                    <a:cubicBezTo>
                      <a:pt x="128408" y="10627"/>
                      <a:pt x="118202" y="17293"/>
                      <a:pt x="109619" y="25788"/>
                    </a:cubicBezTo>
                    <a:cubicBezTo>
                      <a:pt x="88648" y="49208"/>
                      <a:pt x="77852" y="80002"/>
                      <a:pt x="79563" y="111415"/>
                    </a:cubicBezTo>
                    <a:cubicBezTo>
                      <a:pt x="79504" y="132357"/>
                      <a:pt x="83309" y="153122"/>
                      <a:pt x="90801" y="172677"/>
                    </a:cubicBezTo>
                    <a:cubicBezTo>
                      <a:pt x="97791" y="187720"/>
                      <a:pt x="107495" y="201318"/>
                      <a:pt x="119471" y="212792"/>
                    </a:cubicBezTo>
                    <a:lnTo>
                      <a:pt x="126786" y="220726"/>
                    </a:lnTo>
                    <a:cubicBezTo>
                      <a:pt x="127788" y="229516"/>
                      <a:pt x="127346" y="238423"/>
                      <a:pt x="125488" y="247095"/>
                    </a:cubicBezTo>
                    <a:cubicBezTo>
                      <a:pt x="119382" y="255531"/>
                      <a:pt x="97526" y="256416"/>
                      <a:pt x="90329" y="257124"/>
                    </a:cubicBezTo>
                    <a:lnTo>
                      <a:pt x="82601" y="257124"/>
                    </a:lnTo>
                    <a:cubicBezTo>
                      <a:pt x="63547" y="257124"/>
                      <a:pt x="31809" y="257124"/>
                      <a:pt x="10159" y="290601"/>
                    </a:cubicBezTo>
                    <a:cubicBezTo>
                      <a:pt x="-19897" y="337323"/>
                      <a:pt x="23993" y="507750"/>
                      <a:pt x="48032" y="557391"/>
                    </a:cubicBezTo>
                    <a:cubicBezTo>
                      <a:pt x="37797" y="710091"/>
                      <a:pt x="117288" y="868690"/>
                      <a:pt x="247836" y="958917"/>
                    </a:cubicBezTo>
                    <a:lnTo>
                      <a:pt x="215981" y="1013750"/>
                    </a:lnTo>
                    <a:lnTo>
                      <a:pt x="326914" y="983664"/>
                    </a:lnTo>
                    <a:lnTo>
                      <a:pt x="298068" y="872495"/>
                    </a:lnTo>
                    <a:lnTo>
                      <a:pt x="264590" y="929952"/>
                    </a:lnTo>
                    <a:cubicBezTo>
                      <a:pt x="150766" y="850461"/>
                      <a:pt x="79504" y="715105"/>
                      <a:pt x="80713" y="580752"/>
                    </a:cubicBezTo>
                    <a:lnTo>
                      <a:pt x="252674" y="580752"/>
                    </a:lnTo>
                    <a:cubicBezTo>
                      <a:pt x="284146" y="580752"/>
                      <a:pt x="305884" y="580752"/>
                      <a:pt x="312108" y="580250"/>
                    </a:cubicBezTo>
                    <a:cubicBezTo>
                      <a:pt x="316355" y="579867"/>
                      <a:pt x="320425" y="578392"/>
                      <a:pt x="323935" y="575973"/>
                    </a:cubicBezTo>
                    <a:cubicBezTo>
                      <a:pt x="327445" y="573555"/>
                      <a:pt x="330277" y="570251"/>
                      <a:pt x="332135" y="566417"/>
                    </a:cubicBezTo>
                    <a:cubicBezTo>
                      <a:pt x="354876" y="527807"/>
                      <a:pt x="379623" y="328622"/>
                      <a:pt x="365112" y="297238"/>
                    </a:cubicBezTo>
                    <a:cubicBezTo>
                      <a:pt x="358740" y="283641"/>
                      <a:pt x="348476" y="272226"/>
                      <a:pt x="335645" y="264468"/>
                    </a:cubicBezTo>
                    <a:cubicBezTo>
                      <a:pt x="322815" y="256681"/>
                      <a:pt x="307949" y="252876"/>
                      <a:pt x="292965" y="253525"/>
                    </a:cubicBezTo>
                    <a:close/>
                    <a:moveTo>
                      <a:pt x="304350" y="547864"/>
                    </a:moveTo>
                    <a:cubicBezTo>
                      <a:pt x="279692" y="548365"/>
                      <a:pt x="193417" y="547864"/>
                      <a:pt x="134602" y="547864"/>
                    </a:cubicBezTo>
                    <a:lnTo>
                      <a:pt x="80979" y="547864"/>
                    </a:lnTo>
                    <a:cubicBezTo>
                      <a:pt x="59830" y="516893"/>
                      <a:pt x="18153" y="339122"/>
                      <a:pt x="38298" y="308152"/>
                    </a:cubicBezTo>
                    <a:cubicBezTo>
                      <a:pt x="50215" y="289894"/>
                      <a:pt x="65464" y="289805"/>
                      <a:pt x="83102" y="289717"/>
                    </a:cubicBezTo>
                    <a:lnTo>
                      <a:pt x="91833" y="289717"/>
                    </a:lnTo>
                    <a:cubicBezTo>
                      <a:pt x="105667" y="289127"/>
                      <a:pt x="138141" y="287799"/>
                      <a:pt x="153450" y="265147"/>
                    </a:cubicBezTo>
                    <a:cubicBezTo>
                      <a:pt x="162358" y="251903"/>
                      <a:pt x="163478" y="211700"/>
                      <a:pt x="154748" y="201878"/>
                    </a:cubicBezTo>
                    <a:cubicBezTo>
                      <a:pt x="151238" y="197778"/>
                      <a:pt x="147521" y="193767"/>
                      <a:pt x="143923" y="189932"/>
                    </a:cubicBezTo>
                    <a:cubicBezTo>
                      <a:pt x="134808" y="181320"/>
                      <a:pt x="127317" y="171114"/>
                      <a:pt x="121771" y="159847"/>
                    </a:cubicBezTo>
                    <a:cubicBezTo>
                      <a:pt x="115843" y="144066"/>
                      <a:pt x="112834" y="127283"/>
                      <a:pt x="112952" y="110412"/>
                    </a:cubicBezTo>
                    <a:cubicBezTo>
                      <a:pt x="111300" y="87995"/>
                      <a:pt x="118497" y="65814"/>
                      <a:pt x="132980" y="48648"/>
                    </a:cubicBezTo>
                    <a:cubicBezTo>
                      <a:pt x="138466" y="43279"/>
                      <a:pt x="145014" y="39120"/>
                      <a:pt x="152181" y="36377"/>
                    </a:cubicBezTo>
                    <a:cubicBezTo>
                      <a:pt x="159349" y="33664"/>
                      <a:pt x="167018" y="32425"/>
                      <a:pt x="174657" y="32808"/>
                    </a:cubicBezTo>
                    <a:cubicBezTo>
                      <a:pt x="183182" y="32572"/>
                      <a:pt x="191647" y="34224"/>
                      <a:pt x="199434" y="37705"/>
                    </a:cubicBezTo>
                    <a:cubicBezTo>
                      <a:pt x="207221" y="41185"/>
                      <a:pt x="214123" y="46347"/>
                      <a:pt x="219638" y="52865"/>
                    </a:cubicBezTo>
                    <a:cubicBezTo>
                      <a:pt x="226422" y="61095"/>
                      <a:pt x="231466" y="70622"/>
                      <a:pt x="234475" y="80857"/>
                    </a:cubicBezTo>
                    <a:cubicBezTo>
                      <a:pt x="237483" y="91092"/>
                      <a:pt x="238368" y="101828"/>
                      <a:pt x="237070" y="112417"/>
                    </a:cubicBezTo>
                    <a:cubicBezTo>
                      <a:pt x="235094" y="129466"/>
                      <a:pt x="231348" y="146279"/>
                      <a:pt x="225862" y="162531"/>
                    </a:cubicBezTo>
                    <a:cubicBezTo>
                      <a:pt x="223178" y="168312"/>
                      <a:pt x="219579" y="173621"/>
                      <a:pt x="215243" y="178282"/>
                    </a:cubicBezTo>
                    <a:cubicBezTo>
                      <a:pt x="208282" y="185921"/>
                      <a:pt x="202767" y="194740"/>
                      <a:pt x="198903" y="204356"/>
                    </a:cubicBezTo>
                    <a:cubicBezTo>
                      <a:pt x="195570" y="213853"/>
                      <a:pt x="194508" y="224029"/>
                      <a:pt x="195806" y="233999"/>
                    </a:cubicBezTo>
                    <a:cubicBezTo>
                      <a:pt x="197104" y="243998"/>
                      <a:pt x="200702" y="253555"/>
                      <a:pt x="206336" y="261902"/>
                    </a:cubicBezTo>
                    <a:cubicBezTo>
                      <a:pt x="224181" y="287180"/>
                      <a:pt x="261139" y="287180"/>
                      <a:pt x="285591" y="287180"/>
                    </a:cubicBezTo>
                    <a:lnTo>
                      <a:pt x="292817" y="287180"/>
                    </a:lnTo>
                    <a:cubicBezTo>
                      <a:pt x="301460" y="286590"/>
                      <a:pt x="310072" y="288596"/>
                      <a:pt x="317594" y="292932"/>
                    </a:cubicBezTo>
                    <a:cubicBezTo>
                      <a:pt x="325086" y="297268"/>
                      <a:pt x="331132" y="303757"/>
                      <a:pt x="334908" y="311544"/>
                    </a:cubicBezTo>
                    <a:cubicBezTo>
                      <a:pt x="344730" y="337293"/>
                      <a:pt x="320868" y="516274"/>
                      <a:pt x="304350" y="547834"/>
                    </a:cubicBez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6" name="Полилиния: фигура 1195">
                <a:extLst>
                  <a:ext uri="{FF2B5EF4-FFF2-40B4-BE49-F238E27FC236}">
                    <a16:creationId xmlns:a16="http://schemas.microsoft.com/office/drawing/2014/main" id="{6DB8F65C-4F45-41E2-AA0A-7E8B00558408}"/>
                  </a:ext>
                </a:extLst>
              </p:cNvPr>
              <p:cNvSpPr/>
              <p:nvPr/>
            </p:nvSpPr>
            <p:spPr>
              <a:xfrm>
                <a:off x="9141588" y="2080803"/>
                <a:ext cx="2020578" cy="2005124"/>
              </a:xfrm>
              <a:custGeom>
                <a:avLst/>
                <a:gdLst>
                  <a:gd name="connsiteX0" fmla="*/ 1010289 w 2020578"/>
                  <a:gd name="connsiteY0" fmla="*/ 0 h 2005124"/>
                  <a:gd name="connsiteX1" fmla="*/ 0 w 2020578"/>
                  <a:gd name="connsiteY1" fmla="*/ 1002562 h 2005124"/>
                  <a:gd name="connsiteX2" fmla="*/ 1010289 w 2020578"/>
                  <a:gd name="connsiteY2" fmla="*/ 2005124 h 2005124"/>
                  <a:gd name="connsiteX3" fmla="*/ 2020579 w 2020578"/>
                  <a:gd name="connsiteY3" fmla="*/ 1002562 h 2005124"/>
                  <a:gd name="connsiteX4" fmla="*/ 1010289 w 2020578"/>
                  <a:gd name="connsiteY4" fmla="*/ 0 h 2005124"/>
                  <a:gd name="connsiteX5" fmla="*/ 1212513 w 2020578"/>
                  <a:gd name="connsiteY5" fmla="*/ 1827854 h 2005124"/>
                  <a:gd name="connsiteX6" fmla="*/ 1204283 w 2020578"/>
                  <a:gd name="connsiteY6" fmla="*/ 1953182 h 2005124"/>
                  <a:gd name="connsiteX7" fmla="*/ 843550 w 2020578"/>
                  <a:gd name="connsiteY7" fmla="*/ 1958403 h 2005124"/>
                  <a:gd name="connsiteX8" fmla="*/ 829923 w 2020578"/>
                  <a:gd name="connsiteY8" fmla="*/ 1827382 h 2005124"/>
                  <a:gd name="connsiteX9" fmla="*/ 819894 w 2020578"/>
                  <a:gd name="connsiteY9" fmla="*/ 1441401 h 2005124"/>
                  <a:gd name="connsiteX10" fmla="*/ 883428 w 2020578"/>
                  <a:gd name="connsiteY10" fmla="*/ 1414736 h 2005124"/>
                  <a:gd name="connsiteX11" fmla="*/ 895050 w 2020578"/>
                  <a:gd name="connsiteY11" fmla="*/ 1414736 h 2005124"/>
                  <a:gd name="connsiteX12" fmla="*/ 972210 w 2020578"/>
                  <a:gd name="connsiteY12" fmla="*/ 1384651 h 2005124"/>
                  <a:gd name="connsiteX13" fmla="*/ 974305 w 2020578"/>
                  <a:gd name="connsiteY13" fmla="*/ 1307549 h 2005124"/>
                  <a:gd name="connsiteX14" fmla="*/ 960176 w 2020578"/>
                  <a:gd name="connsiteY14" fmla="*/ 1292004 h 2005124"/>
                  <a:gd name="connsiteX15" fmla="*/ 930120 w 2020578"/>
                  <a:gd name="connsiteY15" fmla="*/ 1251212 h 2005124"/>
                  <a:gd name="connsiteX16" fmla="*/ 918086 w 2020578"/>
                  <a:gd name="connsiteY16" fmla="*/ 1184138 h 2005124"/>
                  <a:gd name="connsiteX17" fmla="*/ 946254 w 2020578"/>
                  <a:gd name="connsiteY17" fmla="*/ 1098807 h 2005124"/>
                  <a:gd name="connsiteX18" fmla="*/ 973331 w 2020578"/>
                  <a:gd name="connsiteY18" fmla="*/ 1081404 h 2005124"/>
                  <a:gd name="connsiteX19" fmla="*/ 1005098 w 2020578"/>
                  <a:gd name="connsiteY19" fmla="*/ 1076243 h 2005124"/>
                  <a:gd name="connsiteX20" fmla="*/ 1039962 w 2020578"/>
                  <a:gd name="connsiteY20" fmla="*/ 1083351 h 2005124"/>
                  <a:gd name="connsiteX21" fmla="*/ 1068426 w 2020578"/>
                  <a:gd name="connsiteY21" fmla="*/ 1104706 h 2005124"/>
                  <a:gd name="connsiteX22" fmla="*/ 1089250 w 2020578"/>
                  <a:gd name="connsiteY22" fmla="*/ 1143611 h 2005124"/>
                  <a:gd name="connsiteX23" fmla="*/ 1092789 w 2020578"/>
                  <a:gd name="connsiteY23" fmla="*/ 1187619 h 2005124"/>
                  <a:gd name="connsiteX24" fmla="*/ 1077658 w 2020578"/>
                  <a:gd name="connsiteY24" fmla="*/ 1254279 h 2005124"/>
                  <a:gd name="connsiteX25" fmla="*/ 1062822 w 2020578"/>
                  <a:gd name="connsiteY25" fmla="*/ 1276549 h 2005124"/>
                  <a:gd name="connsiteX26" fmla="*/ 1042174 w 2020578"/>
                  <a:gd name="connsiteY26" fmla="*/ 1309348 h 2005124"/>
                  <a:gd name="connsiteX27" fmla="*/ 1038370 w 2020578"/>
                  <a:gd name="connsiteY27" fmla="*/ 1346070 h 2005124"/>
                  <a:gd name="connsiteX28" fmla="*/ 1051407 w 2020578"/>
                  <a:gd name="connsiteY28" fmla="*/ 1380610 h 2005124"/>
                  <a:gd name="connsiteX29" fmla="*/ 1151014 w 2020578"/>
                  <a:gd name="connsiteY29" fmla="*/ 1411285 h 2005124"/>
                  <a:gd name="connsiteX30" fmla="*/ 1161043 w 2020578"/>
                  <a:gd name="connsiteY30" fmla="*/ 1411285 h 2005124"/>
                  <a:gd name="connsiteX31" fmla="*/ 1196408 w 2020578"/>
                  <a:gd name="connsiteY31" fmla="*/ 1419633 h 2005124"/>
                  <a:gd name="connsiteX32" fmla="*/ 1221155 w 2020578"/>
                  <a:gd name="connsiteY32" fmla="*/ 1446267 h 2005124"/>
                  <a:gd name="connsiteX33" fmla="*/ 1212542 w 2020578"/>
                  <a:gd name="connsiteY33" fmla="*/ 1827854 h 2005124"/>
                  <a:gd name="connsiteX34" fmla="*/ 1238174 w 2020578"/>
                  <a:gd name="connsiteY34" fmla="*/ 1945749 h 2005124"/>
                  <a:gd name="connsiteX35" fmla="*/ 1245990 w 2020578"/>
                  <a:gd name="connsiteY35" fmla="*/ 1824934 h 2005124"/>
                  <a:gd name="connsiteX36" fmla="*/ 1251388 w 2020578"/>
                  <a:gd name="connsiteY36" fmla="*/ 1432522 h 2005124"/>
                  <a:gd name="connsiteX37" fmla="*/ 1161190 w 2020578"/>
                  <a:gd name="connsiteY37" fmla="*/ 1377896 h 2005124"/>
                  <a:gd name="connsiteX38" fmla="*/ 1151161 w 2020578"/>
                  <a:gd name="connsiteY38" fmla="*/ 1377896 h 2005124"/>
                  <a:gd name="connsiteX39" fmla="*/ 1079428 w 2020578"/>
                  <a:gd name="connsiteY39" fmla="*/ 1361762 h 2005124"/>
                  <a:gd name="connsiteX40" fmla="*/ 1071788 w 2020578"/>
                  <a:gd name="connsiteY40" fmla="*/ 1341587 h 2005124"/>
                  <a:gd name="connsiteX41" fmla="*/ 1074030 w 2020578"/>
                  <a:gd name="connsiteY41" fmla="*/ 1320143 h 2005124"/>
                  <a:gd name="connsiteX42" fmla="*/ 1089073 w 2020578"/>
                  <a:gd name="connsiteY42" fmla="*/ 1297284 h 2005124"/>
                  <a:gd name="connsiteX43" fmla="*/ 1109100 w 2020578"/>
                  <a:gd name="connsiteY43" fmla="*/ 1265606 h 2005124"/>
                  <a:gd name="connsiteX44" fmla="*/ 1125943 w 2020578"/>
                  <a:gd name="connsiteY44" fmla="*/ 1192132 h 2005124"/>
                  <a:gd name="connsiteX45" fmla="*/ 1121312 w 2020578"/>
                  <a:gd name="connsiteY45" fmla="*/ 1134054 h 2005124"/>
                  <a:gd name="connsiteX46" fmla="*/ 1093881 w 2020578"/>
                  <a:gd name="connsiteY46" fmla="*/ 1082673 h 2005124"/>
                  <a:gd name="connsiteX47" fmla="*/ 1055949 w 2020578"/>
                  <a:gd name="connsiteY47" fmla="*/ 1054239 h 2005124"/>
                  <a:gd name="connsiteX48" fmla="*/ 1009936 w 2020578"/>
                  <a:gd name="connsiteY48" fmla="*/ 1042794 h 2005124"/>
                  <a:gd name="connsiteX49" fmla="*/ 963096 w 2020578"/>
                  <a:gd name="connsiteY49" fmla="*/ 1050168 h 2005124"/>
                  <a:gd name="connsiteX50" fmla="*/ 922805 w 2020578"/>
                  <a:gd name="connsiteY50" fmla="*/ 1075181 h 2005124"/>
                  <a:gd name="connsiteX51" fmla="*/ 885227 w 2020578"/>
                  <a:gd name="connsiteY51" fmla="*/ 1184463 h 2005124"/>
                  <a:gd name="connsiteX52" fmla="*/ 899857 w 2020578"/>
                  <a:gd name="connsiteY52" fmla="*/ 1263275 h 2005124"/>
                  <a:gd name="connsiteX53" fmla="*/ 936639 w 2020578"/>
                  <a:gd name="connsiteY53" fmla="*/ 1314215 h 2005124"/>
                  <a:gd name="connsiteX54" fmla="*/ 947464 w 2020578"/>
                  <a:gd name="connsiteY54" fmla="*/ 1325954 h 2005124"/>
                  <a:gd name="connsiteX55" fmla="*/ 945369 w 2020578"/>
                  <a:gd name="connsiteY55" fmla="*/ 1366068 h 2005124"/>
                  <a:gd name="connsiteX56" fmla="*/ 894371 w 2020578"/>
                  <a:gd name="connsiteY56" fmla="*/ 1381495 h 2005124"/>
                  <a:gd name="connsiteX57" fmla="*/ 884343 w 2020578"/>
                  <a:gd name="connsiteY57" fmla="*/ 1381495 h 2005124"/>
                  <a:gd name="connsiteX58" fmla="*/ 793053 w 2020578"/>
                  <a:gd name="connsiteY58" fmla="*/ 1423290 h 2005124"/>
                  <a:gd name="connsiteX59" fmla="*/ 797359 w 2020578"/>
                  <a:gd name="connsiteY59" fmla="*/ 1827530 h 2005124"/>
                  <a:gd name="connsiteX60" fmla="*/ 810190 w 2020578"/>
                  <a:gd name="connsiteY60" fmla="*/ 1952061 h 2005124"/>
                  <a:gd name="connsiteX61" fmla="*/ 33183 w 2020578"/>
                  <a:gd name="connsiteY61" fmla="*/ 1002562 h 2005124"/>
                  <a:gd name="connsiteX62" fmla="*/ 1010172 w 2020578"/>
                  <a:gd name="connsiteY62" fmla="*/ 32888 h 2005124"/>
                  <a:gd name="connsiteX63" fmla="*/ 1987190 w 2020578"/>
                  <a:gd name="connsiteY63" fmla="*/ 1002562 h 2005124"/>
                  <a:gd name="connsiteX64" fmla="*/ 1238439 w 2020578"/>
                  <a:gd name="connsiteY64" fmla="*/ 1945779 h 2005124"/>
                  <a:gd name="connsiteX65" fmla="*/ 1238144 w 2020578"/>
                  <a:gd name="connsiteY65" fmla="*/ 1945779 h 200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20578" h="2005124">
                    <a:moveTo>
                      <a:pt x="1010289" y="0"/>
                    </a:moveTo>
                    <a:cubicBezTo>
                      <a:pt x="453232" y="0"/>
                      <a:pt x="0" y="449840"/>
                      <a:pt x="0" y="1002562"/>
                    </a:cubicBezTo>
                    <a:cubicBezTo>
                      <a:pt x="0" y="1555284"/>
                      <a:pt x="453232" y="2005124"/>
                      <a:pt x="1010289" y="2005124"/>
                    </a:cubicBezTo>
                    <a:cubicBezTo>
                      <a:pt x="1567347" y="2005124"/>
                      <a:pt x="2020579" y="1555284"/>
                      <a:pt x="2020579" y="1002562"/>
                    </a:cubicBezTo>
                    <a:cubicBezTo>
                      <a:pt x="2020579" y="449840"/>
                      <a:pt x="1567317" y="0"/>
                      <a:pt x="1010289" y="0"/>
                    </a:cubicBezTo>
                    <a:close/>
                    <a:moveTo>
                      <a:pt x="1212513" y="1827854"/>
                    </a:moveTo>
                    <a:cubicBezTo>
                      <a:pt x="1209829" y="1873838"/>
                      <a:pt x="1207085" y="1915604"/>
                      <a:pt x="1204283" y="1953182"/>
                    </a:cubicBezTo>
                    <a:cubicBezTo>
                      <a:pt x="1085386" y="1977044"/>
                      <a:pt x="963096" y="1978814"/>
                      <a:pt x="843550" y="1958403"/>
                    </a:cubicBezTo>
                    <a:cubicBezTo>
                      <a:pt x="838831" y="1917699"/>
                      <a:pt x="834229" y="1873573"/>
                      <a:pt x="829923" y="1827382"/>
                    </a:cubicBezTo>
                    <a:cubicBezTo>
                      <a:pt x="807477" y="1586756"/>
                      <a:pt x="809069" y="1458538"/>
                      <a:pt x="819894" y="1441401"/>
                    </a:cubicBezTo>
                    <a:cubicBezTo>
                      <a:pt x="837238" y="1414825"/>
                      <a:pt x="859979" y="1414736"/>
                      <a:pt x="883428" y="1414736"/>
                    </a:cubicBezTo>
                    <a:lnTo>
                      <a:pt x="895050" y="1414736"/>
                    </a:lnTo>
                    <a:cubicBezTo>
                      <a:pt x="912599" y="1414028"/>
                      <a:pt x="953569" y="1412318"/>
                      <a:pt x="972210" y="1384651"/>
                    </a:cubicBezTo>
                    <a:cubicBezTo>
                      <a:pt x="983330" y="1368103"/>
                      <a:pt x="983242" y="1317990"/>
                      <a:pt x="974305" y="1307549"/>
                    </a:cubicBezTo>
                    <a:cubicBezTo>
                      <a:pt x="969703" y="1302239"/>
                      <a:pt x="964896" y="1297019"/>
                      <a:pt x="960176" y="1292004"/>
                    </a:cubicBezTo>
                    <a:cubicBezTo>
                      <a:pt x="947817" y="1280294"/>
                      <a:pt x="937612" y="1266490"/>
                      <a:pt x="930120" y="1251212"/>
                    </a:cubicBezTo>
                    <a:cubicBezTo>
                      <a:pt x="922038" y="1229768"/>
                      <a:pt x="917968" y="1207056"/>
                      <a:pt x="918086" y="1184138"/>
                    </a:cubicBezTo>
                    <a:cubicBezTo>
                      <a:pt x="917378" y="1148861"/>
                      <a:pt x="928114" y="1117773"/>
                      <a:pt x="946254" y="1098807"/>
                    </a:cubicBezTo>
                    <a:cubicBezTo>
                      <a:pt x="953982" y="1091197"/>
                      <a:pt x="963185" y="1085298"/>
                      <a:pt x="973331" y="1081404"/>
                    </a:cubicBezTo>
                    <a:cubicBezTo>
                      <a:pt x="983448" y="1077511"/>
                      <a:pt x="994273" y="1075771"/>
                      <a:pt x="1005098" y="1076243"/>
                    </a:cubicBezTo>
                    <a:cubicBezTo>
                      <a:pt x="1017103" y="1076007"/>
                      <a:pt x="1029019" y="1078425"/>
                      <a:pt x="1039962" y="1083351"/>
                    </a:cubicBezTo>
                    <a:cubicBezTo>
                      <a:pt x="1050905" y="1088277"/>
                      <a:pt x="1060639" y="1095562"/>
                      <a:pt x="1068426" y="1104706"/>
                    </a:cubicBezTo>
                    <a:cubicBezTo>
                      <a:pt x="1077953" y="1116091"/>
                      <a:pt x="1085061" y="1129365"/>
                      <a:pt x="1089250" y="1143611"/>
                    </a:cubicBezTo>
                    <a:cubicBezTo>
                      <a:pt x="1093438" y="1157887"/>
                      <a:pt x="1094647" y="1172871"/>
                      <a:pt x="1092789" y="1187619"/>
                    </a:cubicBezTo>
                    <a:cubicBezTo>
                      <a:pt x="1090076" y="1210301"/>
                      <a:pt x="1085002" y="1232659"/>
                      <a:pt x="1077658" y="1254279"/>
                    </a:cubicBezTo>
                    <a:cubicBezTo>
                      <a:pt x="1073912" y="1262450"/>
                      <a:pt x="1068927" y="1269941"/>
                      <a:pt x="1062822" y="1276549"/>
                    </a:cubicBezTo>
                    <a:cubicBezTo>
                      <a:pt x="1054061" y="1286164"/>
                      <a:pt x="1047071" y="1297284"/>
                      <a:pt x="1042174" y="1309348"/>
                    </a:cubicBezTo>
                    <a:cubicBezTo>
                      <a:pt x="1038075" y="1321117"/>
                      <a:pt x="1036747" y="1333711"/>
                      <a:pt x="1038370" y="1346070"/>
                    </a:cubicBezTo>
                    <a:cubicBezTo>
                      <a:pt x="1039962" y="1358458"/>
                      <a:pt x="1044446" y="1370286"/>
                      <a:pt x="1051407" y="1380610"/>
                    </a:cubicBezTo>
                    <a:cubicBezTo>
                      <a:pt x="1072762" y="1412200"/>
                      <a:pt x="1119837" y="1411698"/>
                      <a:pt x="1151014" y="1411285"/>
                    </a:cubicBezTo>
                    <a:lnTo>
                      <a:pt x="1161043" y="1411285"/>
                    </a:lnTo>
                    <a:cubicBezTo>
                      <a:pt x="1173401" y="1410518"/>
                      <a:pt x="1185701" y="1413409"/>
                      <a:pt x="1196408" y="1419633"/>
                    </a:cubicBezTo>
                    <a:cubicBezTo>
                      <a:pt x="1207115" y="1425856"/>
                      <a:pt x="1215728" y="1435118"/>
                      <a:pt x="1221155" y="1446267"/>
                    </a:cubicBezTo>
                    <a:cubicBezTo>
                      <a:pt x="1226877" y="1464614"/>
                      <a:pt x="1225166" y="1615308"/>
                      <a:pt x="1212542" y="1827854"/>
                    </a:cubicBezTo>
                    <a:close/>
                    <a:moveTo>
                      <a:pt x="1238174" y="1945749"/>
                    </a:moveTo>
                    <a:cubicBezTo>
                      <a:pt x="1241477" y="1899146"/>
                      <a:pt x="1244191" y="1855522"/>
                      <a:pt x="1245990" y="1824934"/>
                    </a:cubicBezTo>
                    <a:cubicBezTo>
                      <a:pt x="1248085" y="1788153"/>
                      <a:pt x="1266018" y="1464614"/>
                      <a:pt x="1251388" y="1432522"/>
                    </a:cubicBezTo>
                    <a:cubicBezTo>
                      <a:pt x="1235165" y="1397422"/>
                      <a:pt x="1202986" y="1378073"/>
                      <a:pt x="1161190" y="1377896"/>
                    </a:cubicBezTo>
                    <a:lnTo>
                      <a:pt x="1151161" y="1377896"/>
                    </a:lnTo>
                    <a:cubicBezTo>
                      <a:pt x="1127122" y="1377896"/>
                      <a:pt x="1091049" y="1378604"/>
                      <a:pt x="1079428" y="1361762"/>
                    </a:cubicBezTo>
                    <a:cubicBezTo>
                      <a:pt x="1075357" y="1355715"/>
                      <a:pt x="1072732" y="1348813"/>
                      <a:pt x="1071788" y="1341587"/>
                    </a:cubicBezTo>
                    <a:cubicBezTo>
                      <a:pt x="1070844" y="1334360"/>
                      <a:pt x="1071611" y="1327016"/>
                      <a:pt x="1074030" y="1320143"/>
                    </a:cubicBezTo>
                    <a:cubicBezTo>
                      <a:pt x="1077717" y="1311737"/>
                      <a:pt x="1082820" y="1304009"/>
                      <a:pt x="1089073" y="1297284"/>
                    </a:cubicBezTo>
                    <a:cubicBezTo>
                      <a:pt x="1097479" y="1287934"/>
                      <a:pt x="1104263" y="1277197"/>
                      <a:pt x="1109100" y="1265606"/>
                    </a:cubicBezTo>
                    <a:cubicBezTo>
                      <a:pt x="1117271" y="1241773"/>
                      <a:pt x="1122904" y="1217144"/>
                      <a:pt x="1125943" y="1192132"/>
                    </a:cubicBezTo>
                    <a:cubicBezTo>
                      <a:pt x="1128420" y="1172664"/>
                      <a:pt x="1126857" y="1152873"/>
                      <a:pt x="1121312" y="1134054"/>
                    </a:cubicBezTo>
                    <a:cubicBezTo>
                      <a:pt x="1115796" y="1115207"/>
                      <a:pt x="1106446" y="1097716"/>
                      <a:pt x="1093881" y="1082673"/>
                    </a:cubicBezTo>
                    <a:cubicBezTo>
                      <a:pt x="1083262" y="1070756"/>
                      <a:pt x="1070373" y="1061082"/>
                      <a:pt x="1055949" y="1054239"/>
                    </a:cubicBezTo>
                    <a:cubicBezTo>
                      <a:pt x="1041526" y="1047396"/>
                      <a:pt x="1025893" y="1043502"/>
                      <a:pt x="1009936" y="1042794"/>
                    </a:cubicBezTo>
                    <a:cubicBezTo>
                      <a:pt x="993978" y="1042086"/>
                      <a:pt x="978080" y="1044594"/>
                      <a:pt x="963096" y="1050168"/>
                    </a:cubicBezTo>
                    <a:cubicBezTo>
                      <a:pt x="948142" y="1055714"/>
                      <a:pt x="934426" y="1064238"/>
                      <a:pt x="922805" y="1075181"/>
                    </a:cubicBezTo>
                    <a:cubicBezTo>
                      <a:pt x="898058" y="1100459"/>
                      <a:pt x="884313" y="1140248"/>
                      <a:pt x="885227" y="1184463"/>
                    </a:cubicBezTo>
                    <a:cubicBezTo>
                      <a:pt x="885227" y="1211392"/>
                      <a:pt x="890183" y="1238116"/>
                      <a:pt x="899857" y="1263275"/>
                    </a:cubicBezTo>
                    <a:cubicBezTo>
                      <a:pt x="908824" y="1282389"/>
                      <a:pt x="921301" y="1299673"/>
                      <a:pt x="936639" y="1314215"/>
                    </a:cubicBezTo>
                    <a:cubicBezTo>
                      <a:pt x="940444" y="1318226"/>
                      <a:pt x="944042" y="1322149"/>
                      <a:pt x="947464" y="1325954"/>
                    </a:cubicBezTo>
                    <a:cubicBezTo>
                      <a:pt x="949322" y="1339345"/>
                      <a:pt x="948614" y="1352943"/>
                      <a:pt x="945369" y="1366068"/>
                    </a:cubicBezTo>
                    <a:cubicBezTo>
                      <a:pt x="936167" y="1379813"/>
                      <a:pt x="905786" y="1381023"/>
                      <a:pt x="894371" y="1381495"/>
                    </a:cubicBezTo>
                    <a:lnTo>
                      <a:pt x="884343" y="1381495"/>
                    </a:lnTo>
                    <a:cubicBezTo>
                      <a:pt x="858799" y="1381495"/>
                      <a:pt x="820219" y="1381495"/>
                      <a:pt x="793053" y="1423290"/>
                    </a:cubicBezTo>
                    <a:cubicBezTo>
                      <a:pt x="767805" y="1461989"/>
                      <a:pt x="784942" y="1693177"/>
                      <a:pt x="797359" y="1827530"/>
                    </a:cubicBezTo>
                    <a:cubicBezTo>
                      <a:pt x="800869" y="1864931"/>
                      <a:pt x="805264" y="1907729"/>
                      <a:pt x="810190" y="1952061"/>
                    </a:cubicBezTo>
                    <a:cubicBezTo>
                      <a:pt x="366957" y="1860034"/>
                      <a:pt x="33183" y="1469451"/>
                      <a:pt x="33183" y="1002562"/>
                    </a:cubicBezTo>
                    <a:cubicBezTo>
                      <a:pt x="33183" y="467892"/>
                      <a:pt x="471461" y="32888"/>
                      <a:pt x="1010172" y="32888"/>
                    </a:cubicBezTo>
                    <a:cubicBezTo>
                      <a:pt x="1548883" y="32888"/>
                      <a:pt x="1987190" y="467892"/>
                      <a:pt x="1987190" y="1002562"/>
                    </a:cubicBezTo>
                    <a:cubicBezTo>
                      <a:pt x="1987278" y="1459629"/>
                      <a:pt x="1667426" y="1843517"/>
                      <a:pt x="1238439" y="1945779"/>
                    </a:cubicBezTo>
                    <a:lnTo>
                      <a:pt x="1238144" y="1945779"/>
                    </a:lnTo>
                    <a:close/>
                  </a:path>
                </a:pathLst>
              </a:custGeom>
              <a:solidFill>
                <a:srgbClr val="000000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7" name="Полилиния: фигура 1196">
                <a:extLst>
                  <a:ext uri="{FF2B5EF4-FFF2-40B4-BE49-F238E27FC236}">
                    <a16:creationId xmlns:a16="http://schemas.microsoft.com/office/drawing/2014/main" id="{7B1560B7-B26C-4BC6-B396-DA9F3418E365}"/>
                  </a:ext>
                </a:extLst>
              </p:cNvPr>
              <p:cNvSpPr/>
              <p:nvPr/>
            </p:nvSpPr>
            <p:spPr>
              <a:xfrm>
                <a:off x="9675491" y="2958774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8" name="Полилиния: фигура 1197">
                <a:extLst>
                  <a:ext uri="{FF2B5EF4-FFF2-40B4-BE49-F238E27FC236}">
                    <a16:creationId xmlns:a16="http://schemas.microsoft.com/office/drawing/2014/main" id="{1BB8D6D2-EB06-4F05-A116-68D916289AD1}"/>
                  </a:ext>
                </a:extLst>
              </p:cNvPr>
              <p:cNvSpPr/>
              <p:nvPr/>
            </p:nvSpPr>
            <p:spPr>
              <a:xfrm>
                <a:off x="10029322" y="2652667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9" name="Полилиния: фигура 1198">
                <a:extLst>
                  <a:ext uri="{FF2B5EF4-FFF2-40B4-BE49-F238E27FC236}">
                    <a16:creationId xmlns:a16="http://schemas.microsoft.com/office/drawing/2014/main" id="{89E524B1-0A93-41C6-8F57-1A91594E6D7F}"/>
                  </a:ext>
                </a:extLst>
              </p:cNvPr>
              <p:cNvSpPr/>
              <p:nvPr/>
            </p:nvSpPr>
            <p:spPr>
              <a:xfrm>
                <a:off x="10364807" y="2361249"/>
                <a:ext cx="165943" cy="166002"/>
              </a:xfrm>
              <a:custGeom>
                <a:avLst/>
                <a:gdLst>
                  <a:gd name="connsiteX0" fmla="*/ 82972 w 165943"/>
                  <a:gd name="connsiteY0" fmla="*/ 166002 h 166002"/>
                  <a:gd name="connsiteX1" fmla="*/ 165943 w 165943"/>
                  <a:gd name="connsiteY1" fmla="*/ 83001 h 166002"/>
                  <a:gd name="connsiteX2" fmla="*/ 82972 w 165943"/>
                  <a:gd name="connsiteY2" fmla="*/ 0 h 166002"/>
                  <a:gd name="connsiteX3" fmla="*/ 0 w 165943"/>
                  <a:gd name="connsiteY3" fmla="*/ 83001 h 166002"/>
                  <a:gd name="connsiteX4" fmla="*/ 82972 w 165943"/>
                  <a:gd name="connsiteY4" fmla="*/ 166002 h 16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943" h="166002">
                    <a:moveTo>
                      <a:pt x="82972" y="166002"/>
                    </a:moveTo>
                    <a:cubicBezTo>
                      <a:pt x="128808" y="166002"/>
                      <a:pt x="165943" y="128838"/>
                      <a:pt x="165943" y="83001"/>
                    </a:cubicBezTo>
                    <a:cubicBezTo>
                      <a:pt x="165943" y="37165"/>
                      <a:pt x="128808" y="0"/>
                      <a:pt x="82972" y="0"/>
                    </a:cubicBezTo>
                    <a:cubicBezTo>
                      <a:pt x="37135" y="0"/>
                      <a:pt x="0" y="37165"/>
                      <a:pt x="0" y="83001"/>
                    </a:cubicBezTo>
                    <a:cubicBezTo>
                      <a:pt x="0" y="128838"/>
                      <a:pt x="37135" y="166002"/>
                      <a:pt x="82972" y="1660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294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00" name="Рисунок 899">
            <a:extLst>
              <a:ext uri="{FF2B5EF4-FFF2-40B4-BE49-F238E27FC236}">
                <a16:creationId xmlns:a16="http://schemas.microsoft.com/office/drawing/2014/main" id="{82181A66-53F9-4CBE-A96F-07E8CD0B90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8588190" y="2703837"/>
            <a:ext cx="403341" cy="708306"/>
          </a:xfrm>
          <a:prstGeom prst="rect">
            <a:avLst/>
          </a:prstGeom>
        </p:spPr>
      </p:pic>
      <p:pic>
        <p:nvPicPr>
          <p:cNvPr id="901" name="Рисунок 900">
            <a:extLst>
              <a:ext uri="{FF2B5EF4-FFF2-40B4-BE49-F238E27FC236}">
                <a16:creationId xmlns:a16="http://schemas.microsoft.com/office/drawing/2014/main" id="{7DDED61A-545C-4B28-9860-FC66456BA3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2600000">
            <a:off x="7110939" y="2472216"/>
            <a:ext cx="403341" cy="708306"/>
          </a:xfrm>
          <a:prstGeom prst="rect">
            <a:avLst/>
          </a:prstGeom>
        </p:spPr>
      </p:pic>
      <p:pic>
        <p:nvPicPr>
          <p:cNvPr id="127" name="Рисунок 126">
            <a:extLst>
              <a:ext uri="{FF2B5EF4-FFF2-40B4-BE49-F238E27FC236}">
                <a16:creationId xmlns:a16="http://schemas.microsoft.com/office/drawing/2014/main" id="{73135E12-C8D5-47BF-811F-73C566E22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9000000">
            <a:off x="10037745" y="2472216"/>
            <a:ext cx="403341" cy="708306"/>
          </a:xfrm>
          <a:prstGeom prst="rect">
            <a:avLst/>
          </a:prstGeom>
        </p:spPr>
      </p:pic>
      <p:grpSp>
        <p:nvGrpSpPr>
          <p:cNvPr id="566" name="CRM">
            <a:extLst>
              <a:ext uri="{FF2B5EF4-FFF2-40B4-BE49-F238E27FC236}">
                <a16:creationId xmlns:a16="http://schemas.microsoft.com/office/drawing/2014/main" id="{DEC1BF2C-EB88-49CA-9815-3980D822EB80}"/>
              </a:ext>
            </a:extLst>
          </p:cNvPr>
          <p:cNvGrpSpPr/>
          <p:nvPr/>
        </p:nvGrpSpPr>
        <p:grpSpPr>
          <a:xfrm>
            <a:off x="5687344" y="3313216"/>
            <a:ext cx="1990842" cy="2217437"/>
            <a:chOff x="2450726" y="1495697"/>
            <a:chExt cx="2224863" cy="2478094"/>
          </a:xfrm>
        </p:grpSpPr>
        <p:sp>
          <p:nvSpPr>
            <p:cNvPr id="567" name="Shape_фон">
              <a:extLst>
                <a:ext uri="{FF2B5EF4-FFF2-40B4-BE49-F238E27FC236}">
                  <a16:creationId xmlns:a16="http://schemas.microsoft.com/office/drawing/2014/main" id="{DAE0CDD5-FA01-490A-96A3-B53A2F189738}"/>
                </a:ext>
              </a:extLst>
            </p:cNvPr>
            <p:cNvSpPr/>
            <p:nvPr/>
          </p:nvSpPr>
          <p:spPr>
            <a:xfrm>
              <a:off x="2450726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68" name="Описание">
              <a:extLst>
                <a:ext uri="{FF2B5EF4-FFF2-40B4-BE49-F238E27FC236}">
                  <a16:creationId xmlns:a16="http://schemas.microsoft.com/office/drawing/2014/main" id="{CB0834E3-CD8F-45C8-9AE0-790491FEA66B}"/>
                </a:ext>
              </a:extLst>
            </p:cNvPr>
            <p:cNvSpPr txBox="1"/>
            <p:nvPr/>
          </p:nvSpPr>
          <p:spPr>
            <a:xfrm>
              <a:off x="3227085" y="1661541"/>
              <a:ext cx="672146" cy="378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ДБО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569" name="Группа 568">
              <a:extLst>
                <a:ext uri="{FF2B5EF4-FFF2-40B4-BE49-F238E27FC236}">
                  <a16:creationId xmlns:a16="http://schemas.microsoft.com/office/drawing/2014/main" id="{0BA54A27-E8D0-402A-AA14-48CB6698D7B2}"/>
                </a:ext>
              </a:extLst>
            </p:cNvPr>
            <p:cNvGrpSpPr/>
            <p:nvPr/>
          </p:nvGrpSpPr>
          <p:grpSpPr>
            <a:xfrm>
              <a:off x="2602581" y="2185291"/>
              <a:ext cx="1823301" cy="295269"/>
              <a:chOff x="2554158" y="1493927"/>
              <a:chExt cx="3536455" cy="572700"/>
            </a:xfrm>
          </p:grpSpPr>
          <p:sp>
            <p:nvSpPr>
              <p:cNvPr id="648" name="Rounded Rectangle">
                <a:extLst>
                  <a:ext uri="{FF2B5EF4-FFF2-40B4-BE49-F238E27FC236}">
                    <a16:creationId xmlns:a16="http://schemas.microsoft.com/office/drawing/2014/main" id="{08C7C524-5777-4271-842D-F57A58F6E6AC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49" name="Market analysis">
                <a:extLst>
                  <a:ext uri="{FF2B5EF4-FFF2-40B4-BE49-F238E27FC236}">
                    <a16:creationId xmlns:a16="http://schemas.microsoft.com/office/drawing/2014/main" id="{54B67767-AF30-47EA-8008-29BE47F80972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50" name="Группа 649">
                <a:extLst>
                  <a:ext uri="{FF2B5EF4-FFF2-40B4-BE49-F238E27FC236}">
                    <a16:creationId xmlns:a16="http://schemas.microsoft.com/office/drawing/2014/main" id="{E7927116-F89D-4491-871C-E412EC93039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51" name="Circle">
                  <a:extLst>
                    <a:ext uri="{FF2B5EF4-FFF2-40B4-BE49-F238E27FC236}">
                      <a16:creationId xmlns:a16="http://schemas.microsoft.com/office/drawing/2014/main" id="{6C70C0C1-6A2F-4F73-9B9C-C7B9A75E678F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52" name="Группа 651">
                  <a:extLst>
                    <a:ext uri="{FF2B5EF4-FFF2-40B4-BE49-F238E27FC236}">
                      <a16:creationId xmlns:a16="http://schemas.microsoft.com/office/drawing/2014/main" id="{8DDDAFDB-4D00-48AE-B009-C2913453B9A0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53" name="Полилиния: фигура 652">
                    <a:extLst>
                      <a:ext uri="{FF2B5EF4-FFF2-40B4-BE49-F238E27FC236}">
                        <a16:creationId xmlns:a16="http://schemas.microsoft.com/office/drawing/2014/main" id="{5980093A-121E-43F4-9167-442FE4A2BDD9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54" name="Карточка 1_Ава">
                    <a:extLst>
                      <a:ext uri="{FF2B5EF4-FFF2-40B4-BE49-F238E27FC236}">
                        <a16:creationId xmlns:a16="http://schemas.microsoft.com/office/drawing/2014/main" id="{63E95562-9407-472E-8F0E-7601FF8D1211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55" name="Карточка 1_Ава">
                      <a:extLst>
                        <a:ext uri="{FF2B5EF4-FFF2-40B4-BE49-F238E27FC236}">
                          <a16:creationId xmlns:a16="http://schemas.microsoft.com/office/drawing/2014/main" id="{6F8E828A-CF4D-45E6-8E37-95CB78CE47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61" name="Полилиния: фигура 660">
                        <a:extLst>
                          <a:ext uri="{FF2B5EF4-FFF2-40B4-BE49-F238E27FC236}">
                            <a16:creationId xmlns:a16="http://schemas.microsoft.com/office/drawing/2014/main" id="{45CED60A-DFED-44FF-BD58-24EED0CD3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2" name="Полилиния: фигура 661">
                        <a:extLst>
                          <a:ext uri="{FF2B5EF4-FFF2-40B4-BE49-F238E27FC236}">
                            <a16:creationId xmlns:a16="http://schemas.microsoft.com/office/drawing/2014/main" id="{2EB0A6C9-9F38-475B-B0D8-04F241660E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3" name="Полилиния: фигура 662">
                        <a:extLst>
                          <a:ext uri="{FF2B5EF4-FFF2-40B4-BE49-F238E27FC236}">
                            <a16:creationId xmlns:a16="http://schemas.microsoft.com/office/drawing/2014/main" id="{E9703D40-D801-474B-85F6-F9B7137281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4" name="Полилиния: фигура 663">
                        <a:extLst>
                          <a:ext uri="{FF2B5EF4-FFF2-40B4-BE49-F238E27FC236}">
                            <a16:creationId xmlns:a16="http://schemas.microsoft.com/office/drawing/2014/main" id="{AB3108B7-E228-40CC-A26A-AC56C75029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5" name="Полилиния: фигура 664">
                        <a:extLst>
                          <a:ext uri="{FF2B5EF4-FFF2-40B4-BE49-F238E27FC236}">
                            <a16:creationId xmlns:a16="http://schemas.microsoft.com/office/drawing/2014/main" id="{A3950D60-8B51-4CCF-8800-EBE054107F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6" name="Полилиния: фигура 665">
                        <a:extLst>
                          <a:ext uri="{FF2B5EF4-FFF2-40B4-BE49-F238E27FC236}">
                            <a16:creationId xmlns:a16="http://schemas.microsoft.com/office/drawing/2014/main" id="{77AC6CB7-B9DE-42D9-BE3A-CC4FF64CC8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7" name="Полилиния: фигура 666">
                        <a:extLst>
                          <a:ext uri="{FF2B5EF4-FFF2-40B4-BE49-F238E27FC236}">
                            <a16:creationId xmlns:a16="http://schemas.microsoft.com/office/drawing/2014/main" id="{2479BF8A-4338-4BE4-ACBD-FE920205FE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8" name="Полилиния: фигура 667">
                        <a:extLst>
                          <a:ext uri="{FF2B5EF4-FFF2-40B4-BE49-F238E27FC236}">
                            <a16:creationId xmlns:a16="http://schemas.microsoft.com/office/drawing/2014/main" id="{8C1969D5-6787-4005-BB4D-42F0198E34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9" name="Полилиния: фигура 668">
                        <a:extLst>
                          <a:ext uri="{FF2B5EF4-FFF2-40B4-BE49-F238E27FC236}">
                            <a16:creationId xmlns:a16="http://schemas.microsoft.com/office/drawing/2014/main" id="{64F4E91C-BBA5-44B5-A41A-366202E6AD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70" name="Полилиния: фигура 669">
                        <a:extLst>
                          <a:ext uri="{FF2B5EF4-FFF2-40B4-BE49-F238E27FC236}">
                            <a16:creationId xmlns:a16="http://schemas.microsoft.com/office/drawing/2014/main" id="{359559FA-8D33-40D4-B2A3-6F4FCA3F79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71" name="Полилиния: фигура 670">
                        <a:extLst>
                          <a:ext uri="{FF2B5EF4-FFF2-40B4-BE49-F238E27FC236}">
                            <a16:creationId xmlns:a16="http://schemas.microsoft.com/office/drawing/2014/main" id="{0FF75F5C-A3FF-4F55-BE1B-AD157AC419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72" name="Полилиния: фигура 671">
                        <a:extLst>
                          <a:ext uri="{FF2B5EF4-FFF2-40B4-BE49-F238E27FC236}">
                            <a16:creationId xmlns:a16="http://schemas.microsoft.com/office/drawing/2014/main" id="{2B580BD4-13D3-44CD-8105-A3CF7277F8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56" name="Карточка 1_Ава">
                      <a:extLst>
                        <a:ext uri="{FF2B5EF4-FFF2-40B4-BE49-F238E27FC236}">
                          <a16:creationId xmlns:a16="http://schemas.microsoft.com/office/drawing/2014/main" id="{0F17AEAA-9AA0-4E13-98EB-D072739230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57" name="Полилиния: фигура 656">
                        <a:extLst>
                          <a:ext uri="{FF2B5EF4-FFF2-40B4-BE49-F238E27FC236}">
                            <a16:creationId xmlns:a16="http://schemas.microsoft.com/office/drawing/2014/main" id="{0ECAC22A-CF6B-47CF-8427-FAEF880AE9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8" name="Полилиния: фигура 657">
                        <a:extLst>
                          <a:ext uri="{FF2B5EF4-FFF2-40B4-BE49-F238E27FC236}">
                            <a16:creationId xmlns:a16="http://schemas.microsoft.com/office/drawing/2014/main" id="{9BCD7B9A-41D0-4FD6-B224-3935C9F7D6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59" name="Полилиния: фигура 658">
                        <a:extLst>
                          <a:ext uri="{FF2B5EF4-FFF2-40B4-BE49-F238E27FC236}">
                            <a16:creationId xmlns:a16="http://schemas.microsoft.com/office/drawing/2014/main" id="{2AB81173-4E13-4DB4-8373-6D08B4EAED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60" name="Полилиния: фигура 659">
                        <a:extLst>
                          <a:ext uri="{FF2B5EF4-FFF2-40B4-BE49-F238E27FC236}">
                            <a16:creationId xmlns:a16="http://schemas.microsoft.com/office/drawing/2014/main" id="{F1F9CDC6-00AF-47E8-A9D1-EF33CB1BC4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70" name="Группа 569">
              <a:extLst>
                <a:ext uri="{FF2B5EF4-FFF2-40B4-BE49-F238E27FC236}">
                  <a16:creationId xmlns:a16="http://schemas.microsoft.com/office/drawing/2014/main" id="{47E876A4-F2B9-434B-933C-B4C43893A5B4}"/>
                </a:ext>
              </a:extLst>
            </p:cNvPr>
            <p:cNvGrpSpPr/>
            <p:nvPr/>
          </p:nvGrpSpPr>
          <p:grpSpPr>
            <a:xfrm>
              <a:off x="2602581" y="3442801"/>
              <a:ext cx="1823301" cy="295269"/>
              <a:chOff x="2554158" y="1493927"/>
              <a:chExt cx="3536455" cy="572700"/>
            </a:xfrm>
          </p:grpSpPr>
          <p:sp>
            <p:nvSpPr>
              <p:cNvPr id="623" name="Rounded Rectangle">
                <a:extLst>
                  <a:ext uri="{FF2B5EF4-FFF2-40B4-BE49-F238E27FC236}">
                    <a16:creationId xmlns:a16="http://schemas.microsoft.com/office/drawing/2014/main" id="{453F16DE-9573-4D34-ADCC-D14C38A3AE56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24" name="Market analysis">
                <a:extLst>
                  <a:ext uri="{FF2B5EF4-FFF2-40B4-BE49-F238E27FC236}">
                    <a16:creationId xmlns:a16="http://schemas.microsoft.com/office/drawing/2014/main" id="{FEC0EA07-80B3-4983-B8DE-5D1768F3239F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25" name="Группа 624">
                <a:extLst>
                  <a:ext uri="{FF2B5EF4-FFF2-40B4-BE49-F238E27FC236}">
                    <a16:creationId xmlns:a16="http://schemas.microsoft.com/office/drawing/2014/main" id="{3B37931E-C0EE-4ED8-B51F-B68E37EB016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26" name="Circle">
                  <a:extLst>
                    <a:ext uri="{FF2B5EF4-FFF2-40B4-BE49-F238E27FC236}">
                      <a16:creationId xmlns:a16="http://schemas.microsoft.com/office/drawing/2014/main" id="{1E55F0BF-37F2-4A41-854E-0FDB135C4A4F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27" name="Группа 626">
                  <a:extLst>
                    <a:ext uri="{FF2B5EF4-FFF2-40B4-BE49-F238E27FC236}">
                      <a16:creationId xmlns:a16="http://schemas.microsoft.com/office/drawing/2014/main" id="{0A5D5A0D-A702-47BC-8DDF-53C92EBF48D7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28" name="Полилиния: фигура 627">
                    <a:extLst>
                      <a:ext uri="{FF2B5EF4-FFF2-40B4-BE49-F238E27FC236}">
                        <a16:creationId xmlns:a16="http://schemas.microsoft.com/office/drawing/2014/main" id="{8EF71A1E-9CA5-40D9-BC8D-FF5A9A5189D7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29" name="Карточка 1_Ава">
                    <a:extLst>
                      <a:ext uri="{FF2B5EF4-FFF2-40B4-BE49-F238E27FC236}">
                        <a16:creationId xmlns:a16="http://schemas.microsoft.com/office/drawing/2014/main" id="{70D22C96-2DB1-4F26-8104-C2F0B9746598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30" name="Карточка 1_Ава">
                      <a:extLst>
                        <a:ext uri="{FF2B5EF4-FFF2-40B4-BE49-F238E27FC236}">
                          <a16:creationId xmlns:a16="http://schemas.microsoft.com/office/drawing/2014/main" id="{5E0F74A1-8987-489A-81B3-3A69A8CD966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36" name="Полилиния: фигура 635">
                        <a:extLst>
                          <a:ext uri="{FF2B5EF4-FFF2-40B4-BE49-F238E27FC236}">
                            <a16:creationId xmlns:a16="http://schemas.microsoft.com/office/drawing/2014/main" id="{F36D9024-FFDF-4076-983D-B73256AE83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7" name="Полилиния: фигура 636">
                        <a:extLst>
                          <a:ext uri="{FF2B5EF4-FFF2-40B4-BE49-F238E27FC236}">
                            <a16:creationId xmlns:a16="http://schemas.microsoft.com/office/drawing/2014/main" id="{4532843D-D64A-4D92-A243-62C4FF481E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8" name="Полилиния: фигура 637">
                        <a:extLst>
                          <a:ext uri="{FF2B5EF4-FFF2-40B4-BE49-F238E27FC236}">
                            <a16:creationId xmlns:a16="http://schemas.microsoft.com/office/drawing/2014/main" id="{3D0D5FDC-C646-42C4-857D-9192D796AA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9" name="Полилиния: фигура 638">
                        <a:extLst>
                          <a:ext uri="{FF2B5EF4-FFF2-40B4-BE49-F238E27FC236}">
                            <a16:creationId xmlns:a16="http://schemas.microsoft.com/office/drawing/2014/main" id="{661CC7BF-BAFA-497C-ABBE-D78E743123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0" name="Полилиния: фигура 639">
                        <a:extLst>
                          <a:ext uri="{FF2B5EF4-FFF2-40B4-BE49-F238E27FC236}">
                            <a16:creationId xmlns:a16="http://schemas.microsoft.com/office/drawing/2014/main" id="{AC3474B1-8F01-4C43-9F7D-19413F5EFC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1" name="Полилиния: фигура 640">
                        <a:extLst>
                          <a:ext uri="{FF2B5EF4-FFF2-40B4-BE49-F238E27FC236}">
                            <a16:creationId xmlns:a16="http://schemas.microsoft.com/office/drawing/2014/main" id="{32CAF81B-9DB3-4574-BBC6-7250C12117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2" name="Полилиния: фигура 641">
                        <a:extLst>
                          <a:ext uri="{FF2B5EF4-FFF2-40B4-BE49-F238E27FC236}">
                            <a16:creationId xmlns:a16="http://schemas.microsoft.com/office/drawing/2014/main" id="{D6A89D85-B26D-4300-87EE-E012306CD8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3" name="Полилиния: фигура 642">
                        <a:extLst>
                          <a:ext uri="{FF2B5EF4-FFF2-40B4-BE49-F238E27FC236}">
                            <a16:creationId xmlns:a16="http://schemas.microsoft.com/office/drawing/2014/main" id="{B0FE148C-35E5-4FC0-BD87-2ED88D66FB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4" name="Полилиния: фигура 643">
                        <a:extLst>
                          <a:ext uri="{FF2B5EF4-FFF2-40B4-BE49-F238E27FC236}">
                            <a16:creationId xmlns:a16="http://schemas.microsoft.com/office/drawing/2014/main" id="{1A8663FE-8D0B-43B7-AB4C-0E62E02CEB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5" name="Полилиния: фигура 644">
                        <a:extLst>
                          <a:ext uri="{FF2B5EF4-FFF2-40B4-BE49-F238E27FC236}">
                            <a16:creationId xmlns:a16="http://schemas.microsoft.com/office/drawing/2014/main" id="{128C6687-13C6-4080-82D4-31F2E691AF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6" name="Полилиния: фигура 645">
                        <a:extLst>
                          <a:ext uri="{FF2B5EF4-FFF2-40B4-BE49-F238E27FC236}">
                            <a16:creationId xmlns:a16="http://schemas.microsoft.com/office/drawing/2014/main" id="{7965E11D-B7D2-4949-9232-5865BA283A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47" name="Полилиния: фигура 646">
                        <a:extLst>
                          <a:ext uri="{FF2B5EF4-FFF2-40B4-BE49-F238E27FC236}">
                            <a16:creationId xmlns:a16="http://schemas.microsoft.com/office/drawing/2014/main" id="{33DCA436-1E34-4723-90D6-8A5D367D07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31" name="Карточка 1_Ава">
                      <a:extLst>
                        <a:ext uri="{FF2B5EF4-FFF2-40B4-BE49-F238E27FC236}">
                          <a16:creationId xmlns:a16="http://schemas.microsoft.com/office/drawing/2014/main" id="{6FB2879F-F989-4CCC-BD11-B657943FA4D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32" name="Полилиния: фигура 631">
                        <a:extLst>
                          <a:ext uri="{FF2B5EF4-FFF2-40B4-BE49-F238E27FC236}">
                            <a16:creationId xmlns:a16="http://schemas.microsoft.com/office/drawing/2014/main" id="{028B2A88-C1CC-4FCC-8E6E-5BE9523650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3" name="Полилиния: фигура 632">
                        <a:extLst>
                          <a:ext uri="{FF2B5EF4-FFF2-40B4-BE49-F238E27FC236}">
                            <a16:creationId xmlns:a16="http://schemas.microsoft.com/office/drawing/2014/main" id="{0DA6E5FB-533D-441A-9BDE-C77E4888D6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4" name="Полилиния: фигура 633">
                        <a:extLst>
                          <a:ext uri="{FF2B5EF4-FFF2-40B4-BE49-F238E27FC236}">
                            <a16:creationId xmlns:a16="http://schemas.microsoft.com/office/drawing/2014/main" id="{9F18D304-6A0E-4F18-BD9A-65DFBA1FBC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35" name="Полилиния: фигура 634">
                        <a:extLst>
                          <a:ext uri="{FF2B5EF4-FFF2-40B4-BE49-F238E27FC236}">
                            <a16:creationId xmlns:a16="http://schemas.microsoft.com/office/drawing/2014/main" id="{12614A1B-E23D-4E98-8C39-88864FDD3F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71" name="Группа 570">
              <a:extLst>
                <a:ext uri="{FF2B5EF4-FFF2-40B4-BE49-F238E27FC236}">
                  <a16:creationId xmlns:a16="http://schemas.microsoft.com/office/drawing/2014/main" id="{E029A7F2-6D7E-4C3E-8AF9-35BA08A268A3}"/>
                </a:ext>
              </a:extLst>
            </p:cNvPr>
            <p:cNvGrpSpPr/>
            <p:nvPr/>
          </p:nvGrpSpPr>
          <p:grpSpPr>
            <a:xfrm>
              <a:off x="2602581" y="2604461"/>
              <a:ext cx="1823301" cy="295269"/>
              <a:chOff x="2554158" y="1493927"/>
              <a:chExt cx="3536455" cy="572700"/>
            </a:xfrm>
          </p:grpSpPr>
          <p:sp>
            <p:nvSpPr>
              <p:cNvPr id="598" name="Rounded Rectangle">
                <a:extLst>
                  <a:ext uri="{FF2B5EF4-FFF2-40B4-BE49-F238E27FC236}">
                    <a16:creationId xmlns:a16="http://schemas.microsoft.com/office/drawing/2014/main" id="{4C77657A-DB99-45F5-AA98-17368487FA84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99" name="Market analysis">
                <a:extLst>
                  <a:ext uri="{FF2B5EF4-FFF2-40B4-BE49-F238E27FC236}">
                    <a16:creationId xmlns:a16="http://schemas.microsoft.com/office/drawing/2014/main" id="{8E5E5EE0-75DD-41C0-B019-BDAE245A8C94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00" name="Группа 599">
                <a:extLst>
                  <a:ext uri="{FF2B5EF4-FFF2-40B4-BE49-F238E27FC236}">
                    <a16:creationId xmlns:a16="http://schemas.microsoft.com/office/drawing/2014/main" id="{82E62699-315E-4FD5-92A5-02D7641DE1FB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01" name="Circle">
                  <a:extLst>
                    <a:ext uri="{FF2B5EF4-FFF2-40B4-BE49-F238E27FC236}">
                      <a16:creationId xmlns:a16="http://schemas.microsoft.com/office/drawing/2014/main" id="{D1997A97-2997-4FD1-B5B1-112B0014BE91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02" name="Группа 601">
                  <a:extLst>
                    <a:ext uri="{FF2B5EF4-FFF2-40B4-BE49-F238E27FC236}">
                      <a16:creationId xmlns:a16="http://schemas.microsoft.com/office/drawing/2014/main" id="{3FA88C3B-C53C-4A5F-9B24-114A9D5689E1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03" name="Полилиния: фигура 602">
                    <a:extLst>
                      <a:ext uri="{FF2B5EF4-FFF2-40B4-BE49-F238E27FC236}">
                        <a16:creationId xmlns:a16="http://schemas.microsoft.com/office/drawing/2014/main" id="{F1689C72-08D4-44C4-9376-4F44183CF5B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04" name="Карточка 1_Ава">
                    <a:extLst>
                      <a:ext uri="{FF2B5EF4-FFF2-40B4-BE49-F238E27FC236}">
                        <a16:creationId xmlns:a16="http://schemas.microsoft.com/office/drawing/2014/main" id="{8C9A63B6-4785-4319-9FA5-E0024488E8BC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05" name="Карточка 1_Ава">
                      <a:extLst>
                        <a:ext uri="{FF2B5EF4-FFF2-40B4-BE49-F238E27FC236}">
                          <a16:creationId xmlns:a16="http://schemas.microsoft.com/office/drawing/2014/main" id="{290F6265-17F1-46BD-9A70-79C9CD14C15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11" name="Полилиния: фигура 610">
                        <a:extLst>
                          <a:ext uri="{FF2B5EF4-FFF2-40B4-BE49-F238E27FC236}">
                            <a16:creationId xmlns:a16="http://schemas.microsoft.com/office/drawing/2014/main" id="{EBB44AF4-3173-481B-A6EF-3F6EA46F55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2" name="Полилиния: фигура 611">
                        <a:extLst>
                          <a:ext uri="{FF2B5EF4-FFF2-40B4-BE49-F238E27FC236}">
                            <a16:creationId xmlns:a16="http://schemas.microsoft.com/office/drawing/2014/main" id="{93DA89A6-F8A6-4C5E-8A53-643AE0C4FE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3" name="Полилиния: фигура 612">
                        <a:extLst>
                          <a:ext uri="{FF2B5EF4-FFF2-40B4-BE49-F238E27FC236}">
                            <a16:creationId xmlns:a16="http://schemas.microsoft.com/office/drawing/2014/main" id="{57A1896B-C784-4E41-89FB-1D75F04A9E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4" name="Полилиния: фигура 613">
                        <a:extLst>
                          <a:ext uri="{FF2B5EF4-FFF2-40B4-BE49-F238E27FC236}">
                            <a16:creationId xmlns:a16="http://schemas.microsoft.com/office/drawing/2014/main" id="{8701C40E-4210-4947-A28A-6C85C6CF9D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5" name="Полилиния: фигура 614">
                        <a:extLst>
                          <a:ext uri="{FF2B5EF4-FFF2-40B4-BE49-F238E27FC236}">
                            <a16:creationId xmlns:a16="http://schemas.microsoft.com/office/drawing/2014/main" id="{8A9FC271-E17F-488D-82F2-F6B93E6068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6" name="Полилиния: фигура 615">
                        <a:extLst>
                          <a:ext uri="{FF2B5EF4-FFF2-40B4-BE49-F238E27FC236}">
                            <a16:creationId xmlns:a16="http://schemas.microsoft.com/office/drawing/2014/main" id="{68F62BD7-AA73-4853-8650-F5E192DACF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7" name="Полилиния: фигура 616">
                        <a:extLst>
                          <a:ext uri="{FF2B5EF4-FFF2-40B4-BE49-F238E27FC236}">
                            <a16:creationId xmlns:a16="http://schemas.microsoft.com/office/drawing/2014/main" id="{8043328B-0B2D-46DF-B1EA-EAB349EE00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8" name="Полилиния: фигура 617">
                        <a:extLst>
                          <a:ext uri="{FF2B5EF4-FFF2-40B4-BE49-F238E27FC236}">
                            <a16:creationId xmlns:a16="http://schemas.microsoft.com/office/drawing/2014/main" id="{7E8D6662-8ACD-4723-9A66-34970E841E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9" name="Полилиния: фигура 618">
                        <a:extLst>
                          <a:ext uri="{FF2B5EF4-FFF2-40B4-BE49-F238E27FC236}">
                            <a16:creationId xmlns:a16="http://schemas.microsoft.com/office/drawing/2014/main" id="{773657C8-0DEA-468E-9E57-8F3E198F51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0" name="Полилиния: фигура 619">
                        <a:extLst>
                          <a:ext uri="{FF2B5EF4-FFF2-40B4-BE49-F238E27FC236}">
                            <a16:creationId xmlns:a16="http://schemas.microsoft.com/office/drawing/2014/main" id="{22559B74-1B76-44D8-8C46-31BA215750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1" name="Полилиния: фигура 620">
                        <a:extLst>
                          <a:ext uri="{FF2B5EF4-FFF2-40B4-BE49-F238E27FC236}">
                            <a16:creationId xmlns:a16="http://schemas.microsoft.com/office/drawing/2014/main" id="{4069D1A0-20F5-405C-9949-B7854588C3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22" name="Полилиния: фигура 621">
                        <a:extLst>
                          <a:ext uri="{FF2B5EF4-FFF2-40B4-BE49-F238E27FC236}">
                            <a16:creationId xmlns:a16="http://schemas.microsoft.com/office/drawing/2014/main" id="{1B2AE8CC-451F-4BB3-BA77-539E16C9EE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06" name="Карточка 1_Ава">
                      <a:extLst>
                        <a:ext uri="{FF2B5EF4-FFF2-40B4-BE49-F238E27FC236}">
                          <a16:creationId xmlns:a16="http://schemas.microsoft.com/office/drawing/2014/main" id="{9AB9332A-A274-43BB-8A07-04233F3C54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07" name="Полилиния: фигура 606">
                        <a:extLst>
                          <a:ext uri="{FF2B5EF4-FFF2-40B4-BE49-F238E27FC236}">
                            <a16:creationId xmlns:a16="http://schemas.microsoft.com/office/drawing/2014/main" id="{FE56151B-34AE-44EC-A0AC-D78F647993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8" name="Полилиния: фигура 607">
                        <a:extLst>
                          <a:ext uri="{FF2B5EF4-FFF2-40B4-BE49-F238E27FC236}">
                            <a16:creationId xmlns:a16="http://schemas.microsoft.com/office/drawing/2014/main" id="{6EE00BEA-8260-42CF-AB35-28D88715AB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09" name="Полилиния: фигура 608">
                        <a:extLst>
                          <a:ext uri="{FF2B5EF4-FFF2-40B4-BE49-F238E27FC236}">
                            <a16:creationId xmlns:a16="http://schemas.microsoft.com/office/drawing/2014/main" id="{BF0DD7DC-D8E4-4713-9992-65C915E8A3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10" name="Полилиния: фигура 609">
                        <a:extLst>
                          <a:ext uri="{FF2B5EF4-FFF2-40B4-BE49-F238E27FC236}">
                            <a16:creationId xmlns:a16="http://schemas.microsoft.com/office/drawing/2014/main" id="{AC884C5B-FF38-4EB4-83EA-0EE3FD0FBF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572" name="Группа 571">
              <a:extLst>
                <a:ext uri="{FF2B5EF4-FFF2-40B4-BE49-F238E27FC236}">
                  <a16:creationId xmlns:a16="http://schemas.microsoft.com/office/drawing/2014/main" id="{C621A7E2-C85C-4911-8233-E24D46E53FB3}"/>
                </a:ext>
              </a:extLst>
            </p:cNvPr>
            <p:cNvGrpSpPr/>
            <p:nvPr/>
          </p:nvGrpSpPr>
          <p:grpSpPr>
            <a:xfrm>
              <a:off x="2602581" y="3023631"/>
              <a:ext cx="1823301" cy="295269"/>
              <a:chOff x="2554158" y="1493927"/>
              <a:chExt cx="3536455" cy="572700"/>
            </a:xfrm>
          </p:grpSpPr>
          <p:sp>
            <p:nvSpPr>
              <p:cNvPr id="573" name="Rounded Rectangle">
                <a:extLst>
                  <a:ext uri="{FF2B5EF4-FFF2-40B4-BE49-F238E27FC236}">
                    <a16:creationId xmlns:a16="http://schemas.microsoft.com/office/drawing/2014/main" id="{487A9AE1-96FC-41B2-AC16-1B9053077512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574" name="Market analysis">
                <a:extLst>
                  <a:ext uri="{FF2B5EF4-FFF2-40B4-BE49-F238E27FC236}">
                    <a16:creationId xmlns:a16="http://schemas.microsoft.com/office/drawing/2014/main" id="{E81A183D-23AE-4061-989E-A846C81EE6BA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575" name="Группа 574">
                <a:extLst>
                  <a:ext uri="{FF2B5EF4-FFF2-40B4-BE49-F238E27FC236}">
                    <a16:creationId xmlns:a16="http://schemas.microsoft.com/office/drawing/2014/main" id="{B662E5EB-7EB7-4C05-B2EF-1BE9B08ABD59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576" name="Circle">
                  <a:extLst>
                    <a:ext uri="{FF2B5EF4-FFF2-40B4-BE49-F238E27FC236}">
                      <a16:creationId xmlns:a16="http://schemas.microsoft.com/office/drawing/2014/main" id="{0E7A39D5-A101-4373-BE9D-DA1B317E9A77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577" name="Группа 576">
                  <a:extLst>
                    <a:ext uri="{FF2B5EF4-FFF2-40B4-BE49-F238E27FC236}">
                      <a16:creationId xmlns:a16="http://schemas.microsoft.com/office/drawing/2014/main" id="{3061DB9B-1A84-42D0-A405-6BE99B7D8111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578" name="Полилиния: фигура 577">
                    <a:extLst>
                      <a:ext uri="{FF2B5EF4-FFF2-40B4-BE49-F238E27FC236}">
                        <a16:creationId xmlns:a16="http://schemas.microsoft.com/office/drawing/2014/main" id="{80BDD482-D762-4FFF-A2E2-60511F2B3DB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579" name="Карточка 1_Ава">
                    <a:extLst>
                      <a:ext uri="{FF2B5EF4-FFF2-40B4-BE49-F238E27FC236}">
                        <a16:creationId xmlns:a16="http://schemas.microsoft.com/office/drawing/2014/main" id="{E449CCEA-CFC3-49DF-B108-216C9ADF2616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580" name="Карточка 1_Ава">
                      <a:extLst>
                        <a:ext uri="{FF2B5EF4-FFF2-40B4-BE49-F238E27FC236}">
                          <a16:creationId xmlns:a16="http://schemas.microsoft.com/office/drawing/2014/main" id="{F4794E29-5D63-451B-B911-CFCA0B6D89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586" name="Полилиния: фигура 585">
                        <a:extLst>
                          <a:ext uri="{FF2B5EF4-FFF2-40B4-BE49-F238E27FC236}">
                            <a16:creationId xmlns:a16="http://schemas.microsoft.com/office/drawing/2014/main" id="{5054E1D2-CDFF-44F6-AC21-C8BBA57D39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7" name="Полилиния: фигура 586">
                        <a:extLst>
                          <a:ext uri="{FF2B5EF4-FFF2-40B4-BE49-F238E27FC236}">
                            <a16:creationId xmlns:a16="http://schemas.microsoft.com/office/drawing/2014/main" id="{228868F5-C2E5-4889-B8F9-07C9835A64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8" name="Полилиния: фигура 587">
                        <a:extLst>
                          <a:ext uri="{FF2B5EF4-FFF2-40B4-BE49-F238E27FC236}">
                            <a16:creationId xmlns:a16="http://schemas.microsoft.com/office/drawing/2014/main" id="{CF94179A-D799-4EB3-B06A-98B90BDFE8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9" name="Полилиния: фигура 588">
                        <a:extLst>
                          <a:ext uri="{FF2B5EF4-FFF2-40B4-BE49-F238E27FC236}">
                            <a16:creationId xmlns:a16="http://schemas.microsoft.com/office/drawing/2014/main" id="{28DBF639-5B4E-41BB-B115-D76C1E3577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0" name="Полилиния: фигура 589">
                        <a:extLst>
                          <a:ext uri="{FF2B5EF4-FFF2-40B4-BE49-F238E27FC236}">
                            <a16:creationId xmlns:a16="http://schemas.microsoft.com/office/drawing/2014/main" id="{60E19536-1C42-4112-B952-DD18B47E46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1" name="Полилиния: фигура 590">
                        <a:extLst>
                          <a:ext uri="{FF2B5EF4-FFF2-40B4-BE49-F238E27FC236}">
                            <a16:creationId xmlns:a16="http://schemas.microsoft.com/office/drawing/2014/main" id="{5A0EAF66-93FB-4BF9-9696-9FEA682D8C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2" name="Полилиния: фигура 591">
                        <a:extLst>
                          <a:ext uri="{FF2B5EF4-FFF2-40B4-BE49-F238E27FC236}">
                            <a16:creationId xmlns:a16="http://schemas.microsoft.com/office/drawing/2014/main" id="{549D5882-C9EC-4CC4-9117-4EC1A0AFDA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3" name="Полилиния: фигура 592">
                        <a:extLst>
                          <a:ext uri="{FF2B5EF4-FFF2-40B4-BE49-F238E27FC236}">
                            <a16:creationId xmlns:a16="http://schemas.microsoft.com/office/drawing/2014/main" id="{B4238749-7C9B-4EE9-BDBA-99F0CEFC1A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4" name="Полилиния: фигура 593">
                        <a:extLst>
                          <a:ext uri="{FF2B5EF4-FFF2-40B4-BE49-F238E27FC236}">
                            <a16:creationId xmlns:a16="http://schemas.microsoft.com/office/drawing/2014/main" id="{E0FEF631-86E7-43EF-A2E9-4552D1BFCD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5" name="Полилиния: фигура 594">
                        <a:extLst>
                          <a:ext uri="{FF2B5EF4-FFF2-40B4-BE49-F238E27FC236}">
                            <a16:creationId xmlns:a16="http://schemas.microsoft.com/office/drawing/2014/main" id="{E4324ECE-9EBF-4175-97AC-0B7E0E8061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6" name="Полилиния: фигура 595">
                        <a:extLst>
                          <a:ext uri="{FF2B5EF4-FFF2-40B4-BE49-F238E27FC236}">
                            <a16:creationId xmlns:a16="http://schemas.microsoft.com/office/drawing/2014/main" id="{9E1C7466-3E27-4A77-8301-0D7D313E7F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97" name="Полилиния: фигура 596">
                        <a:extLst>
                          <a:ext uri="{FF2B5EF4-FFF2-40B4-BE49-F238E27FC236}">
                            <a16:creationId xmlns:a16="http://schemas.microsoft.com/office/drawing/2014/main" id="{91480920-B4FC-425B-85F5-B190B0F36A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581" name="Карточка 1_Ава">
                      <a:extLst>
                        <a:ext uri="{FF2B5EF4-FFF2-40B4-BE49-F238E27FC236}">
                          <a16:creationId xmlns:a16="http://schemas.microsoft.com/office/drawing/2014/main" id="{A73F1EBB-7657-4FED-8B2D-0BF1CD5DC5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582" name="Полилиния: фигура 581">
                        <a:extLst>
                          <a:ext uri="{FF2B5EF4-FFF2-40B4-BE49-F238E27FC236}">
                            <a16:creationId xmlns:a16="http://schemas.microsoft.com/office/drawing/2014/main" id="{F87A3EA2-6804-493D-AA23-AD25BF55FD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3" name="Полилиния: фигура 582">
                        <a:extLst>
                          <a:ext uri="{FF2B5EF4-FFF2-40B4-BE49-F238E27FC236}">
                            <a16:creationId xmlns:a16="http://schemas.microsoft.com/office/drawing/2014/main" id="{67C6B91A-2EAA-41B4-BE16-D9CF1F3F9C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4" name="Полилиния: фигура 583">
                        <a:extLst>
                          <a:ext uri="{FF2B5EF4-FFF2-40B4-BE49-F238E27FC236}">
                            <a16:creationId xmlns:a16="http://schemas.microsoft.com/office/drawing/2014/main" id="{6D2745D2-3FCA-471E-BE06-CCF795B682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585" name="Полилиния: фигура 584">
                        <a:extLst>
                          <a:ext uri="{FF2B5EF4-FFF2-40B4-BE49-F238E27FC236}">
                            <a16:creationId xmlns:a16="http://schemas.microsoft.com/office/drawing/2014/main" id="{2E25C77C-8DFF-4769-AC83-C0049BBDD3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673" name="CRM">
            <a:extLst>
              <a:ext uri="{FF2B5EF4-FFF2-40B4-BE49-F238E27FC236}">
                <a16:creationId xmlns:a16="http://schemas.microsoft.com/office/drawing/2014/main" id="{DAAB1D98-5362-4F0F-80A2-A3FC3427E789}"/>
              </a:ext>
            </a:extLst>
          </p:cNvPr>
          <p:cNvGrpSpPr/>
          <p:nvPr/>
        </p:nvGrpSpPr>
        <p:grpSpPr>
          <a:xfrm>
            <a:off x="7849407" y="3656904"/>
            <a:ext cx="1990842" cy="2217437"/>
            <a:chOff x="2450726" y="1495697"/>
            <a:chExt cx="2224863" cy="2478094"/>
          </a:xfrm>
        </p:grpSpPr>
        <p:sp>
          <p:nvSpPr>
            <p:cNvPr id="674" name="Shape_фон">
              <a:extLst>
                <a:ext uri="{FF2B5EF4-FFF2-40B4-BE49-F238E27FC236}">
                  <a16:creationId xmlns:a16="http://schemas.microsoft.com/office/drawing/2014/main" id="{1EDF1F73-AFBC-4E11-BB07-E6560E204957}"/>
                </a:ext>
              </a:extLst>
            </p:cNvPr>
            <p:cNvSpPr/>
            <p:nvPr/>
          </p:nvSpPr>
          <p:spPr>
            <a:xfrm>
              <a:off x="2450726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5" name="Описание">
              <a:extLst>
                <a:ext uri="{FF2B5EF4-FFF2-40B4-BE49-F238E27FC236}">
                  <a16:creationId xmlns:a16="http://schemas.microsoft.com/office/drawing/2014/main" id="{23A9C734-D26C-43D3-90DF-3FA78CE01362}"/>
                </a:ext>
              </a:extLst>
            </p:cNvPr>
            <p:cNvSpPr txBox="1"/>
            <p:nvPr/>
          </p:nvSpPr>
          <p:spPr>
            <a:xfrm>
              <a:off x="3213650" y="1661541"/>
              <a:ext cx="699017" cy="378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RM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676" name="Группа 675">
              <a:extLst>
                <a:ext uri="{FF2B5EF4-FFF2-40B4-BE49-F238E27FC236}">
                  <a16:creationId xmlns:a16="http://schemas.microsoft.com/office/drawing/2014/main" id="{C79AD540-F2FD-487C-8B15-63689AD684F3}"/>
                </a:ext>
              </a:extLst>
            </p:cNvPr>
            <p:cNvGrpSpPr/>
            <p:nvPr/>
          </p:nvGrpSpPr>
          <p:grpSpPr>
            <a:xfrm>
              <a:off x="2602581" y="2185291"/>
              <a:ext cx="1823301" cy="295269"/>
              <a:chOff x="2554158" y="1493927"/>
              <a:chExt cx="3536455" cy="572700"/>
            </a:xfrm>
          </p:grpSpPr>
          <p:sp>
            <p:nvSpPr>
              <p:cNvPr id="755" name="Rounded Rectangle">
                <a:extLst>
                  <a:ext uri="{FF2B5EF4-FFF2-40B4-BE49-F238E27FC236}">
                    <a16:creationId xmlns:a16="http://schemas.microsoft.com/office/drawing/2014/main" id="{0C3F91FA-7490-4C68-9CB1-1B6A733F49E1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56" name="Market analysis">
                <a:extLst>
                  <a:ext uri="{FF2B5EF4-FFF2-40B4-BE49-F238E27FC236}">
                    <a16:creationId xmlns:a16="http://schemas.microsoft.com/office/drawing/2014/main" id="{C5816D8B-364F-48B7-A72C-EFE0638834FC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57" name="Группа 756">
                <a:extLst>
                  <a:ext uri="{FF2B5EF4-FFF2-40B4-BE49-F238E27FC236}">
                    <a16:creationId xmlns:a16="http://schemas.microsoft.com/office/drawing/2014/main" id="{F6D0AB6A-A1DC-4423-B5AC-D773F4F47896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58" name="Circle">
                  <a:extLst>
                    <a:ext uri="{FF2B5EF4-FFF2-40B4-BE49-F238E27FC236}">
                      <a16:creationId xmlns:a16="http://schemas.microsoft.com/office/drawing/2014/main" id="{FFFD33CB-7180-45EC-8616-D31050E82A8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59" name="Группа 758">
                  <a:extLst>
                    <a:ext uri="{FF2B5EF4-FFF2-40B4-BE49-F238E27FC236}">
                      <a16:creationId xmlns:a16="http://schemas.microsoft.com/office/drawing/2014/main" id="{BC6E2006-7B53-4E66-94D5-AD88B125650E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60" name="Полилиния: фигура 759">
                    <a:extLst>
                      <a:ext uri="{FF2B5EF4-FFF2-40B4-BE49-F238E27FC236}">
                        <a16:creationId xmlns:a16="http://schemas.microsoft.com/office/drawing/2014/main" id="{CCCE5718-FA0B-41C1-B25E-51CDE7F40E66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61" name="Карточка 1_Ава">
                    <a:extLst>
                      <a:ext uri="{FF2B5EF4-FFF2-40B4-BE49-F238E27FC236}">
                        <a16:creationId xmlns:a16="http://schemas.microsoft.com/office/drawing/2014/main" id="{BB8FA009-6263-4D1E-B4CB-3600167B5A1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62" name="Карточка 1_Ава">
                      <a:extLst>
                        <a:ext uri="{FF2B5EF4-FFF2-40B4-BE49-F238E27FC236}">
                          <a16:creationId xmlns:a16="http://schemas.microsoft.com/office/drawing/2014/main" id="{4021E433-5BEB-468E-A6FC-97D10DD8F1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68" name="Полилиния: фигура 767">
                        <a:extLst>
                          <a:ext uri="{FF2B5EF4-FFF2-40B4-BE49-F238E27FC236}">
                            <a16:creationId xmlns:a16="http://schemas.microsoft.com/office/drawing/2014/main" id="{082B625E-89E8-42F7-967E-B1F9C80405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9" name="Полилиния: фигура 768">
                        <a:extLst>
                          <a:ext uri="{FF2B5EF4-FFF2-40B4-BE49-F238E27FC236}">
                            <a16:creationId xmlns:a16="http://schemas.microsoft.com/office/drawing/2014/main" id="{91F21D11-5A7E-4770-98F4-B4C19FC4CA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0" name="Полилиния: фигура 769">
                        <a:extLst>
                          <a:ext uri="{FF2B5EF4-FFF2-40B4-BE49-F238E27FC236}">
                            <a16:creationId xmlns:a16="http://schemas.microsoft.com/office/drawing/2014/main" id="{FC9E16DA-66C3-4575-BBD2-074CD97676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1" name="Полилиния: фигура 770">
                        <a:extLst>
                          <a:ext uri="{FF2B5EF4-FFF2-40B4-BE49-F238E27FC236}">
                            <a16:creationId xmlns:a16="http://schemas.microsoft.com/office/drawing/2014/main" id="{115F0AEB-FE13-4D66-8980-E11FF6F3C8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2" name="Полилиния: фигура 771">
                        <a:extLst>
                          <a:ext uri="{FF2B5EF4-FFF2-40B4-BE49-F238E27FC236}">
                            <a16:creationId xmlns:a16="http://schemas.microsoft.com/office/drawing/2014/main" id="{4C159C60-2FF1-4137-B940-3498346112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3" name="Полилиния: фигура 772">
                        <a:extLst>
                          <a:ext uri="{FF2B5EF4-FFF2-40B4-BE49-F238E27FC236}">
                            <a16:creationId xmlns:a16="http://schemas.microsoft.com/office/drawing/2014/main" id="{39E99FC7-F948-474E-9F2A-0A74FF700F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4" name="Полилиния: фигура 773">
                        <a:extLst>
                          <a:ext uri="{FF2B5EF4-FFF2-40B4-BE49-F238E27FC236}">
                            <a16:creationId xmlns:a16="http://schemas.microsoft.com/office/drawing/2014/main" id="{11AAF7DD-BB63-4650-8E86-A1F16EE291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5" name="Полилиния: фигура 774">
                        <a:extLst>
                          <a:ext uri="{FF2B5EF4-FFF2-40B4-BE49-F238E27FC236}">
                            <a16:creationId xmlns:a16="http://schemas.microsoft.com/office/drawing/2014/main" id="{48AEE626-835F-46FE-8E70-7D68056953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6" name="Полилиния: фигура 775">
                        <a:extLst>
                          <a:ext uri="{FF2B5EF4-FFF2-40B4-BE49-F238E27FC236}">
                            <a16:creationId xmlns:a16="http://schemas.microsoft.com/office/drawing/2014/main" id="{6BE7F5A9-A891-4EEE-BE16-23B3182910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7" name="Полилиния: фигура 776">
                        <a:extLst>
                          <a:ext uri="{FF2B5EF4-FFF2-40B4-BE49-F238E27FC236}">
                            <a16:creationId xmlns:a16="http://schemas.microsoft.com/office/drawing/2014/main" id="{B124D912-6F7B-42A7-A5D6-1FC1A1E8DB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8" name="Полилиния: фигура 777">
                        <a:extLst>
                          <a:ext uri="{FF2B5EF4-FFF2-40B4-BE49-F238E27FC236}">
                            <a16:creationId xmlns:a16="http://schemas.microsoft.com/office/drawing/2014/main" id="{9F8BBCDF-7797-4785-B931-DA9B974E8E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79" name="Полилиния: фигура 778">
                        <a:extLst>
                          <a:ext uri="{FF2B5EF4-FFF2-40B4-BE49-F238E27FC236}">
                            <a16:creationId xmlns:a16="http://schemas.microsoft.com/office/drawing/2014/main" id="{AFCCE39A-A880-450C-A6D4-F3DE59F457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63" name="Карточка 1_Ава">
                      <a:extLst>
                        <a:ext uri="{FF2B5EF4-FFF2-40B4-BE49-F238E27FC236}">
                          <a16:creationId xmlns:a16="http://schemas.microsoft.com/office/drawing/2014/main" id="{27A8A684-179F-4FD6-A9DA-BE1206026F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64" name="Полилиния: фигура 763">
                        <a:extLst>
                          <a:ext uri="{FF2B5EF4-FFF2-40B4-BE49-F238E27FC236}">
                            <a16:creationId xmlns:a16="http://schemas.microsoft.com/office/drawing/2014/main" id="{D2E90D6A-BD09-439F-BF58-718AF51849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5" name="Полилиния: фигура 764">
                        <a:extLst>
                          <a:ext uri="{FF2B5EF4-FFF2-40B4-BE49-F238E27FC236}">
                            <a16:creationId xmlns:a16="http://schemas.microsoft.com/office/drawing/2014/main" id="{3940D6D9-F912-4277-AEA5-08E4B986DE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6" name="Полилиния: фигура 765">
                        <a:extLst>
                          <a:ext uri="{FF2B5EF4-FFF2-40B4-BE49-F238E27FC236}">
                            <a16:creationId xmlns:a16="http://schemas.microsoft.com/office/drawing/2014/main" id="{69D997DC-4785-4614-8989-44056CCD58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67" name="Полилиния: фигура 766">
                        <a:extLst>
                          <a:ext uri="{FF2B5EF4-FFF2-40B4-BE49-F238E27FC236}">
                            <a16:creationId xmlns:a16="http://schemas.microsoft.com/office/drawing/2014/main" id="{BD95CB1D-9389-4B07-A2CB-0483174A2B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77" name="Группа 676">
              <a:extLst>
                <a:ext uri="{FF2B5EF4-FFF2-40B4-BE49-F238E27FC236}">
                  <a16:creationId xmlns:a16="http://schemas.microsoft.com/office/drawing/2014/main" id="{A04F3BA2-FB3C-498C-842B-C5C835C89774}"/>
                </a:ext>
              </a:extLst>
            </p:cNvPr>
            <p:cNvGrpSpPr/>
            <p:nvPr/>
          </p:nvGrpSpPr>
          <p:grpSpPr>
            <a:xfrm>
              <a:off x="2602581" y="3442801"/>
              <a:ext cx="1823301" cy="295269"/>
              <a:chOff x="2554158" y="1493927"/>
              <a:chExt cx="3536455" cy="572700"/>
            </a:xfrm>
          </p:grpSpPr>
          <p:sp>
            <p:nvSpPr>
              <p:cNvPr id="730" name="Rounded Rectangle">
                <a:extLst>
                  <a:ext uri="{FF2B5EF4-FFF2-40B4-BE49-F238E27FC236}">
                    <a16:creationId xmlns:a16="http://schemas.microsoft.com/office/drawing/2014/main" id="{AF13E1AC-3941-4728-A7CB-B5AAC93106F6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31" name="Market analysis">
                <a:extLst>
                  <a:ext uri="{FF2B5EF4-FFF2-40B4-BE49-F238E27FC236}">
                    <a16:creationId xmlns:a16="http://schemas.microsoft.com/office/drawing/2014/main" id="{A59FEE1D-F491-45EC-B719-56718CEDF52F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32" name="Группа 731">
                <a:extLst>
                  <a:ext uri="{FF2B5EF4-FFF2-40B4-BE49-F238E27FC236}">
                    <a16:creationId xmlns:a16="http://schemas.microsoft.com/office/drawing/2014/main" id="{E715FA11-0EBB-4F64-8CC3-E5B93C89D049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33" name="Circle">
                  <a:extLst>
                    <a:ext uri="{FF2B5EF4-FFF2-40B4-BE49-F238E27FC236}">
                      <a16:creationId xmlns:a16="http://schemas.microsoft.com/office/drawing/2014/main" id="{FBB7EBFC-B073-47C0-8F98-74E197B1B865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34" name="Группа 733">
                  <a:extLst>
                    <a:ext uri="{FF2B5EF4-FFF2-40B4-BE49-F238E27FC236}">
                      <a16:creationId xmlns:a16="http://schemas.microsoft.com/office/drawing/2014/main" id="{978DFE68-8AE3-4FAC-8FCA-35CEFFDB7C53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35" name="Полилиния: фигура 734">
                    <a:extLst>
                      <a:ext uri="{FF2B5EF4-FFF2-40B4-BE49-F238E27FC236}">
                        <a16:creationId xmlns:a16="http://schemas.microsoft.com/office/drawing/2014/main" id="{78DE8A84-43F8-4D71-B1F5-2FCFCDF4FFBB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36" name="Карточка 1_Ава">
                    <a:extLst>
                      <a:ext uri="{FF2B5EF4-FFF2-40B4-BE49-F238E27FC236}">
                        <a16:creationId xmlns:a16="http://schemas.microsoft.com/office/drawing/2014/main" id="{B2FE29C2-F7AF-4DF7-B5C0-034346B9630A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37" name="Карточка 1_Ава">
                      <a:extLst>
                        <a:ext uri="{FF2B5EF4-FFF2-40B4-BE49-F238E27FC236}">
                          <a16:creationId xmlns:a16="http://schemas.microsoft.com/office/drawing/2014/main" id="{B6439103-41C6-4A32-B228-3358FA7F59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43" name="Полилиния: фигура 742">
                        <a:extLst>
                          <a:ext uri="{FF2B5EF4-FFF2-40B4-BE49-F238E27FC236}">
                            <a16:creationId xmlns:a16="http://schemas.microsoft.com/office/drawing/2014/main" id="{2C446926-1E2F-4638-9039-64D7DB7858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4" name="Полилиния: фигура 743">
                        <a:extLst>
                          <a:ext uri="{FF2B5EF4-FFF2-40B4-BE49-F238E27FC236}">
                            <a16:creationId xmlns:a16="http://schemas.microsoft.com/office/drawing/2014/main" id="{E85A0939-A8C2-448B-BE16-442309208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5" name="Полилиния: фигура 744">
                        <a:extLst>
                          <a:ext uri="{FF2B5EF4-FFF2-40B4-BE49-F238E27FC236}">
                            <a16:creationId xmlns:a16="http://schemas.microsoft.com/office/drawing/2014/main" id="{C860F154-C24E-422D-9F4C-C8CD497A52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6" name="Полилиния: фигура 745">
                        <a:extLst>
                          <a:ext uri="{FF2B5EF4-FFF2-40B4-BE49-F238E27FC236}">
                            <a16:creationId xmlns:a16="http://schemas.microsoft.com/office/drawing/2014/main" id="{12FCC448-0949-4794-AA27-0B435B6172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7" name="Полилиния: фигура 746">
                        <a:extLst>
                          <a:ext uri="{FF2B5EF4-FFF2-40B4-BE49-F238E27FC236}">
                            <a16:creationId xmlns:a16="http://schemas.microsoft.com/office/drawing/2014/main" id="{67177F41-24C4-41F9-B23A-C3DD1AE9D2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8" name="Полилиния: фигура 747">
                        <a:extLst>
                          <a:ext uri="{FF2B5EF4-FFF2-40B4-BE49-F238E27FC236}">
                            <a16:creationId xmlns:a16="http://schemas.microsoft.com/office/drawing/2014/main" id="{FAB736E0-9D24-432E-9974-D9D9C1707F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9" name="Полилиния: фигура 748">
                        <a:extLst>
                          <a:ext uri="{FF2B5EF4-FFF2-40B4-BE49-F238E27FC236}">
                            <a16:creationId xmlns:a16="http://schemas.microsoft.com/office/drawing/2014/main" id="{099C2869-BC98-42CA-8480-CFD70CA269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0" name="Полилиния: фигура 749">
                        <a:extLst>
                          <a:ext uri="{FF2B5EF4-FFF2-40B4-BE49-F238E27FC236}">
                            <a16:creationId xmlns:a16="http://schemas.microsoft.com/office/drawing/2014/main" id="{E2B2F561-9E07-401D-B909-AC2051D8DA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1" name="Полилиния: фигура 750">
                        <a:extLst>
                          <a:ext uri="{FF2B5EF4-FFF2-40B4-BE49-F238E27FC236}">
                            <a16:creationId xmlns:a16="http://schemas.microsoft.com/office/drawing/2014/main" id="{DAFEEFB0-CB99-4654-B708-63FAE8E675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2" name="Полилиния: фигура 751">
                        <a:extLst>
                          <a:ext uri="{FF2B5EF4-FFF2-40B4-BE49-F238E27FC236}">
                            <a16:creationId xmlns:a16="http://schemas.microsoft.com/office/drawing/2014/main" id="{660ADFB4-0213-4DC6-AACC-2B30F7E9C3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3" name="Полилиния: фигура 752">
                        <a:extLst>
                          <a:ext uri="{FF2B5EF4-FFF2-40B4-BE49-F238E27FC236}">
                            <a16:creationId xmlns:a16="http://schemas.microsoft.com/office/drawing/2014/main" id="{10C6CA68-6356-4750-98C7-35BB3735B2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54" name="Полилиния: фигура 753">
                        <a:extLst>
                          <a:ext uri="{FF2B5EF4-FFF2-40B4-BE49-F238E27FC236}">
                            <a16:creationId xmlns:a16="http://schemas.microsoft.com/office/drawing/2014/main" id="{1E75842D-2A1D-4B62-81D0-8EC9B8602B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38" name="Карточка 1_Ава">
                      <a:extLst>
                        <a:ext uri="{FF2B5EF4-FFF2-40B4-BE49-F238E27FC236}">
                          <a16:creationId xmlns:a16="http://schemas.microsoft.com/office/drawing/2014/main" id="{A0E3C046-66EF-42E7-A42B-383BE2EB104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39" name="Полилиния: фигура 738">
                        <a:extLst>
                          <a:ext uri="{FF2B5EF4-FFF2-40B4-BE49-F238E27FC236}">
                            <a16:creationId xmlns:a16="http://schemas.microsoft.com/office/drawing/2014/main" id="{92F6883A-1207-40CF-A091-094ED02263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0" name="Полилиния: фигура 739">
                        <a:extLst>
                          <a:ext uri="{FF2B5EF4-FFF2-40B4-BE49-F238E27FC236}">
                            <a16:creationId xmlns:a16="http://schemas.microsoft.com/office/drawing/2014/main" id="{C7E33FFC-D6D8-4F99-BAEC-9F9B60917E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1" name="Полилиния: фигура 740">
                        <a:extLst>
                          <a:ext uri="{FF2B5EF4-FFF2-40B4-BE49-F238E27FC236}">
                            <a16:creationId xmlns:a16="http://schemas.microsoft.com/office/drawing/2014/main" id="{5998EAB4-F31E-47D4-A2C1-97CCA930EE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42" name="Полилиния: фигура 741">
                        <a:extLst>
                          <a:ext uri="{FF2B5EF4-FFF2-40B4-BE49-F238E27FC236}">
                            <a16:creationId xmlns:a16="http://schemas.microsoft.com/office/drawing/2014/main" id="{8BC6D6EB-2966-46CD-8E24-EDE0A76F58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78" name="Группа 677">
              <a:extLst>
                <a:ext uri="{FF2B5EF4-FFF2-40B4-BE49-F238E27FC236}">
                  <a16:creationId xmlns:a16="http://schemas.microsoft.com/office/drawing/2014/main" id="{9DDAAEAF-C0F7-41C6-BEC6-A7A4DA6B5169}"/>
                </a:ext>
              </a:extLst>
            </p:cNvPr>
            <p:cNvGrpSpPr/>
            <p:nvPr/>
          </p:nvGrpSpPr>
          <p:grpSpPr>
            <a:xfrm>
              <a:off x="2602581" y="2604461"/>
              <a:ext cx="1823301" cy="295269"/>
              <a:chOff x="2554158" y="1493927"/>
              <a:chExt cx="3536455" cy="572700"/>
            </a:xfrm>
          </p:grpSpPr>
          <p:sp>
            <p:nvSpPr>
              <p:cNvPr id="705" name="Rounded Rectangle">
                <a:extLst>
                  <a:ext uri="{FF2B5EF4-FFF2-40B4-BE49-F238E27FC236}">
                    <a16:creationId xmlns:a16="http://schemas.microsoft.com/office/drawing/2014/main" id="{3E5E07BC-C2D0-4652-B36B-F4975744A41A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06" name="Market analysis">
                <a:extLst>
                  <a:ext uri="{FF2B5EF4-FFF2-40B4-BE49-F238E27FC236}">
                    <a16:creationId xmlns:a16="http://schemas.microsoft.com/office/drawing/2014/main" id="{3BC55F67-9C7B-40AF-B7B2-D9105240E381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07" name="Группа 706">
                <a:extLst>
                  <a:ext uri="{FF2B5EF4-FFF2-40B4-BE49-F238E27FC236}">
                    <a16:creationId xmlns:a16="http://schemas.microsoft.com/office/drawing/2014/main" id="{20E1ECFF-A532-4BB9-877D-C2DD933199CD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08" name="Circle">
                  <a:extLst>
                    <a:ext uri="{FF2B5EF4-FFF2-40B4-BE49-F238E27FC236}">
                      <a16:creationId xmlns:a16="http://schemas.microsoft.com/office/drawing/2014/main" id="{6852BD8D-13EE-4B42-BC07-BDE706129988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09" name="Группа 708">
                  <a:extLst>
                    <a:ext uri="{FF2B5EF4-FFF2-40B4-BE49-F238E27FC236}">
                      <a16:creationId xmlns:a16="http://schemas.microsoft.com/office/drawing/2014/main" id="{9A6EE378-C9F5-4B0B-BA25-D8091FDBC85E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10" name="Полилиния: фигура 709">
                    <a:extLst>
                      <a:ext uri="{FF2B5EF4-FFF2-40B4-BE49-F238E27FC236}">
                        <a16:creationId xmlns:a16="http://schemas.microsoft.com/office/drawing/2014/main" id="{C25749EA-D08B-45FF-8C30-DCCF30E86D58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11" name="Карточка 1_Ава">
                    <a:extLst>
                      <a:ext uri="{FF2B5EF4-FFF2-40B4-BE49-F238E27FC236}">
                        <a16:creationId xmlns:a16="http://schemas.microsoft.com/office/drawing/2014/main" id="{4A2748C7-762D-41E4-8DBC-6430BC6C70FC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12" name="Карточка 1_Ава">
                      <a:extLst>
                        <a:ext uri="{FF2B5EF4-FFF2-40B4-BE49-F238E27FC236}">
                          <a16:creationId xmlns:a16="http://schemas.microsoft.com/office/drawing/2014/main" id="{267D2E9F-7DC7-41FA-B842-E84820A52A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718" name="Полилиния: фигура 717">
                        <a:extLst>
                          <a:ext uri="{FF2B5EF4-FFF2-40B4-BE49-F238E27FC236}">
                            <a16:creationId xmlns:a16="http://schemas.microsoft.com/office/drawing/2014/main" id="{06B3257A-4498-4F41-95D9-C82F6DF480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9" name="Полилиния: фигура 718">
                        <a:extLst>
                          <a:ext uri="{FF2B5EF4-FFF2-40B4-BE49-F238E27FC236}">
                            <a16:creationId xmlns:a16="http://schemas.microsoft.com/office/drawing/2014/main" id="{717EBF02-AC49-4D63-AEF4-14247601D0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0" name="Полилиния: фигура 719">
                        <a:extLst>
                          <a:ext uri="{FF2B5EF4-FFF2-40B4-BE49-F238E27FC236}">
                            <a16:creationId xmlns:a16="http://schemas.microsoft.com/office/drawing/2014/main" id="{7953D9BF-123C-485B-9DC0-273517B6AF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1" name="Полилиния: фигура 720">
                        <a:extLst>
                          <a:ext uri="{FF2B5EF4-FFF2-40B4-BE49-F238E27FC236}">
                            <a16:creationId xmlns:a16="http://schemas.microsoft.com/office/drawing/2014/main" id="{B068C11F-C638-4538-9021-F95D061378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2" name="Полилиния: фигура 721">
                        <a:extLst>
                          <a:ext uri="{FF2B5EF4-FFF2-40B4-BE49-F238E27FC236}">
                            <a16:creationId xmlns:a16="http://schemas.microsoft.com/office/drawing/2014/main" id="{E54A290D-3758-4273-9963-D3EE58E108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3" name="Полилиния: фигура 722">
                        <a:extLst>
                          <a:ext uri="{FF2B5EF4-FFF2-40B4-BE49-F238E27FC236}">
                            <a16:creationId xmlns:a16="http://schemas.microsoft.com/office/drawing/2014/main" id="{341ADACE-F060-4A34-958F-0F785E1E09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4" name="Полилиния: фигура 723">
                        <a:extLst>
                          <a:ext uri="{FF2B5EF4-FFF2-40B4-BE49-F238E27FC236}">
                            <a16:creationId xmlns:a16="http://schemas.microsoft.com/office/drawing/2014/main" id="{7E6883BE-5AC1-4B14-9D1D-788B159DC2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5" name="Полилиния: фигура 724">
                        <a:extLst>
                          <a:ext uri="{FF2B5EF4-FFF2-40B4-BE49-F238E27FC236}">
                            <a16:creationId xmlns:a16="http://schemas.microsoft.com/office/drawing/2014/main" id="{B456F6E6-64DB-4CC4-8E34-599929ECAC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6" name="Полилиния: фигура 725">
                        <a:extLst>
                          <a:ext uri="{FF2B5EF4-FFF2-40B4-BE49-F238E27FC236}">
                            <a16:creationId xmlns:a16="http://schemas.microsoft.com/office/drawing/2014/main" id="{0C04273C-6E5B-48BB-83B3-25D7EF5423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7" name="Полилиния: фигура 726">
                        <a:extLst>
                          <a:ext uri="{FF2B5EF4-FFF2-40B4-BE49-F238E27FC236}">
                            <a16:creationId xmlns:a16="http://schemas.microsoft.com/office/drawing/2014/main" id="{56A53CC5-BB21-4EB7-A5E3-E3F0FE610A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8" name="Полилиния: фигура 727">
                        <a:extLst>
                          <a:ext uri="{FF2B5EF4-FFF2-40B4-BE49-F238E27FC236}">
                            <a16:creationId xmlns:a16="http://schemas.microsoft.com/office/drawing/2014/main" id="{22072319-58FE-4EE9-8556-BCE33A9B4F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29" name="Полилиния: фигура 728">
                        <a:extLst>
                          <a:ext uri="{FF2B5EF4-FFF2-40B4-BE49-F238E27FC236}">
                            <a16:creationId xmlns:a16="http://schemas.microsoft.com/office/drawing/2014/main" id="{9668EB9D-0A1D-4880-8F99-45A3205336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13" name="Карточка 1_Ава">
                      <a:extLst>
                        <a:ext uri="{FF2B5EF4-FFF2-40B4-BE49-F238E27FC236}">
                          <a16:creationId xmlns:a16="http://schemas.microsoft.com/office/drawing/2014/main" id="{5FEAFA07-F746-4BF4-A036-E83B18827D9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14" name="Полилиния: фигура 713">
                        <a:extLst>
                          <a:ext uri="{FF2B5EF4-FFF2-40B4-BE49-F238E27FC236}">
                            <a16:creationId xmlns:a16="http://schemas.microsoft.com/office/drawing/2014/main" id="{02B011BF-9CDE-498D-B71A-B505029B5D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5" name="Полилиния: фигура 714">
                        <a:extLst>
                          <a:ext uri="{FF2B5EF4-FFF2-40B4-BE49-F238E27FC236}">
                            <a16:creationId xmlns:a16="http://schemas.microsoft.com/office/drawing/2014/main" id="{E1DB3032-B35C-45FC-B2AF-14C393399F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6" name="Полилиния: фигура 715">
                        <a:extLst>
                          <a:ext uri="{FF2B5EF4-FFF2-40B4-BE49-F238E27FC236}">
                            <a16:creationId xmlns:a16="http://schemas.microsoft.com/office/drawing/2014/main" id="{0D460F87-C695-4E95-8EB3-363B5CFC5B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17" name="Полилиния: фигура 716">
                        <a:extLst>
                          <a:ext uri="{FF2B5EF4-FFF2-40B4-BE49-F238E27FC236}">
                            <a16:creationId xmlns:a16="http://schemas.microsoft.com/office/drawing/2014/main" id="{FB4932F2-9657-446E-9229-C18FA51128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679" name="Группа 678">
              <a:extLst>
                <a:ext uri="{FF2B5EF4-FFF2-40B4-BE49-F238E27FC236}">
                  <a16:creationId xmlns:a16="http://schemas.microsoft.com/office/drawing/2014/main" id="{75BE5891-82EA-4529-BE55-D8194FBE2349}"/>
                </a:ext>
              </a:extLst>
            </p:cNvPr>
            <p:cNvGrpSpPr/>
            <p:nvPr/>
          </p:nvGrpSpPr>
          <p:grpSpPr>
            <a:xfrm>
              <a:off x="2602581" y="3023631"/>
              <a:ext cx="1823301" cy="295269"/>
              <a:chOff x="2554158" y="1493927"/>
              <a:chExt cx="3536455" cy="572700"/>
            </a:xfrm>
          </p:grpSpPr>
          <p:sp>
            <p:nvSpPr>
              <p:cNvPr id="680" name="Rounded Rectangle">
                <a:extLst>
                  <a:ext uri="{FF2B5EF4-FFF2-40B4-BE49-F238E27FC236}">
                    <a16:creationId xmlns:a16="http://schemas.microsoft.com/office/drawing/2014/main" id="{82B1633B-F7EE-437B-9621-609599C6C626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81" name="Market analysis">
                <a:extLst>
                  <a:ext uri="{FF2B5EF4-FFF2-40B4-BE49-F238E27FC236}">
                    <a16:creationId xmlns:a16="http://schemas.microsoft.com/office/drawing/2014/main" id="{A252AFD1-BC8A-424E-AA20-1765E4581F18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682" name="Группа 681">
                <a:extLst>
                  <a:ext uri="{FF2B5EF4-FFF2-40B4-BE49-F238E27FC236}">
                    <a16:creationId xmlns:a16="http://schemas.microsoft.com/office/drawing/2014/main" id="{1D67F2F6-2731-4825-8763-4BE0D943E2CD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683" name="Circle">
                  <a:extLst>
                    <a:ext uri="{FF2B5EF4-FFF2-40B4-BE49-F238E27FC236}">
                      <a16:creationId xmlns:a16="http://schemas.microsoft.com/office/drawing/2014/main" id="{1BFCC263-3081-4E71-9A58-8F717FFB4E94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684" name="Группа 683">
                  <a:extLst>
                    <a:ext uri="{FF2B5EF4-FFF2-40B4-BE49-F238E27FC236}">
                      <a16:creationId xmlns:a16="http://schemas.microsoft.com/office/drawing/2014/main" id="{B464B993-EC3C-4929-B9B8-C60BE592FFB0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685" name="Полилиния: фигура 684">
                    <a:extLst>
                      <a:ext uri="{FF2B5EF4-FFF2-40B4-BE49-F238E27FC236}">
                        <a16:creationId xmlns:a16="http://schemas.microsoft.com/office/drawing/2014/main" id="{DE67DB36-6A47-4448-B05B-7ACC7680F208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686" name="Карточка 1_Ава">
                    <a:extLst>
                      <a:ext uri="{FF2B5EF4-FFF2-40B4-BE49-F238E27FC236}">
                        <a16:creationId xmlns:a16="http://schemas.microsoft.com/office/drawing/2014/main" id="{74E64904-85D8-4CAB-8DE8-341655758C09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687" name="Карточка 1_Ава">
                      <a:extLst>
                        <a:ext uri="{FF2B5EF4-FFF2-40B4-BE49-F238E27FC236}">
                          <a16:creationId xmlns:a16="http://schemas.microsoft.com/office/drawing/2014/main" id="{7D5E98E3-666C-4336-B905-BE6540ED72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693" name="Полилиния: фигура 692">
                        <a:extLst>
                          <a:ext uri="{FF2B5EF4-FFF2-40B4-BE49-F238E27FC236}">
                            <a16:creationId xmlns:a16="http://schemas.microsoft.com/office/drawing/2014/main" id="{0711C3BE-5042-4859-82E0-8053DA422E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4" name="Полилиния: фигура 693">
                        <a:extLst>
                          <a:ext uri="{FF2B5EF4-FFF2-40B4-BE49-F238E27FC236}">
                            <a16:creationId xmlns:a16="http://schemas.microsoft.com/office/drawing/2014/main" id="{D8668B5D-086D-498D-9AD1-B3B3041626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5" name="Полилиния: фигура 694">
                        <a:extLst>
                          <a:ext uri="{FF2B5EF4-FFF2-40B4-BE49-F238E27FC236}">
                            <a16:creationId xmlns:a16="http://schemas.microsoft.com/office/drawing/2014/main" id="{AFEAAA5E-59FA-4F32-87D3-7C318B8B34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6" name="Полилиния: фигура 695">
                        <a:extLst>
                          <a:ext uri="{FF2B5EF4-FFF2-40B4-BE49-F238E27FC236}">
                            <a16:creationId xmlns:a16="http://schemas.microsoft.com/office/drawing/2014/main" id="{6F60FBF4-4C93-4340-883C-A627610F89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7" name="Полилиния: фигура 696">
                        <a:extLst>
                          <a:ext uri="{FF2B5EF4-FFF2-40B4-BE49-F238E27FC236}">
                            <a16:creationId xmlns:a16="http://schemas.microsoft.com/office/drawing/2014/main" id="{1BB55A69-7B55-4860-8498-671D1751DC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8" name="Полилиния: фигура 697">
                        <a:extLst>
                          <a:ext uri="{FF2B5EF4-FFF2-40B4-BE49-F238E27FC236}">
                            <a16:creationId xmlns:a16="http://schemas.microsoft.com/office/drawing/2014/main" id="{CB9CBEFE-D517-48CA-9E00-F320B0056E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9" name="Полилиния: фигура 698">
                        <a:extLst>
                          <a:ext uri="{FF2B5EF4-FFF2-40B4-BE49-F238E27FC236}">
                            <a16:creationId xmlns:a16="http://schemas.microsoft.com/office/drawing/2014/main" id="{76D118C6-CD33-435B-BB19-D7021B2376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0" name="Полилиния: фигура 699">
                        <a:extLst>
                          <a:ext uri="{FF2B5EF4-FFF2-40B4-BE49-F238E27FC236}">
                            <a16:creationId xmlns:a16="http://schemas.microsoft.com/office/drawing/2014/main" id="{AC0440D6-404B-489C-B0C6-261573A593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1" name="Полилиния: фигура 700">
                        <a:extLst>
                          <a:ext uri="{FF2B5EF4-FFF2-40B4-BE49-F238E27FC236}">
                            <a16:creationId xmlns:a16="http://schemas.microsoft.com/office/drawing/2014/main" id="{6C0BB923-AD0A-4762-8F15-70B6C077C1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2" name="Полилиния: фигура 701">
                        <a:extLst>
                          <a:ext uri="{FF2B5EF4-FFF2-40B4-BE49-F238E27FC236}">
                            <a16:creationId xmlns:a16="http://schemas.microsoft.com/office/drawing/2014/main" id="{F494F1D4-3419-47B6-B75E-F6CA00C798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3" name="Полилиния: фигура 702">
                        <a:extLst>
                          <a:ext uri="{FF2B5EF4-FFF2-40B4-BE49-F238E27FC236}">
                            <a16:creationId xmlns:a16="http://schemas.microsoft.com/office/drawing/2014/main" id="{8CCEF2F1-42D3-4142-8BED-5851E50F7A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04" name="Полилиния: фигура 703">
                        <a:extLst>
                          <a:ext uri="{FF2B5EF4-FFF2-40B4-BE49-F238E27FC236}">
                            <a16:creationId xmlns:a16="http://schemas.microsoft.com/office/drawing/2014/main" id="{11E77E3A-EBE0-48E4-8983-52F32C52BF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688" name="Карточка 1_Ава">
                      <a:extLst>
                        <a:ext uri="{FF2B5EF4-FFF2-40B4-BE49-F238E27FC236}">
                          <a16:creationId xmlns:a16="http://schemas.microsoft.com/office/drawing/2014/main" id="{64F985C7-8285-46E1-BFFB-D12C2FC473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689" name="Полилиния: фигура 688">
                        <a:extLst>
                          <a:ext uri="{FF2B5EF4-FFF2-40B4-BE49-F238E27FC236}">
                            <a16:creationId xmlns:a16="http://schemas.microsoft.com/office/drawing/2014/main" id="{B992B4FF-0029-4F67-AC79-12E0217A3A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0" name="Полилиния: фигура 689">
                        <a:extLst>
                          <a:ext uri="{FF2B5EF4-FFF2-40B4-BE49-F238E27FC236}">
                            <a16:creationId xmlns:a16="http://schemas.microsoft.com/office/drawing/2014/main" id="{8D787D3B-A6A7-4821-8221-6FA8ED58BA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1" name="Полилиния: фигура 690">
                        <a:extLst>
                          <a:ext uri="{FF2B5EF4-FFF2-40B4-BE49-F238E27FC236}">
                            <a16:creationId xmlns:a16="http://schemas.microsoft.com/office/drawing/2014/main" id="{8F779D04-82FA-4F70-8842-B451A41C82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692" name="Полилиния: фигура 691">
                        <a:extLst>
                          <a:ext uri="{FF2B5EF4-FFF2-40B4-BE49-F238E27FC236}">
                            <a16:creationId xmlns:a16="http://schemas.microsoft.com/office/drawing/2014/main" id="{996EE562-14BC-42AC-8DE2-727FB86396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780" name="CRM">
            <a:extLst>
              <a:ext uri="{FF2B5EF4-FFF2-40B4-BE49-F238E27FC236}">
                <a16:creationId xmlns:a16="http://schemas.microsoft.com/office/drawing/2014/main" id="{504AD0B0-0ECB-422E-84C6-492EFC75DBA8}"/>
              </a:ext>
            </a:extLst>
          </p:cNvPr>
          <p:cNvGrpSpPr/>
          <p:nvPr/>
        </p:nvGrpSpPr>
        <p:grpSpPr>
          <a:xfrm>
            <a:off x="10011469" y="3313216"/>
            <a:ext cx="1990842" cy="2217437"/>
            <a:chOff x="2450726" y="1495697"/>
            <a:chExt cx="2224863" cy="2478094"/>
          </a:xfrm>
        </p:grpSpPr>
        <p:sp>
          <p:nvSpPr>
            <p:cNvPr id="781" name="Shape_фон">
              <a:extLst>
                <a:ext uri="{FF2B5EF4-FFF2-40B4-BE49-F238E27FC236}">
                  <a16:creationId xmlns:a16="http://schemas.microsoft.com/office/drawing/2014/main" id="{08607D86-5943-4287-8A87-7F87B7D271BF}"/>
                </a:ext>
              </a:extLst>
            </p:cNvPr>
            <p:cNvSpPr/>
            <p:nvPr/>
          </p:nvSpPr>
          <p:spPr>
            <a:xfrm>
              <a:off x="2450726" y="1495697"/>
              <a:ext cx="2224863" cy="247809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82" name="Описание">
              <a:extLst>
                <a:ext uri="{FF2B5EF4-FFF2-40B4-BE49-F238E27FC236}">
                  <a16:creationId xmlns:a16="http://schemas.microsoft.com/office/drawing/2014/main" id="{C3029887-A96C-4F20-858D-2E1B285A9E06}"/>
                </a:ext>
              </a:extLst>
            </p:cNvPr>
            <p:cNvSpPr txBox="1"/>
            <p:nvPr/>
          </p:nvSpPr>
          <p:spPr>
            <a:xfrm>
              <a:off x="3242313" y="1661541"/>
              <a:ext cx="641692" cy="3783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АБС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783" name="Группа 782">
              <a:extLst>
                <a:ext uri="{FF2B5EF4-FFF2-40B4-BE49-F238E27FC236}">
                  <a16:creationId xmlns:a16="http://schemas.microsoft.com/office/drawing/2014/main" id="{D972FAD7-7C79-4274-A1CB-127D804EB3D1}"/>
                </a:ext>
              </a:extLst>
            </p:cNvPr>
            <p:cNvGrpSpPr/>
            <p:nvPr/>
          </p:nvGrpSpPr>
          <p:grpSpPr>
            <a:xfrm>
              <a:off x="2602581" y="2185291"/>
              <a:ext cx="1823301" cy="295269"/>
              <a:chOff x="2554158" y="1493927"/>
              <a:chExt cx="3536455" cy="572700"/>
            </a:xfrm>
          </p:grpSpPr>
          <p:sp>
            <p:nvSpPr>
              <p:cNvPr id="864" name="Rounded Rectangle">
                <a:extLst>
                  <a:ext uri="{FF2B5EF4-FFF2-40B4-BE49-F238E27FC236}">
                    <a16:creationId xmlns:a16="http://schemas.microsoft.com/office/drawing/2014/main" id="{E21BFE2C-812E-4A5C-8669-92E29F477543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65" name="Market analysis">
                <a:extLst>
                  <a:ext uri="{FF2B5EF4-FFF2-40B4-BE49-F238E27FC236}">
                    <a16:creationId xmlns:a16="http://schemas.microsoft.com/office/drawing/2014/main" id="{C04DCF73-C872-49D5-95C5-17B5B1E424FE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866" name="Группа 865">
                <a:extLst>
                  <a:ext uri="{FF2B5EF4-FFF2-40B4-BE49-F238E27FC236}">
                    <a16:creationId xmlns:a16="http://schemas.microsoft.com/office/drawing/2014/main" id="{D2EA6B83-3659-4C95-BADE-37815C10AB7F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867" name="Circle">
                  <a:extLst>
                    <a:ext uri="{FF2B5EF4-FFF2-40B4-BE49-F238E27FC236}">
                      <a16:creationId xmlns:a16="http://schemas.microsoft.com/office/drawing/2014/main" id="{91CA0A90-0CE2-4A0D-A856-78A8EAE62F8B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868" name="Группа 867">
                  <a:extLst>
                    <a:ext uri="{FF2B5EF4-FFF2-40B4-BE49-F238E27FC236}">
                      <a16:creationId xmlns:a16="http://schemas.microsoft.com/office/drawing/2014/main" id="{058D1303-476B-477D-9667-7569265FA210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869" name="Полилиния: фигура 868">
                    <a:extLst>
                      <a:ext uri="{FF2B5EF4-FFF2-40B4-BE49-F238E27FC236}">
                        <a16:creationId xmlns:a16="http://schemas.microsoft.com/office/drawing/2014/main" id="{3FA64562-E843-407E-A7F4-714977D85AE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870" name="Карточка 1_Ава">
                    <a:extLst>
                      <a:ext uri="{FF2B5EF4-FFF2-40B4-BE49-F238E27FC236}">
                        <a16:creationId xmlns:a16="http://schemas.microsoft.com/office/drawing/2014/main" id="{9B7C0E1F-7376-4C92-B586-9B59DA1F6EDE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871" name="Карточка 1_Ава">
                      <a:extLst>
                        <a:ext uri="{FF2B5EF4-FFF2-40B4-BE49-F238E27FC236}">
                          <a16:creationId xmlns:a16="http://schemas.microsoft.com/office/drawing/2014/main" id="{DC9B259D-5ED9-46FF-937F-4DAFAE9F378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877" name="Полилиния: фигура 876">
                        <a:extLst>
                          <a:ext uri="{FF2B5EF4-FFF2-40B4-BE49-F238E27FC236}">
                            <a16:creationId xmlns:a16="http://schemas.microsoft.com/office/drawing/2014/main" id="{090D9144-A19E-491F-82FE-41AA83C807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78" name="Полилиния: фигура 877">
                        <a:extLst>
                          <a:ext uri="{FF2B5EF4-FFF2-40B4-BE49-F238E27FC236}">
                            <a16:creationId xmlns:a16="http://schemas.microsoft.com/office/drawing/2014/main" id="{9C9FD6B0-E1B7-4C85-8038-955072817B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79" name="Полилиния: фигура 878">
                        <a:extLst>
                          <a:ext uri="{FF2B5EF4-FFF2-40B4-BE49-F238E27FC236}">
                            <a16:creationId xmlns:a16="http://schemas.microsoft.com/office/drawing/2014/main" id="{734C0C4B-DE6A-49F5-A181-360EC68AF3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0" name="Полилиния: фигура 879">
                        <a:extLst>
                          <a:ext uri="{FF2B5EF4-FFF2-40B4-BE49-F238E27FC236}">
                            <a16:creationId xmlns:a16="http://schemas.microsoft.com/office/drawing/2014/main" id="{7E1C084B-C718-4623-B829-5C58300B62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1" name="Полилиния: фигура 880">
                        <a:extLst>
                          <a:ext uri="{FF2B5EF4-FFF2-40B4-BE49-F238E27FC236}">
                            <a16:creationId xmlns:a16="http://schemas.microsoft.com/office/drawing/2014/main" id="{6C6C6920-D5E6-4A90-B976-CF3320148D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2" name="Полилиния: фигура 881">
                        <a:extLst>
                          <a:ext uri="{FF2B5EF4-FFF2-40B4-BE49-F238E27FC236}">
                            <a16:creationId xmlns:a16="http://schemas.microsoft.com/office/drawing/2014/main" id="{3F7F4D95-C651-404C-B70B-359CC59D4B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3" name="Полилиния: фигура 882">
                        <a:extLst>
                          <a:ext uri="{FF2B5EF4-FFF2-40B4-BE49-F238E27FC236}">
                            <a16:creationId xmlns:a16="http://schemas.microsoft.com/office/drawing/2014/main" id="{BA5518B8-6ED4-4E45-AEA6-4E85F13B43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4" name="Полилиния: фигура 883">
                        <a:extLst>
                          <a:ext uri="{FF2B5EF4-FFF2-40B4-BE49-F238E27FC236}">
                            <a16:creationId xmlns:a16="http://schemas.microsoft.com/office/drawing/2014/main" id="{389ACA4D-4241-47DD-8DBA-6C0554B791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5" name="Полилиния: фигура 884">
                        <a:extLst>
                          <a:ext uri="{FF2B5EF4-FFF2-40B4-BE49-F238E27FC236}">
                            <a16:creationId xmlns:a16="http://schemas.microsoft.com/office/drawing/2014/main" id="{8A84DD8C-0FBA-4341-A5EC-4E3EF59FC0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6" name="Полилиния: фигура 885">
                        <a:extLst>
                          <a:ext uri="{FF2B5EF4-FFF2-40B4-BE49-F238E27FC236}">
                            <a16:creationId xmlns:a16="http://schemas.microsoft.com/office/drawing/2014/main" id="{4D2454C9-A4AD-442A-BC5B-CCDDCD023F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7" name="Полилиния: фигура 886">
                        <a:extLst>
                          <a:ext uri="{FF2B5EF4-FFF2-40B4-BE49-F238E27FC236}">
                            <a16:creationId xmlns:a16="http://schemas.microsoft.com/office/drawing/2014/main" id="{73DBDB5D-FEB1-485A-807C-A33E8C64CB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88" name="Полилиния: фигура 887">
                        <a:extLst>
                          <a:ext uri="{FF2B5EF4-FFF2-40B4-BE49-F238E27FC236}">
                            <a16:creationId xmlns:a16="http://schemas.microsoft.com/office/drawing/2014/main" id="{E62492FB-CF55-4608-BDD8-734976BAE3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872" name="Карточка 1_Ава">
                      <a:extLst>
                        <a:ext uri="{FF2B5EF4-FFF2-40B4-BE49-F238E27FC236}">
                          <a16:creationId xmlns:a16="http://schemas.microsoft.com/office/drawing/2014/main" id="{11FB93D7-BDDD-41BD-B28A-1C79464C16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873" name="Полилиния: фигура 872">
                        <a:extLst>
                          <a:ext uri="{FF2B5EF4-FFF2-40B4-BE49-F238E27FC236}">
                            <a16:creationId xmlns:a16="http://schemas.microsoft.com/office/drawing/2014/main" id="{41653147-85C3-4479-9F68-43607D0174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74" name="Полилиния: фигура 873">
                        <a:extLst>
                          <a:ext uri="{FF2B5EF4-FFF2-40B4-BE49-F238E27FC236}">
                            <a16:creationId xmlns:a16="http://schemas.microsoft.com/office/drawing/2014/main" id="{635D9552-1B4B-416F-9A83-50B2F4BE58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75" name="Полилиния: фигура 874">
                        <a:extLst>
                          <a:ext uri="{FF2B5EF4-FFF2-40B4-BE49-F238E27FC236}">
                            <a16:creationId xmlns:a16="http://schemas.microsoft.com/office/drawing/2014/main" id="{E984DB77-04CC-4A8B-87D4-C89A51E50C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76" name="Полилиния: фигура 875">
                        <a:extLst>
                          <a:ext uri="{FF2B5EF4-FFF2-40B4-BE49-F238E27FC236}">
                            <a16:creationId xmlns:a16="http://schemas.microsoft.com/office/drawing/2014/main" id="{8B359A1A-84E8-41C1-811E-52F0B08A75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84" name="Группа 783">
              <a:extLst>
                <a:ext uri="{FF2B5EF4-FFF2-40B4-BE49-F238E27FC236}">
                  <a16:creationId xmlns:a16="http://schemas.microsoft.com/office/drawing/2014/main" id="{7022B3FE-3814-4B3A-9BCA-211915C171FF}"/>
                </a:ext>
              </a:extLst>
            </p:cNvPr>
            <p:cNvGrpSpPr/>
            <p:nvPr/>
          </p:nvGrpSpPr>
          <p:grpSpPr>
            <a:xfrm>
              <a:off x="2602581" y="3442801"/>
              <a:ext cx="1823301" cy="295269"/>
              <a:chOff x="2554158" y="1493927"/>
              <a:chExt cx="3536455" cy="572700"/>
            </a:xfrm>
          </p:grpSpPr>
          <p:sp>
            <p:nvSpPr>
              <p:cNvPr id="839" name="Rounded Rectangle">
                <a:extLst>
                  <a:ext uri="{FF2B5EF4-FFF2-40B4-BE49-F238E27FC236}">
                    <a16:creationId xmlns:a16="http://schemas.microsoft.com/office/drawing/2014/main" id="{D429EBEB-D79D-426D-8EA3-74FE2627860F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40" name="Market analysis">
                <a:extLst>
                  <a:ext uri="{FF2B5EF4-FFF2-40B4-BE49-F238E27FC236}">
                    <a16:creationId xmlns:a16="http://schemas.microsoft.com/office/drawing/2014/main" id="{372D551C-0771-485C-99FD-4BE7498DC7DB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841" name="Группа 840">
                <a:extLst>
                  <a:ext uri="{FF2B5EF4-FFF2-40B4-BE49-F238E27FC236}">
                    <a16:creationId xmlns:a16="http://schemas.microsoft.com/office/drawing/2014/main" id="{C9D9E6D4-1C76-4E71-89E5-8DD65670DCAF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842" name="Circle">
                  <a:extLst>
                    <a:ext uri="{FF2B5EF4-FFF2-40B4-BE49-F238E27FC236}">
                      <a16:creationId xmlns:a16="http://schemas.microsoft.com/office/drawing/2014/main" id="{084A779B-607F-4D51-BBD0-D9FC2890F518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843" name="Группа 842">
                  <a:extLst>
                    <a:ext uri="{FF2B5EF4-FFF2-40B4-BE49-F238E27FC236}">
                      <a16:creationId xmlns:a16="http://schemas.microsoft.com/office/drawing/2014/main" id="{8432B5D5-0F07-4A17-8255-058031DFD7FB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844" name="Полилиния: фигура 843">
                    <a:extLst>
                      <a:ext uri="{FF2B5EF4-FFF2-40B4-BE49-F238E27FC236}">
                        <a16:creationId xmlns:a16="http://schemas.microsoft.com/office/drawing/2014/main" id="{744D6E0A-0995-4711-BF12-44DC78A4C162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845" name="Карточка 1_Ава">
                    <a:extLst>
                      <a:ext uri="{FF2B5EF4-FFF2-40B4-BE49-F238E27FC236}">
                        <a16:creationId xmlns:a16="http://schemas.microsoft.com/office/drawing/2014/main" id="{09C52E3B-C972-47A0-8C45-AFCAB178D402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846" name="Карточка 1_Ава">
                      <a:extLst>
                        <a:ext uri="{FF2B5EF4-FFF2-40B4-BE49-F238E27FC236}">
                          <a16:creationId xmlns:a16="http://schemas.microsoft.com/office/drawing/2014/main" id="{1F5687B7-9643-432D-8ACF-B381EE61DC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852" name="Полилиния: фигура 851">
                        <a:extLst>
                          <a:ext uri="{FF2B5EF4-FFF2-40B4-BE49-F238E27FC236}">
                            <a16:creationId xmlns:a16="http://schemas.microsoft.com/office/drawing/2014/main" id="{B13EF8EE-15E3-4FDD-BF6F-BE136931B6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3" name="Полилиния: фигура 852">
                        <a:extLst>
                          <a:ext uri="{FF2B5EF4-FFF2-40B4-BE49-F238E27FC236}">
                            <a16:creationId xmlns:a16="http://schemas.microsoft.com/office/drawing/2014/main" id="{2A709380-00EE-4D30-901A-62C1C21664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4" name="Полилиния: фигура 853">
                        <a:extLst>
                          <a:ext uri="{FF2B5EF4-FFF2-40B4-BE49-F238E27FC236}">
                            <a16:creationId xmlns:a16="http://schemas.microsoft.com/office/drawing/2014/main" id="{3C65B9A2-BA02-41D5-9578-E0518A0472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5" name="Полилиния: фигура 854">
                        <a:extLst>
                          <a:ext uri="{FF2B5EF4-FFF2-40B4-BE49-F238E27FC236}">
                            <a16:creationId xmlns:a16="http://schemas.microsoft.com/office/drawing/2014/main" id="{7B834B5A-73A7-49C2-A95F-3B472A4BC2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6" name="Полилиния: фигура 855">
                        <a:extLst>
                          <a:ext uri="{FF2B5EF4-FFF2-40B4-BE49-F238E27FC236}">
                            <a16:creationId xmlns:a16="http://schemas.microsoft.com/office/drawing/2014/main" id="{8DF62C0B-1C78-47D6-9A15-82900A01AB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7" name="Полилиния: фигура 856">
                        <a:extLst>
                          <a:ext uri="{FF2B5EF4-FFF2-40B4-BE49-F238E27FC236}">
                            <a16:creationId xmlns:a16="http://schemas.microsoft.com/office/drawing/2014/main" id="{0769DC64-3B5D-4015-8688-AC710299DC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8" name="Полилиния: фигура 857">
                        <a:extLst>
                          <a:ext uri="{FF2B5EF4-FFF2-40B4-BE49-F238E27FC236}">
                            <a16:creationId xmlns:a16="http://schemas.microsoft.com/office/drawing/2014/main" id="{0FB71F90-780D-4246-B36A-B0AFB4A645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9" name="Полилиния: фигура 858">
                        <a:extLst>
                          <a:ext uri="{FF2B5EF4-FFF2-40B4-BE49-F238E27FC236}">
                            <a16:creationId xmlns:a16="http://schemas.microsoft.com/office/drawing/2014/main" id="{71D84FCB-B537-4CB7-ADAF-494783F2CE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60" name="Полилиния: фигура 859">
                        <a:extLst>
                          <a:ext uri="{FF2B5EF4-FFF2-40B4-BE49-F238E27FC236}">
                            <a16:creationId xmlns:a16="http://schemas.microsoft.com/office/drawing/2014/main" id="{B78BE75E-8091-4B10-B19E-B4D94E7CBA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61" name="Полилиния: фигура 860">
                        <a:extLst>
                          <a:ext uri="{FF2B5EF4-FFF2-40B4-BE49-F238E27FC236}">
                            <a16:creationId xmlns:a16="http://schemas.microsoft.com/office/drawing/2014/main" id="{1AC9DC4E-45EB-41D0-B3A6-06B1F1E493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62" name="Полилиния: фигура 861">
                        <a:extLst>
                          <a:ext uri="{FF2B5EF4-FFF2-40B4-BE49-F238E27FC236}">
                            <a16:creationId xmlns:a16="http://schemas.microsoft.com/office/drawing/2014/main" id="{71DB690A-6692-4B56-A0E2-00327327EC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63" name="Полилиния: фигура 862">
                        <a:extLst>
                          <a:ext uri="{FF2B5EF4-FFF2-40B4-BE49-F238E27FC236}">
                            <a16:creationId xmlns:a16="http://schemas.microsoft.com/office/drawing/2014/main" id="{6F436F3D-3E30-49DA-8F37-50BC709473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847" name="Карточка 1_Ава">
                      <a:extLst>
                        <a:ext uri="{FF2B5EF4-FFF2-40B4-BE49-F238E27FC236}">
                          <a16:creationId xmlns:a16="http://schemas.microsoft.com/office/drawing/2014/main" id="{0E47DAC1-0428-4F77-B2A7-84936A2D6DA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848" name="Полилиния: фигура 847">
                        <a:extLst>
                          <a:ext uri="{FF2B5EF4-FFF2-40B4-BE49-F238E27FC236}">
                            <a16:creationId xmlns:a16="http://schemas.microsoft.com/office/drawing/2014/main" id="{713027A4-FFE7-4D93-A182-943DDB5333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49" name="Полилиния: фигура 848">
                        <a:extLst>
                          <a:ext uri="{FF2B5EF4-FFF2-40B4-BE49-F238E27FC236}">
                            <a16:creationId xmlns:a16="http://schemas.microsoft.com/office/drawing/2014/main" id="{3170741D-E891-48FC-9C20-CB17498053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0" name="Полилиния: фигура 849">
                        <a:extLst>
                          <a:ext uri="{FF2B5EF4-FFF2-40B4-BE49-F238E27FC236}">
                            <a16:creationId xmlns:a16="http://schemas.microsoft.com/office/drawing/2014/main" id="{C870DB6A-7979-4CBF-A441-3CAC15AB7A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51" name="Полилиния: фигура 850">
                        <a:extLst>
                          <a:ext uri="{FF2B5EF4-FFF2-40B4-BE49-F238E27FC236}">
                            <a16:creationId xmlns:a16="http://schemas.microsoft.com/office/drawing/2014/main" id="{B3186699-DF61-4BFB-90C5-79AE86EE06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85" name="Группа 784">
              <a:extLst>
                <a:ext uri="{FF2B5EF4-FFF2-40B4-BE49-F238E27FC236}">
                  <a16:creationId xmlns:a16="http://schemas.microsoft.com/office/drawing/2014/main" id="{B4A9EED2-9A73-4410-8C51-4CBAD3EC7240}"/>
                </a:ext>
              </a:extLst>
            </p:cNvPr>
            <p:cNvGrpSpPr/>
            <p:nvPr/>
          </p:nvGrpSpPr>
          <p:grpSpPr>
            <a:xfrm>
              <a:off x="2602581" y="2604461"/>
              <a:ext cx="1823301" cy="295269"/>
              <a:chOff x="2554158" y="1493927"/>
              <a:chExt cx="3536455" cy="572700"/>
            </a:xfrm>
          </p:grpSpPr>
          <p:sp>
            <p:nvSpPr>
              <p:cNvPr id="814" name="Rounded Rectangle">
                <a:extLst>
                  <a:ext uri="{FF2B5EF4-FFF2-40B4-BE49-F238E27FC236}">
                    <a16:creationId xmlns:a16="http://schemas.microsoft.com/office/drawing/2014/main" id="{88225AEF-2539-4361-90FE-D49DCDB8DD75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15" name="Market analysis">
                <a:extLst>
                  <a:ext uri="{FF2B5EF4-FFF2-40B4-BE49-F238E27FC236}">
                    <a16:creationId xmlns:a16="http://schemas.microsoft.com/office/drawing/2014/main" id="{CE3E9076-682C-4A7F-8B5D-04D911A66C96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816" name="Группа 815">
                <a:extLst>
                  <a:ext uri="{FF2B5EF4-FFF2-40B4-BE49-F238E27FC236}">
                    <a16:creationId xmlns:a16="http://schemas.microsoft.com/office/drawing/2014/main" id="{3A5AC3B7-27D3-42F2-AD67-FBFEEFD8944A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817" name="Circle">
                  <a:extLst>
                    <a:ext uri="{FF2B5EF4-FFF2-40B4-BE49-F238E27FC236}">
                      <a16:creationId xmlns:a16="http://schemas.microsoft.com/office/drawing/2014/main" id="{E31B228F-6C71-4B9B-B34C-6F7D11EC70DC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818" name="Группа 817">
                  <a:extLst>
                    <a:ext uri="{FF2B5EF4-FFF2-40B4-BE49-F238E27FC236}">
                      <a16:creationId xmlns:a16="http://schemas.microsoft.com/office/drawing/2014/main" id="{DFFBE68A-008C-4BCD-AEB3-CFF167B98AD1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819" name="Полилиния: фигура 818">
                    <a:extLst>
                      <a:ext uri="{FF2B5EF4-FFF2-40B4-BE49-F238E27FC236}">
                        <a16:creationId xmlns:a16="http://schemas.microsoft.com/office/drawing/2014/main" id="{AF5B7B8F-1DB5-4DA3-9FFB-76DF8B1F0639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820" name="Карточка 1_Ава">
                    <a:extLst>
                      <a:ext uri="{FF2B5EF4-FFF2-40B4-BE49-F238E27FC236}">
                        <a16:creationId xmlns:a16="http://schemas.microsoft.com/office/drawing/2014/main" id="{88C1BD33-DABA-46F2-8F90-9F2681BAB13B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821" name="Карточка 1_Ава">
                      <a:extLst>
                        <a:ext uri="{FF2B5EF4-FFF2-40B4-BE49-F238E27FC236}">
                          <a16:creationId xmlns:a16="http://schemas.microsoft.com/office/drawing/2014/main" id="{C4AD5427-4C4F-4296-9F0B-7A750DA8BF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827" name="Полилиния: фигура 826">
                        <a:extLst>
                          <a:ext uri="{FF2B5EF4-FFF2-40B4-BE49-F238E27FC236}">
                            <a16:creationId xmlns:a16="http://schemas.microsoft.com/office/drawing/2014/main" id="{F81099E6-67E4-486F-AEFA-E3BD92A385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28" name="Полилиния: фигура 827">
                        <a:extLst>
                          <a:ext uri="{FF2B5EF4-FFF2-40B4-BE49-F238E27FC236}">
                            <a16:creationId xmlns:a16="http://schemas.microsoft.com/office/drawing/2014/main" id="{A6B50EEA-A07E-432B-A0AF-F1F4BC438F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29" name="Полилиния: фигура 828">
                        <a:extLst>
                          <a:ext uri="{FF2B5EF4-FFF2-40B4-BE49-F238E27FC236}">
                            <a16:creationId xmlns:a16="http://schemas.microsoft.com/office/drawing/2014/main" id="{DD49AC64-D991-4FC2-844B-84BC863456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0" name="Полилиния: фигура 829">
                        <a:extLst>
                          <a:ext uri="{FF2B5EF4-FFF2-40B4-BE49-F238E27FC236}">
                            <a16:creationId xmlns:a16="http://schemas.microsoft.com/office/drawing/2014/main" id="{BA356F57-0AA5-4857-8AF3-A4E48EE806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1" name="Полилиния: фигура 830">
                        <a:extLst>
                          <a:ext uri="{FF2B5EF4-FFF2-40B4-BE49-F238E27FC236}">
                            <a16:creationId xmlns:a16="http://schemas.microsoft.com/office/drawing/2014/main" id="{F9DE3904-DDE3-4ED4-BF51-730786334F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2" name="Полилиния: фигура 831">
                        <a:extLst>
                          <a:ext uri="{FF2B5EF4-FFF2-40B4-BE49-F238E27FC236}">
                            <a16:creationId xmlns:a16="http://schemas.microsoft.com/office/drawing/2014/main" id="{08138056-B7DC-48DB-BD3E-C47EB6FE9A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3" name="Полилиния: фигура 832">
                        <a:extLst>
                          <a:ext uri="{FF2B5EF4-FFF2-40B4-BE49-F238E27FC236}">
                            <a16:creationId xmlns:a16="http://schemas.microsoft.com/office/drawing/2014/main" id="{D29A56CB-767D-4A65-A9B1-EED4B8CAF4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4" name="Полилиния: фигура 833">
                        <a:extLst>
                          <a:ext uri="{FF2B5EF4-FFF2-40B4-BE49-F238E27FC236}">
                            <a16:creationId xmlns:a16="http://schemas.microsoft.com/office/drawing/2014/main" id="{BEE11165-B339-4D88-B658-5731B3FE0D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5" name="Полилиния: фигура 834">
                        <a:extLst>
                          <a:ext uri="{FF2B5EF4-FFF2-40B4-BE49-F238E27FC236}">
                            <a16:creationId xmlns:a16="http://schemas.microsoft.com/office/drawing/2014/main" id="{EBA45420-F7F7-4368-BBF7-BF6F21E5B1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6" name="Полилиния: фигура 835">
                        <a:extLst>
                          <a:ext uri="{FF2B5EF4-FFF2-40B4-BE49-F238E27FC236}">
                            <a16:creationId xmlns:a16="http://schemas.microsoft.com/office/drawing/2014/main" id="{E0263DDB-E572-494F-B464-BE05797052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7" name="Полилиния: фигура 836">
                        <a:extLst>
                          <a:ext uri="{FF2B5EF4-FFF2-40B4-BE49-F238E27FC236}">
                            <a16:creationId xmlns:a16="http://schemas.microsoft.com/office/drawing/2014/main" id="{8AA605F0-A0CF-4D6A-B581-0249DE7377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38" name="Полилиния: фигура 837">
                        <a:extLst>
                          <a:ext uri="{FF2B5EF4-FFF2-40B4-BE49-F238E27FC236}">
                            <a16:creationId xmlns:a16="http://schemas.microsoft.com/office/drawing/2014/main" id="{198B0EDA-899B-4D85-B1B6-F5A6CF9FB7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822" name="Карточка 1_Ава">
                      <a:extLst>
                        <a:ext uri="{FF2B5EF4-FFF2-40B4-BE49-F238E27FC236}">
                          <a16:creationId xmlns:a16="http://schemas.microsoft.com/office/drawing/2014/main" id="{C896F046-7241-40C2-880D-47B2F7A84F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823" name="Полилиния: фигура 822">
                        <a:extLst>
                          <a:ext uri="{FF2B5EF4-FFF2-40B4-BE49-F238E27FC236}">
                            <a16:creationId xmlns:a16="http://schemas.microsoft.com/office/drawing/2014/main" id="{2A898C89-C3D6-4491-A005-3A1E136B0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24" name="Полилиния: фигура 823">
                        <a:extLst>
                          <a:ext uri="{FF2B5EF4-FFF2-40B4-BE49-F238E27FC236}">
                            <a16:creationId xmlns:a16="http://schemas.microsoft.com/office/drawing/2014/main" id="{E035EBD4-1D6B-4AE9-89F7-3625AC9D2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25" name="Полилиния: фигура 824">
                        <a:extLst>
                          <a:ext uri="{FF2B5EF4-FFF2-40B4-BE49-F238E27FC236}">
                            <a16:creationId xmlns:a16="http://schemas.microsoft.com/office/drawing/2014/main" id="{76BC8F6A-AE2E-43F3-8AC7-EAD06817FA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26" name="Полилиния: фигура 825">
                        <a:extLst>
                          <a:ext uri="{FF2B5EF4-FFF2-40B4-BE49-F238E27FC236}">
                            <a16:creationId xmlns:a16="http://schemas.microsoft.com/office/drawing/2014/main" id="{9295C4F6-A71F-4EB0-B47D-5D31E9731A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786" name="Группа 785">
              <a:extLst>
                <a:ext uri="{FF2B5EF4-FFF2-40B4-BE49-F238E27FC236}">
                  <a16:creationId xmlns:a16="http://schemas.microsoft.com/office/drawing/2014/main" id="{2431FA4B-4729-4F4F-8E49-F2728D28EC80}"/>
                </a:ext>
              </a:extLst>
            </p:cNvPr>
            <p:cNvGrpSpPr/>
            <p:nvPr/>
          </p:nvGrpSpPr>
          <p:grpSpPr>
            <a:xfrm>
              <a:off x="2602581" y="3023631"/>
              <a:ext cx="1823301" cy="295269"/>
              <a:chOff x="2554158" y="1493927"/>
              <a:chExt cx="3536455" cy="572700"/>
            </a:xfrm>
          </p:grpSpPr>
          <p:sp>
            <p:nvSpPr>
              <p:cNvPr id="787" name="Rounded Rectangle">
                <a:extLst>
                  <a:ext uri="{FF2B5EF4-FFF2-40B4-BE49-F238E27FC236}">
                    <a16:creationId xmlns:a16="http://schemas.microsoft.com/office/drawing/2014/main" id="{64B83CA5-3C47-47B3-9EF4-86214E266359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88" name="Market analysis">
                <a:extLst>
                  <a:ext uri="{FF2B5EF4-FFF2-40B4-BE49-F238E27FC236}">
                    <a16:creationId xmlns:a16="http://schemas.microsoft.com/office/drawing/2014/main" id="{D9065F8E-7387-4677-90D9-D1644F4489D4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789" name="Группа 788">
                <a:extLst>
                  <a:ext uri="{FF2B5EF4-FFF2-40B4-BE49-F238E27FC236}">
                    <a16:creationId xmlns:a16="http://schemas.microsoft.com/office/drawing/2014/main" id="{35152A49-828B-4D56-800F-8FDCF398F395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790" name="Circle">
                  <a:extLst>
                    <a:ext uri="{FF2B5EF4-FFF2-40B4-BE49-F238E27FC236}">
                      <a16:creationId xmlns:a16="http://schemas.microsoft.com/office/drawing/2014/main" id="{F47675F6-F670-44AB-8F5A-7292A8007772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791" name="Группа 790">
                  <a:extLst>
                    <a:ext uri="{FF2B5EF4-FFF2-40B4-BE49-F238E27FC236}">
                      <a16:creationId xmlns:a16="http://schemas.microsoft.com/office/drawing/2014/main" id="{50471A2E-E3A4-463F-A903-A143DAB0578B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792" name="Полилиния: фигура 791">
                    <a:extLst>
                      <a:ext uri="{FF2B5EF4-FFF2-40B4-BE49-F238E27FC236}">
                        <a16:creationId xmlns:a16="http://schemas.microsoft.com/office/drawing/2014/main" id="{A99B934E-7F35-47D3-9A0D-999E8E155DE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793" name="Карточка 1_Ава">
                    <a:extLst>
                      <a:ext uri="{FF2B5EF4-FFF2-40B4-BE49-F238E27FC236}">
                        <a16:creationId xmlns:a16="http://schemas.microsoft.com/office/drawing/2014/main" id="{D5A335F4-1017-46E8-99EC-C960F0BB998D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794" name="Карточка 1_Ава">
                      <a:extLst>
                        <a:ext uri="{FF2B5EF4-FFF2-40B4-BE49-F238E27FC236}">
                          <a16:creationId xmlns:a16="http://schemas.microsoft.com/office/drawing/2014/main" id="{3082B0F3-3B33-40A9-9F2A-0149BEE086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800" name="Полилиния: фигура 799">
                        <a:extLst>
                          <a:ext uri="{FF2B5EF4-FFF2-40B4-BE49-F238E27FC236}">
                            <a16:creationId xmlns:a16="http://schemas.microsoft.com/office/drawing/2014/main" id="{ADBB0AEB-833B-4F5F-9390-CDEBC0C9F2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1" name="Полилиния: фигура 800">
                        <a:extLst>
                          <a:ext uri="{FF2B5EF4-FFF2-40B4-BE49-F238E27FC236}">
                            <a16:creationId xmlns:a16="http://schemas.microsoft.com/office/drawing/2014/main" id="{FDAEBF1F-1E3D-4132-B66D-C9588F6B4F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2" name="Полилиния: фигура 801">
                        <a:extLst>
                          <a:ext uri="{FF2B5EF4-FFF2-40B4-BE49-F238E27FC236}">
                            <a16:creationId xmlns:a16="http://schemas.microsoft.com/office/drawing/2014/main" id="{181AD6F0-776D-4ABA-920E-70FE7F8A53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3" name="Полилиния: фигура 802">
                        <a:extLst>
                          <a:ext uri="{FF2B5EF4-FFF2-40B4-BE49-F238E27FC236}">
                            <a16:creationId xmlns:a16="http://schemas.microsoft.com/office/drawing/2014/main" id="{214F7D67-2F19-417A-A961-9182DB8701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6" name="Полилиния: фигура 805">
                        <a:extLst>
                          <a:ext uri="{FF2B5EF4-FFF2-40B4-BE49-F238E27FC236}">
                            <a16:creationId xmlns:a16="http://schemas.microsoft.com/office/drawing/2014/main" id="{20200BC6-2AB9-4C99-8791-0FAC4A5072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7" name="Полилиния: фигура 806">
                        <a:extLst>
                          <a:ext uri="{FF2B5EF4-FFF2-40B4-BE49-F238E27FC236}">
                            <a16:creationId xmlns:a16="http://schemas.microsoft.com/office/drawing/2014/main" id="{63E7FC32-B43D-4297-8E2A-E44EE88518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8" name="Полилиния: фигура 807">
                        <a:extLst>
                          <a:ext uri="{FF2B5EF4-FFF2-40B4-BE49-F238E27FC236}">
                            <a16:creationId xmlns:a16="http://schemas.microsoft.com/office/drawing/2014/main" id="{9B3F8A3F-BB9F-4DB1-985E-BB1B04C771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09" name="Полилиния: фигура 808">
                        <a:extLst>
                          <a:ext uri="{FF2B5EF4-FFF2-40B4-BE49-F238E27FC236}">
                            <a16:creationId xmlns:a16="http://schemas.microsoft.com/office/drawing/2014/main" id="{E4AD722B-6730-45CC-9FEC-7E4D2B4194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10" name="Полилиния: фигура 809">
                        <a:extLst>
                          <a:ext uri="{FF2B5EF4-FFF2-40B4-BE49-F238E27FC236}">
                            <a16:creationId xmlns:a16="http://schemas.microsoft.com/office/drawing/2014/main" id="{A4ED8DB1-27FF-4EEC-9517-34B1C9DC00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11" name="Полилиния: фигура 810">
                        <a:extLst>
                          <a:ext uri="{FF2B5EF4-FFF2-40B4-BE49-F238E27FC236}">
                            <a16:creationId xmlns:a16="http://schemas.microsoft.com/office/drawing/2014/main" id="{15525E7C-B5AF-4FE1-9A8E-AE49E4FC06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12" name="Полилиния: фигура 811">
                        <a:extLst>
                          <a:ext uri="{FF2B5EF4-FFF2-40B4-BE49-F238E27FC236}">
                            <a16:creationId xmlns:a16="http://schemas.microsoft.com/office/drawing/2014/main" id="{CE42E0B4-D454-4FA0-A5F7-6C4F5694AC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813" name="Полилиния: фигура 812">
                        <a:extLst>
                          <a:ext uri="{FF2B5EF4-FFF2-40B4-BE49-F238E27FC236}">
                            <a16:creationId xmlns:a16="http://schemas.microsoft.com/office/drawing/2014/main" id="{4BF974A3-AD02-4196-8DDB-163DB0E943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795" name="Карточка 1_Ава">
                      <a:extLst>
                        <a:ext uri="{FF2B5EF4-FFF2-40B4-BE49-F238E27FC236}">
                          <a16:creationId xmlns:a16="http://schemas.microsoft.com/office/drawing/2014/main" id="{DC47069C-751F-4D17-95CD-270C346EAD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796" name="Полилиния: фигура 795">
                        <a:extLst>
                          <a:ext uri="{FF2B5EF4-FFF2-40B4-BE49-F238E27FC236}">
                            <a16:creationId xmlns:a16="http://schemas.microsoft.com/office/drawing/2014/main" id="{0B06F5AF-75BD-42B0-9849-E7D5BC7565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7" name="Полилиния: фигура 796">
                        <a:extLst>
                          <a:ext uri="{FF2B5EF4-FFF2-40B4-BE49-F238E27FC236}">
                            <a16:creationId xmlns:a16="http://schemas.microsoft.com/office/drawing/2014/main" id="{89E72459-BB43-4AA1-898C-BA0C42F8B6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8" name="Полилиния: фигура 797">
                        <a:extLst>
                          <a:ext uri="{FF2B5EF4-FFF2-40B4-BE49-F238E27FC236}">
                            <a16:creationId xmlns:a16="http://schemas.microsoft.com/office/drawing/2014/main" id="{7956E8DE-3306-44E5-8F58-D79F8B3803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799" name="Полилиния: фигура 798">
                        <a:extLst>
                          <a:ext uri="{FF2B5EF4-FFF2-40B4-BE49-F238E27FC236}">
                            <a16:creationId xmlns:a16="http://schemas.microsoft.com/office/drawing/2014/main" id="{BEB26E7C-3654-42A3-80B7-0C74EF1D17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74AA740-CD8A-431D-8C1E-9B2B57CF7E9B}"/>
              </a:ext>
            </a:extLst>
          </p:cNvPr>
          <p:cNvGrpSpPr/>
          <p:nvPr/>
        </p:nvGrpSpPr>
        <p:grpSpPr>
          <a:xfrm>
            <a:off x="137823" y="2580398"/>
            <a:ext cx="5051622" cy="847113"/>
            <a:chOff x="0" y="2580398"/>
            <a:chExt cx="5051622" cy="847113"/>
          </a:xfrm>
        </p:grpSpPr>
        <p:sp>
          <p:nvSpPr>
            <p:cNvPr id="404" name="Rounded Rectangle">
              <a:extLst>
                <a:ext uri="{FF2B5EF4-FFF2-40B4-BE49-F238E27FC236}">
                  <a16:creationId xmlns:a16="http://schemas.microsoft.com/office/drawing/2014/main" id="{79ADD436-86F6-4D4E-9FA0-D55CF9AABC8B}"/>
                </a:ext>
              </a:extLst>
            </p:cNvPr>
            <p:cNvSpPr/>
            <p:nvPr/>
          </p:nvSpPr>
          <p:spPr>
            <a:xfrm>
              <a:off x="0" y="2580398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05" name="Motion design">
              <a:extLst>
                <a:ext uri="{FF2B5EF4-FFF2-40B4-BE49-F238E27FC236}">
                  <a16:creationId xmlns:a16="http://schemas.microsoft.com/office/drawing/2014/main" id="{98953A88-211F-43CF-9429-7F1D10BC04F9}"/>
                </a:ext>
              </a:extLst>
            </p:cNvPr>
            <p:cNvSpPr txBox="1"/>
            <p:nvPr/>
          </p:nvSpPr>
          <p:spPr>
            <a:xfrm>
              <a:off x="924362" y="2585819"/>
              <a:ext cx="4013266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Рабочий механизм оповещения заинтересованных систем об изменениях клиентских данных</a:t>
              </a:r>
            </a:p>
          </p:txBody>
        </p:sp>
        <p:sp>
          <p:nvSpPr>
            <p:cNvPr id="406" name="Circle">
              <a:extLst>
                <a:ext uri="{FF2B5EF4-FFF2-40B4-BE49-F238E27FC236}">
                  <a16:creationId xmlns:a16="http://schemas.microsoft.com/office/drawing/2014/main" id="{4E38D675-9D70-462C-BDFB-1192EE121E48}"/>
                </a:ext>
              </a:extLst>
            </p:cNvPr>
            <p:cNvSpPr/>
            <p:nvPr/>
          </p:nvSpPr>
          <p:spPr>
            <a:xfrm>
              <a:off x="126184" y="268628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1FB3113D-CB89-4556-9647-CB0378852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7384" y="2831017"/>
              <a:ext cx="312934" cy="345874"/>
            </a:xfrm>
            <a:prstGeom prst="rect">
              <a:avLst/>
            </a:prstGeom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FD664D5B-6D45-4980-83A7-11BD4FB592AE}"/>
              </a:ext>
            </a:extLst>
          </p:cNvPr>
          <p:cNvGrpSpPr/>
          <p:nvPr/>
        </p:nvGrpSpPr>
        <p:grpSpPr>
          <a:xfrm>
            <a:off x="137823" y="3605574"/>
            <a:ext cx="5051622" cy="847113"/>
            <a:chOff x="0" y="3605574"/>
            <a:chExt cx="5051622" cy="847113"/>
          </a:xfrm>
        </p:grpSpPr>
        <p:sp>
          <p:nvSpPr>
            <p:cNvPr id="409" name="Rounded Rectangle">
              <a:extLst>
                <a:ext uri="{FF2B5EF4-FFF2-40B4-BE49-F238E27FC236}">
                  <a16:creationId xmlns:a16="http://schemas.microsoft.com/office/drawing/2014/main" id="{9CD4CFCB-9EC3-482E-B0BF-56AA1EAD669E}"/>
                </a:ext>
              </a:extLst>
            </p:cNvPr>
            <p:cNvSpPr/>
            <p:nvPr/>
          </p:nvSpPr>
          <p:spPr>
            <a:xfrm>
              <a:off x="0" y="3605574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0" name="Motion design">
              <a:extLst>
                <a:ext uri="{FF2B5EF4-FFF2-40B4-BE49-F238E27FC236}">
                  <a16:creationId xmlns:a16="http://schemas.microsoft.com/office/drawing/2014/main" id="{F5A3C6AD-C8A9-448F-BC73-2A8CF593703A}"/>
                </a:ext>
              </a:extLst>
            </p:cNvPr>
            <p:cNvSpPr txBox="1"/>
            <p:nvPr/>
          </p:nvSpPr>
          <p:spPr>
            <a:xfrm>
              <a:off x="924364" y="3610993"/>
              <a:ext cx="3775726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В сочетании с онлайн-обновлениями обратный поток позволяет оперативно распространять клиентскую информацию</a:t>
              </a:r>
            </a:p>
          </p:txBody>
        </p:sp>
        <p:sp>
          <p:nvSpPr>
            <p:cNvPr id="411" name="Circle">
              <a:extLst>
                <a:ext uri="{FF2B5EF4-FFF2-40B4-BE49-F238E27FC236}">
                  <a16:creationId xmlns:a16="http://schemas.microsoft.com/office/drawing/2014/main" id="{9906B38A-8C48-4B7C-8AC0-94762A78DE0A}"/>
                </a:ext>
              </a:extLst>
            </p:cNvPr>
            <p:cNvSpPr/>
            <p:nvPr/>
          </p:nvSpPr>
          <p:spPr>
            <a:xfrm>
              <a:off x="126184" y="3711463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89" name="Рисунок 888">
              <a:extLst>
                <a:ext uri="{FF2B5EF4-FFF2-40B4-BE49-F238E27FC236}">
                  <a16:creationId xmlns:a16="http://schemas.microsoft.com/office/drawing/2014/main" id="{BCB58C02-F87A-41A9-8DE2-C40148BDB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92435" y="3871144"/>
              <a:ext cx="290591" cy="330218"/>
            </a:xfrm>
            <a:prstGeom prst="rect">
              <a:avLst/>
            </a:prstGeom>
          </p:spPr>
        </p:pic>
      </p:grpSp>
      <p:pic>
        <p:nvPicPr>
          <p:cNvPr id="357" name="ОТП_Logo">
            <a:extLst>
              <a:ext uri="{FF2B5EF4-FFF2-40B4-BE49-F238E27FC236}">
                <a16:creationId xmlns:a16="http://schemas.microsoft.com/office/drawing/2014/main" id="{B56AF071-AE0A-4210-A2F0-96FBA27F3B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491005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4.16667E-7 0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-533401" y="1677706"/>
            <a:ext cx="6917265" cy="3026261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273286" y="2036675"/>
            <a:ext cx="589327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MDM</a:t>
            </a:r>
            <a:r>
              <a:rPr lang="ru-RU" sz="36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 – драйвер для развития </a:t>
            </a:r>
            <a:r>
              <a:rPr lang="ru-RU" sz="3600" b="1" dirty="0" err="1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Data</a:t>
            </a: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 </a:t>
            </a:r>
            <a:r>
              <a:rPr lang="ru-RU" sz="3600" b="1" dirty="0" err="1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Governance</a:t>
            </a:r>
            <a:r>
              <a:rPr lang="ru-RU" sz="3600" b="1" dirty="0">
                <a:solidFill>
                  <a:schemeClr val="accent3"/>
                </a:solidFill>
                <a:latin typeface="Roboto" pitchFamily="2" charset="0"/>
                <a:ea typeface="Roboto" pitchFamily="2" charset="0"/>
              </a:rPr>
              <a:t> </a:t>
            </a:r>
            <a:r>
              <a:rPr lang="ru-RU" sz="36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в части клиентских данных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6874362" y="989475"/>
            <a:ext cx="4680929" cy="4562374"/>
            <a:chOff x="6874362" y="913275"/>
            <a:chExt cx="4680929" cy="4562374"/>
          </a:xfrm>
        </p:grpSpPr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3E5004E2-2086-4FDB-AE84-57B785A58AC4}"/>
                </a:ext>
              </a:extLst>
            </p:cNvPr>
            <p:cNvSpPr/>
            <p:nvPr/>
          </p:nvSpPr>
          <p:spPr>
            <a:xfrm>
              <a:off x="6874362" y="913275"/>
              <a:ext cx="4680929" cy="4562374"/>
            </a:xfrm>
            <a:custGeom>
              <a:avLst/>
              <a:gdLst>
                <a:gd name="connsiteX0" fmla="*/ 4679719 w 4680929"/>
                <a:gd name="connsiteY0" fmla="*/ 1942946 h 4562374"/>
                <a:gd name="connsiteX1" fmla="*/ 4039865 w 4680929"/>
                <a:gd name="connsiteY1" fmla="*/ 670465 h 4562374"/>
                <a:gd name="connsiteX2" fmla="*/ 2602483 w 4680929"/>
                <a:gd name="connsiteY2" fmla="*/ 115606 h 4562374"/>
                <a:gd name="connsiteX3" fmla="*/ 1511189 w 4680929"/>
                <a:gd name="connsiteY3" fmla="*/ 1186440 h 4562374"/>
                <a:gd name="connsiteX4" fmla="*/ 12835 w 4680929"/>
                <a:gd name="connsiteY4" fmla="*/ 2288016 h 4562374"/>
                <a:gd name="connsiteX5" fmla="*/ 2210895 w 4680929"/>
                <a:gd name="connsiteY5" fmla="*/ 4525571 h 4562374"/>
                <a:gd name="connsiteX6" fmla="*/ 4585563 w 4680929"/>
                <a:gd name="connsiteY6" fmla="*/ 2656089 h 4562374"/>
                <a:gd name="connsiteX7" fmla="*/ 4679719 w 4680929"/>
                <a:gd name="connsiteY7" fmla="*/ 1942845 h 4562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80929" h="4562374">
                  <a:moveTo>
                    <a:pt x="4679719" y="1942946"/>
                  </a:moveTo>
                  <a:cubicBezTo>
                    <a:pt x="4679719" y="1942946"/>
                    <a:pt x="4738350" y="1483261"/>
                    <a:pt x="4039865" y="670465"/>
                  </a:cubicBezTo>
                  <a:cubicBezTo>
                    <a:pt x="3341379" y="-142331"/>
                    <a:pt x="3029290" y="-59066"/>
                    <a:pt x="2602483" y="115606"/>
                  </a:cubicBezTo>
                  <a:cubicBezTo>
                    <a:pt x="2175676" y="290278"/>
                    <a:pt x="1887100" y="1061645"/>
                    <a:pt x="1511189" y="1186440"/>
                  </a:cubicBezTo>
                  <a:cubicBezTo>
                    <a:pt x="1135277" y="1311134"/>
                    <a:pt x="157988" y="1368340"/>
                    <a:pt x="12835" y="2288016"/>
                  </a:cubicBezTo>
                  <a:cubicBezTo>
                    <a:pt x="-132318" y="3207691"/>
                    <a:pt x="975975" y="4212769"/>
                    <a:pt x="2210895" y="4525571"/>
                  </a:cubicBezTo>
                  <a:cubicBezTo>
                    <a:pt x="3445816" y="4838475"/>
                    <a:pt x="4476952" y="3064880"/>
                    <a:pt x="4585563" y="2656089"/>
                  </a:cubicBezTo>
                  <a:cubicBezTo>
                    <a:pt x="4694173" y="2247300"/>
                    <a:pt x="4679719" y="1942845"/>
                    <a:pt x="4679719" y="1942845"/>
                  </a:cubicBezTo>
                  <a:close/>
                </a:path>
              </a:pathLst>
            </a:custGeom>
            <a:solidFill>
              <a:srgbClr val="006D3F"/>
            </a:solidFill>
            <a:ln w="10166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75DCA4C0-97FD-46BA-8C9D-AB65D71DC7F8}"/>
                </a:ext>
              </a:extLst>
            </p:cNvPr>
            <p:cNvSpPr/>
            <p:nvPr/>
          </p:nvSpPr>
          <p:spPr>
            <a:xfrm>
              <a:off x="6874362" y="913275"/>
              <a:ext cx="4680929" cy="4562374"/>
            </a:xfrm>
            <a:custGeom>
              <a:avLst/>
              <a:gdLst>
                <a:gd name="connsiteX0" fmla="*/ 4679719 w 4680929"/>
                <a:gd name="connsiteY0" fmla="*/ 1942946 h 4562374"/>
                <a:gd name="connsiteX1" fmla="*/ 4039865 w 4680929"/>
                <a:gd name="connsiteY1" fmla="*/ 670465 h 4562374"/>
                <a:gd name="connsiteX2" fmla="*/ 2602483 w 4680929"/>
                <a:gd name="connsiteY2" fmla="*/ 115606 h 4562374"/>
                <a:gd name="connsiteX3" fmla="*/ 1511189 w 4680929"/>
                <a:gd name="connsiteY3" fmla="*/ 1186440 h 4562374"/>
                <a:gd name="connsiteX4" fmla="*/ 12835 w 4680929"/>
                <a:gd name="connsiteY4" fmla="*/ 2288016 h 4562374"/>
                <a:gd name="connsiteX5" fmla="*/ 2210895 w 4680929"/>
                <a:gd name="connsiteY5" fmla="*/ 4525571 h 4562374"/>
                <a:gd name="connsiteX6" fmla="*/ 4585563 w 4680929"/>
                <a:gd name="connsiteY6" fmla="*/ 2656089 h 4562374"/>
                <a:gd name="connsiteX7" fmla="*/ 4679719 w 4680929"/>
                <a:gd name="connsiteY7" fmla="*/ 1942845 h 4562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80929" h="4562374">
                  <a:moveTo>
                    <a:pt x="4679719" y="1942946"/>
                  </a:moveTo>
                  <a:cubicBezTo>
                    <a:pt x="4679719" y="1942946"/>
                    <a:pt x="4738350" y="1483261"/>
                    <a:pt x="4039865" y="670465"/>
                  </a:cubicBezTo>
                  <a:cubicBezTo>
                    <a:pt x="3341379" y="-142331"/>
                    <a:pt x="3029290" y="-59066"/>
                    <a:pt x="2602483" y="115606"/>
                  </a:cubicBezTo>
                  <a:cubicBezTo>
                    <a:pt x="2175676" y="290278"/>
                    <a:pt x="1887100" y="1061645"/>
                    <a:pt x="1511189" y="1186440"/>
                  </a:cubicBezTo>
                  <a:cubicBezTo>
                    <a:pt x="1135277" y="1311134"/>
                    <a:pt x="157988" y="1368340"/>
                    <a:pt x="12835" y="2288016"/>
                  </a:cubicBezTo>
                  <a:cubicBezTo>
                    <a:pt x="-132318" y="3207691"/>
                    <a:pt x="975975" y="4212769"/>
                    <a:pt x="2210895" y="4525571"/>
                  </a:cubicBezTo>
                  <a:cubicBezTo>
                    <a:pt x="3445816" y="4838475"/>
                    <a:pt x="4476952" y="3064880"/>
                    <a:pt x="4585563" y="2656089"/>
                  </a:cubicBezTo>
                  <a:cubicBezTo>
                    <a:pt x="4694173" y="2247300"/>
                    <a:pt x="4679719" y="1942845"/>
                    <a:pt x="4679719" y="1942845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94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9412513" y="946288"/>
            <a:ext cx="1295383" cy="1073020"/>
            <a:chOff x="9412513" y="870088"/>
            <a:chExt cx="1295383" cy="1073020"/>
          </a:xfrm>
          <a:noFill/>
        </p:grpSpPr>
        <p:sp>
          <p:nvSpPr>
            <p:cNvPr id="995" name="Полилиния: фигура 994">
              <a:extLst>
                <a:ext uri="{FF2B5EF4-FFF2-40B4-BE49-F238E27FC236}">
                  <a16:creationId xmlns:a16="http://schemas.microsoft.com/office/drawing/2014/main" id="{ED16F41E-277E-4733-A28A-001FCFB6430B}"/>
                </a:ext>
              </a:extLst>
            </p:cNvPr>
            <p:cNvSpPr/>
            <p:nvPr/>
          </p:nvSpPr>
          <p:spPr>
            <a:xfrm>
              <a:off x="9416483" y="870088"/>
              <a:ext cx="1291413" cy="807197"/>
            </a:xfrm>
            <a:custGeom>
              <a:avLst/>
              <a:gdLst>
                <a:gd name="connsiteX0" fmla="*/ 0 w 1291413"/>
                <a:gd name="connsiteY0" fmla="*/ 807198 h 807197"/>
                <a:gd name="connsiteX1" fmla="*/ 1291414 w 1291413"/>
                <a:gd name="connsiteY1" fmla="*/ 0 h 807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1413" h="807197">
                  <a:moveTo>
                    <a:pt x="0" y="807198"/>
                  </a:moveTo>
                  <a:cubicBezTo>
                    <a:pt x="0" y="807198"/>
                    <a:pt x="973218" y="805365"/>
                    <a:pt x="1291414" y="0"/>
                  </a:cubicBezTo>
                </a:path>
              </a:pathLst>
            </a:custGeom>
            <a:noFill/>
            <a:ln w="40662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6" name="Полилиния: фигура 995">
              <a:extLst>
                <a:ext uri="{FF2B5EF4-FFF2-40B4-BE49-F238E27FC236}">
                  <a16:creationId xmlns:a16="http://schemas.microsoft.com/office/drawing/2014/main" id="{0D513B60-1AA9-485A-B622-D67E476C1F8B}"/>
                </a:ext>
              </a:extLst>
            </p:cNvPr>
            <p:cNvSpPr/>
            <p:nvPr/>
          </p:nvSpPr>
          <p:spPr>
            <a:xfrm>
              <a:off x="9431243" y="893805"/>
              <a:ext cx="1180703" cy="1049302"/>
            </a:xfrm>
            <a:custGeom>
              <a:avLst/>
              <a:gdLst>
                <a:gd name="connsiteX0" fmla="*/ 0 w 1180703"/>
                <a:gd name="connsiteY0" fmla="*/ 879774 h 1049302"/>
                <a:gd name="connsiteX1" fmla="*/ 105251 w 1180703"/>
                <a:gd name="connsiteY1" fmla="*/ 890055 h 1049302"/>
                <a:gd name="connsiteX2" fmla="*/ 986348 w 1180703"/>
                <a:gd name="connsiteY2" fmla="*/ 873768 h 1049302"/>
                <a:gd name="connsiteX3" fmla="*/ 1154201 w 1180703"/>
                <a:gd name="connsiteY3" fmla="*/ 487678 h 1049302"/>
                <a:gd name="connsiteX4" fmla="*/ 1173948 w 1180703"/>
                <a:gd name="connsiteY4" fmla="*/ 0 h 1049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0703" h="1049302">
                  <a:moveTo>
                    <a:pt x="0" y="879774"/>
                  </a:moveTo>
                  <a:cubicBezTo>
                    <a:pt x="0" y="879774"/>
                    <a:pt x="66673" y="868984"/>
                    <a:pt x="105251" y="890055"/>
                  </a:cubicBezTo>
                  <a:cubicBezTo>
                    <a:pt x="268930" y="979325"/>
                    <a:pt x="682708" y="1207234"/>
                    <a:pt x="986348" y="873768"/>
                  </a:cubicBezTo>
                  <a:cubicBezTo>
                    <a:pt x="1083151" y="767398"/>
                    <a:pt x="1140154" y="630897"/>
                    <a:pt x="1154201" y="487678"/>
                  </a:cubicBezTo>
                  <a:cubicBezTo>
                    <a:pt x="1169978" y="326543"/>
                    <a:pt x="1191965" y="63212"/>
                    <a:pt x="1173948" y="0"/>
                  </a:cubicBezTo>
                </a:path>
              </a:pathLst>
            </a:custGeom>
            <a:noFill/>
            <a:ln w="40662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7" name="Полилиния: фигура 996">
              <a:extLst>
                <a:ext uri="{FF2B5EF4-FFF2-40B4-BE49-F238E27FC236}">
                  <a16:creationId xmlns:a16="http://schemas.microsoft.com/office/drawing/2014/main" id="{74474C69-9CDB-4871-836B-14E0FA878EE6}"/>
                </a:ext>
              </a:extLst>
            </p:cNvPr>
            <p:cNvSpPr/>
            <p:nvPr/>
          </p:nvSpPr>
          <p:spPr>
            <a:xfrm>
              <a:off x="9412513" y="874057"/>
              <a:ext cx="948100" cy="1023768"/>
            </a:xfrm>
            <a:custGeom>
              <a:avLst/>
              <a:gdLst>
                <a:gd name="connsiteX0" fmla="*/ 0 w 948100"/>
                <a:gd name="connsiteY0" fmla="*/ 1015359 h 1023768"/>
                <a:gd name="connsiteX1" fmla="*/ 947566 w 948100"/>
                <a:gd name="connsiteY1" fmla="*/ 0 h 102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8100" h="1023768">
                  <a:moveTo>
                    <a:pt x="0" y="1015359"/>
                  </a:moveTo>
                  <a:cubicBezTo>
                    <a:pt x="0" y="1015359"/>
                    <a:pt x="974133" y="1185043"/>
                    <a:pt x="947566" y="0"/>
                  </a:cubicBezTo>
                </a:path>
              </a:pathLst>
            </a:custGeom>
            <a:noFill/>
            <a:ln w="40662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98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8370807" y="1484192"/>
            <a:ext cx="1368300" cy="4180180"/>
            <a:chOff x="8370807" y="1407992"/>
            <a:chExt cx="1368300" cy="4180180"/>
          </a:xfrm>
        </p:grpSpPr>
        <p:grpSp>
          <p:nvGrpSpPr>
            <p:cNvPr id="999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348212" y="1651496"/>
              <a:ext cx="85738" cy="65133"/>
              <a:chOff x="9348212" y="1651496"/>
              <a:chExt cx="85738" cy="65133"/>
            </a:xfrm>
            <a:solidFill>
              <a:srgbClr val="263238"/>
            </a:solidFill>
          </p:grpSpPr>
          <p:sp>
            <p:nvSpPr>
              <p:cNvPr id="1000" name="Полилиния: фигура 999">
                <a:extLst>
                  <a:ext uri="{FF2B5EF4-FFF2-40B4-BE49-F238E27FC236}">
                    <a16:creationId xmlns:a16="http://schemas.microsoft.com/office/drawing/2014/main" id="{D78855B2-54A6-4D2C-815F-971CA55A27A1}"/>
                  </a:ext>
                </a:extLst>
              </p:cNvPr>
              <p:cNvSpPr/>
              <p:nvPr/>
            </p:nvSpPr>
            <p:spPr>
              <a:xfrm rot="-469200">
                <a:off x="9351991" y="1654595"/>
                <a:ext cx="49571" cy="58936"/>
              </a:xfrm>
              <a:custGeom>
                <a:avLst/>
                <a:gdLst>
                  <a:gd name="connsiteX0" fmla="*/ 0 w 49571"/>
                  <a:gd name="connsiteY0" fmla="*/ 0 h 58936"/>
                  <a:gd name="connsiteX1" fmla="*/ 49572 w 49571"/>
                  <a:gd name="connsiteY1" fmla="*/ 0 h 58936"/>
                  <a:gd name="connsiteX2" fmla="*/ 49572 w 49571"/>
                  <a:gd name="connsiteY2" fmla="*/ 58937 h 58936"/>
                  <a:gd name="connsiteX3" fmla="*/ 0 w 49571"/>
                  <a:gd name="connsiteY3" fmla="*/ 58937 h 5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71" h="58936">
                    <a:moveTo>
                      <a:pt x="0" y="0"/>
                    </a:moveTo>
                    <a:lnTo>
                      <a:pt x="49572" y="0"/>
                    </a:lnTo>
                    <a:lnTo>
                      <a:pt x="49572" y="58937"/>
                    </a:lnTo>
                    <a:lnTo>
                      <a:pt x="0" y="58937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1" name="Полилиния: фигура 1000">
                <a:extLst>
                  <a:ext uri="{FF2B5EF4-FFF2-40B4-BE49-F238E27FC236}">
                    <a16:creationId xmlns:a16="http://schemas.microsoft.com/office/drawing/2014/main" id="{E15AAB1D-2E3A-4573-9EBA-EA41170D46EA}"/>
                  </a:ext>
                </a:extLst>
              </p:cNvPr>
              <p:cNvSpPr/>
              <p:nvPr/>
            </p:nvSpPr>
            <p:spPr>
              <a:xfrm rot="-469200">
                <a:off x="9401045" y="1661569"/>
                <a:ext cx="30944" cy="30944"/>
              </a:xfrm>
              <a:custGeom>
                <a:avLst/>
                <a:gdLst>
                  <a:gd name="connsiteX0" fmla="*/ 0 w 30944"/>
                  <a:gd name="connsiteY0" fmla="*/ 0 h 30944"/>
                  <a:gd name="connsiteX1" fmla="*/ 30944 w 30944"/>
                  <a:gd name="connsiteY1" fmla="*/ 0 h 30944"/>
                  <a:gd name="connsiteX2" fmla="*/ 30944 w 30944"/>
                  <a:gd name="connsiteY2" fmla="*/ 30944 h 30944"/>
                  <a:gd name="connsiteX3" fmla="*/ 0 w 30944"/>
                  <a:gd name="connsiteY3" fmla="*/ 30944 h 30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44" h="30944">
                    <a:moveTo>
                      <a:pt x="0" y="0"/>
                    </a:moveTo>
                    <a:lnTo>
                      <a:pt x="30944" y="0"/>
                    </a:lnTo>
                    <a:lnTo>
                      <a:pt x="30944" y="30944"/>
                    </a:lnTo>
                    <a:lnTo>
                      <a:pt x="0" y="30944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02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348177" y="1750735"/>
              <a:ext cx="85738" cy="65133"/>
              <a:chOff x="9348177" y="1750735"/>
              <a:chExt cx="85738" cy="65133"/>
            </a:xfrm>
            <a:solidFill>
              <a:srgbClr val="263238"/>
            </a:solidFill>
          </p:grpSpPr>
          <p:sp>
            <p:nvSpPr>
              <p:cNvPr id="1003" name="Полилиния: фигура 1002">
                <a:extLst>
                  <a:ext uri="{FF2B5EF4-FFF2-40B4-BE49-F238E27FC236}">
                    <a16:creationId xmlns:a16="http://schemas.microsoft.com/office/drawing/2014/main" id="{2EEC3CCA-45B1-4439-AE1E-2A6CC86F2DDD}"/>
                  </a:ext>
                </a:extLst>
              </p:cNvPr>
              <p:cNvSpPr/>
              <p:nvPr/>
            </p:nvSpPr>
            <p:spPr>
              <a:xfrm rot="-469200">
                <a:off x="9351956" y="1753834"/>
                <a:ext cx="49571" cy="58936"/>
              </a:xfrm>
              <a:custGeom>
                <a:avLst/>
                <a:gdLst>
                  <a:gd name="connsiteX0" fmla="*/ 0 w 49571"/>
                  <a:gd name="connsiteY0" fmla="*/ 0 h 58936"/>
                  <a:gd name="connsiteX1" fmla="*/ 49572 w 49571"/>
                  <a:gd name="connsiteY1" fmla="*/ 0 h 58936"/>
                  <a:gd name="connsiteX2" fmla="*/ 49572 w 49571"/>
                  <a:gd name="connsiteY2" fmla="*/ 58937 h 58936"/>
                  <a:gd name="connsiteX3" fmla="*/ 0 w 49571"/>
                  <a:gd name="connsiteY3" fmla="*/ 58937 h 5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71" h="58936">
                    <a:moveTo>
                      <a:pt x="0" y="0"/>
                    </a:moveTo>
                    <a:lnTo>
                      <a:pt x="49572" y="0"/>
                    </a:lnTo>
                    <a:lnTo>
                      <a:pt x="49572" y="58937"/>
                    </a:lnTo>
                    <a:lnTo>
                      <a:pt x="0" y="58937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4" name="Полилиния: фигура 1003">
                <a:extLst>
                  <a:ext uri="{FF2B5EF4-FFF2-40B4-BE49-F238E27FC236}">
                    <a16:creationId xmlns:a16="http://schemas.microsoft.com/office/drawing/2014/main" id="{BEA10FB2-CECB-4FD6-9A2F-C819B5396DB2}"/>
                  </a:ext>
                </a:extLst>
              </p:cNvPr>
              <p:cNvSpPr/>
              <p:nvPr/>
            </p:nvSpPr>
            <p:spPr>
              <a:xfrm rot="-468600">
                <a:off x="9401012" y="1761168"/>
                <a:ext cx="30944" cy="30944"/>
              </a:xfrm>
              <a:custGeom>
                <a:avLst/>
                <a:gdLst>
                  <a:gd name="connsiteX0" fmla="*/ 0 w 30944"/>
                  <a:gd name="connsiteY0" fmla="*/ 0 h 30944"/>
                  <a:gd name="connsiteX1" fmla="*/ 30944 w 30944"/>
                  <a:gd name="connsiteY1" fmla="*/ 0 h 30944"/>
                  <a:gd name="connsiteX2" fmla="*/ 30944 w 30944"/>
                  <a:gd name="connsiteY2" fmla="*/ 30944 h 30944"/>
                  <a:gd name="connsiteX3" fmla="*/ 0 w 30944"/>
                  <a:gd name="connsiteY3" fmla="*/ 30944 h 30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44" h="30944">
                    <a:moveTo>
                      <a:pt x="0" y="0"/>
                    </a:moveTo>
                    <a:lnTo>
                      <a:pt x="30944" y="0"/>
                    </a:lnTo>
                    <a:lnTo>
                      <a:pt x="30944" y="30944"/>
                    </a:lnTo>
                    <a:lnTo>
                      <a:pt x="0" y="30944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05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325028" y="1870046"/>
              <a:ext cx="85514" cy="65133"/>
              <a:chOff x="9325028" y="1870046"/>
              <a:chExt cx="85514" cy="65133"/>
            </a:xfrm>
            <a:solidFill>
              <a:srgbClr val="263238"/>
            </a:solidFill>
          </p:grpSpPr>
          <p:sp>
            <p:nvSpPr>
              <p:cNvPr id="1006" name="Полилиния: фигура 1005">
                <a:extLst>
                  <a:ext uri="{FF2B5EF4-FFF2-40B4-BE49-F238E27FC236}">
                    <a16:creationId xmlns:a16="http://schemas.microsoft.com/office/drawing/2014/main" id="{3F4A056F-24C7-4880-8EB5-EE4C9A78E47B}"/>
                  </a:ext>
                </a:extLst>
              </p:cNvPr>
              <p:cNvSpPr/>
              <p:nvPr/>
            </p:nvSpPr>
            <p:spPr>
              <a:xfrm rot="-469200">
                <a:off x="9328807" y="1873144"/>
                <a:ext cx="49571" cy="58936"/>
              </a:xfrm>
              <a:custGeom>
                <a:avLst/>
                <a:gdLst>
                  <a:gd name="connsiteX0" fmla="*/ 0 w 49571"/>
                  <a:gd name="connsiteY0" fmla="*/ 0 h 58936"/>
                  <a:gd name="connsiteX1" fmla="*/ 49572 w 49571"/>
                  <a:gd name="connsiteY1" fmla="*/ 0 h 58936"/>
                  <a:gd name="connsiteX2" fmla="*/ 49572 w 49571"/>
                  <a:gd name="connsiteY2" fmla="*/ 58937 h 58936"/>
                  <a:gd name="connsiteX3" fmla="*/ 0 w 49571"/>
                  <a:gd name="connsiteY3" fmla="*/ 58937 h 58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571" h="58936">
                    <a:moveTo>
                      <a:pt x="0" y="0"/>
                    </a:moveTo>
                    <a:lnTo>
                      <a:pt x="49572" y="0"/>
                    </a:lnTo>
                    <a:lnTo>
                      <a:pt x="49572" y="58937"/>
                    </a:lnTo>
                    <a:lnTo>
                      <a:pt x="0" y="58937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7" name="Полилиния: фигура 1006">
                <a:extLst>
                  <a:ext uri="{FF2B5EF4-FFF2-40B4-BE49-F238E27FC236}">
                    <a16:creationId xmlns:a16="http://schemas.microsoft.com/office/drawing/2014/main" id="{FF71E27A-FE31-4016-91E8-471505EF5181}"/>
                  </a:ext>
                </a:extLst>
              </p:cNvPr>
              <p:cNvSpPr/>
              <p:nvPr/>
            </p:nvSpPr>
            <p:spPr>
              <a:xfrm rot="-468600">
                <a:off x="9377639" y="1880492"/>
                <a:ext cx="30944" cy="30944"/>
              </a:xfrm>
              <a:custGeom>
                <a:avLst/>
                <a:gdLst>
                  <a:gd name="connsiteX0" fmla="*/ 0 w 30944"/>
                  <a:gd name="connsiteY0" fmla="*/ 0 h 30944"/>
                  <a:gd name="connsiteX1" fmla="*/ 30944 w 30944"/>
                  <a:gd name="connsiteY1" fmla="*/ 0 h 30944"/>
                  <a:gd name="connsiteX2" fmla="*/ 30944 w 30944"/>
                  <a:gd name="connsiteY2" fmla="*/ 30944 h 30944"/>
                  <a:gd name="connsiteX3" fmla="*/ 0 w 30944"/>
                  <a:gd name="connsiteY3" fmla="*/ 30944 h 30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44" h="30944">
                    <a:moveTo>
                      <a:pt x="0" y="0"/>
                    </a:moveTo>
                    <a:lnTo>
                      <a:pt x="30944" y="0"/>
                    </a:lnTo>
                    <a:lnTo>
                      <a:pt x="30944" y="30944"/>
                    </a:lnTo>
                    <a:lnTo>
                      <a:pt x="0" y="30944"/>
                    </a:ln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08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8370807" y="2040547"/>
              <a:ext cx="591691" cy="1043678"/>
              <a:chOff x="8370807" y="2040547"/>
              <a:chExt cx="591691" cy="1043678"/>
            </a:xfrm>
          </p:grpSpPr>
          <p:grpSp>
            <p:nvGrpSpPr>
              <p:cNvPr id="1009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8409926" y="2141675"/>
                <a:ext cx="152744" cy="154992"/>
                <a:chOff x="8409926" y="2141675"/>
                <a:chExt cx="152744" cy="154992"/>
              </a:xfrm>
            </p:grpSpPr>
            <p:sp>
              <p:nvSpPr>
                <p:cNvPr id="1010" name="Полилиния: фигура 1009">
                  <a:extLst>
                    <a:ext uri="{FF2B5EF4-FFF2-40B4-BE49-F238E27FC236}">
                      <a16:creationId xmlns:a16="http://schemas.microsoft.com/office/drawing/2014/main" id="{38520CEA-B376-4395-B550-45728B39AD03}"/>
                    </a:ext>
                  </a:extLst>
                </p:cNvPr>
                <p:cNvSpPr/>
                <p:nvPr/>
              </p:nvSpPr>
              <p:spPr>
                <a:xfrm>
                  <a:off x="8409926" y="2141675"/>
                  <a:ext cx="152744" cy="154992"/>
                </a:xfrm>
                <a:custGeom>
                  <a:avLst/>
                  <a:gdLst>
                    <a:gd name="connsiteX0" fmla="*/ 103473 w 152744"/>
                    <a:gd name="connsiteY0" fmla="*/ 2726 h 154992"/>
                    <a:gd name="connsiteX1" fmla="*/ 5449 w 152744"/>
                    <a:gd name="connsiteY1" fmla="*/ 30413 h 154992"/>
                    <a:gd name="connsiteX2" fmla="*/ 3922 w 152744"/>
                    <a:gd name="connsiteY2" fmla="*/ 56980 h 154992"/>
                    <a:gd name="connsiteX3" fmla="*/ 26112 w 152744"/>
                    <a:gd name="connsiteY3" fmla="*/ 126401 h 154992"/>
                    <a:gd name="connsiteX4" fmla="*/ 74870 w 152744"/>
                    <a:gd name="connsiteY4" fmla="*/ 151543 h 154992"/>
                    <a:gd name="connsiteX5" fmla="*/ 147345 w 152744"/>
                    <a:gd name="connsiteY5" fmla="*/ 135257 h 154992"/>
                    <a:gd name="connsiteX6" fmla="*/ 138489 w 152744"/>
                    <a:gd name="connsiteY6" fmla="*/ 25832 h 154992"/>
                    <a:gd name="connsiteX7" fmla="*/ 103473 w 152744"/>
                    <a:gd name="connsiteY7" fmla="*/ 2522 h 1549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2744" h="154992">
                      <a:moveTo>
                        <a:pt x="103473" y="2726"/>
                      </a:moveTo>
                      <a:cubicBezTo>
                        <a:pt x="103473" y="2726"/>
                        <a:pt x="9928" y="28988"/>
                        <a:pt x="5449" y="30413"/>
                      </a:cubicBezTo>
                      <a:cubicBezTo>
                        <a:pt x="970" y="31838"/>
                        <a:pt x="-3407" y="45172"/>
                        <a:pt x="3922" y="56980"/>
                      </a:cubicBezTo>
                      <a:cubicBezTo>
                        <a:pt x="11353" y="68787"/>
                        <a:pt x="26112" y="126401"/>
                        <a:pt x="26112" y="126401"/>
                      </a:cubicBezTo>
                      <a:cubicBezTo>
                        <a:pt x="26112" y="126401"/>
                        <a:pt x="55631" y="147064"/>
                        <a:pt x="74870" y="151543"/>
                      </a:cubicBezTo>
                      <a:cubicBezTo>
                        <a:pt x="94108" y="156022"/>
                        <a:pt x="138387" y="160399"/>
                        <a:pt x="147345" y="135257"/>
                      </a:cubicBezTo>
                      <a:cubicBezTo>
                        <a:pt x="156200" y="110114"/>
                        <a:pt x="154775" y="43645"/>
                        <a:pt x="138489" y="25832"/>
                      </a:cubicBezTo>
                      <a:cubicBezTo>
                        <a:pt x="122202" y="8120"/>
                        <a:pt x="115789" y="-5927"/>
                        <a:pt x="103473" y="2522"/>
                      </a:cubicBezTo>
                      <a:close/>
                    </a:path>
                  </a:pathLst>
                </a:custGeom>
                <a:solidFill>
                  <a:srgbClr val="BABABA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1" name="Полилиния: фигура 1010">
                  <a:extLst>
                    <a:ext uri="{FF2B5EF4-FFF2-40B4-BE49-F238E27FC236}">
                      <a16:creationId xmlns:a16="http://schemas.microsoft.com/office/drawing/2014/main" id="{99F3D398-B236-45D6-8EF3-1223CE00317E}"/>
                    </a:ext>
                  </a:extLst>
                </p:cNvPr>
                <p:cNvSpPr/>
                <p:nvPr/>
              </p:nvSpPr>
              <p:spPr>
                <a:xfrm>
                  <a:off x="8427285" y="2173615"/>
                  <a:ext cx="75574" cy="116753"/>
                </a:xfrm>
                <a:custGeom>
                  <a:avLst/>
                  <a:gdLst>
                    <a:gd name="connsiteX0" fmla="*/ 0 w 75574"/>
                    <a:gd name="connsiteY0" fmla="*/ 0 h 116753"/>
                    <a:gd name="connsiteX1" fmla="*/ 48758 w 75574"/>
                    <a:gd name="connsiteY1" fmla="*/ 29519 h 116753"/>
                    <a:gd name="connsiteX2" fmla="*/ 69421 w 75574"/>
                    <a:gd name="connsiteY2" fmla="*/ 54661 h 116753"/>
                    <a:gd name="connsiteX3" fmla="*/ 75325 w 75574"/>
                    <a:gd name="connsiteY3" fmla="*/ 116754 h 11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5574" h="116753">
                      <a:moveTo>
                        <a:pt x="0" y="0"/>
                      </a:moveTo>
                      <a:cubicBezTo>
                        <a:pt x="0" y="0"/>
                        <a:pt x="32471" y="14760"/>
                        <a:pt x="48758" y="29519"/>
                      </a:cubicBezTo>
                      <a:cubicBezTo>
                        <a:pt x="65044" y="44279"/>
                        <a:pt x="67996" y="47231"/>
                        <a:pt x="69421" y="54661"/>
                      </a:cubicBezTo>
                      <a:cubicBezTo>
                        <a:pt x="70948" y="62092"/>
                        <a:pt x="76852" y="99042"/>
                        <a:pt x="75325" y="116754"/>
                      </a:cubicBezTo>
                    </a:path>
                  </a:pathLst>
                </a:custGeom>
                <a:solidFill>
                  <a:srgbClr val="FFFFFF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2" name="Полилиния: фигура 1011">
                  <a:extLst>
                    <a:ext uri="{FF2B5EF4-FFF2-40B4-BE49-F238E27FC236}">
                      <a16:creationId xmlns:a16="http://schemas.microsoft.com/office/drawing/2014/main" id="{574E1AE5-5CA0-4078-B983-3E001BBB5A78}"/>
                    </a:ext>
                  </a:extLst>
                </p:cNvPr>
                <p:cNvSpPr/>
                <p:nvPr/>
              </p:nvSpPr>
              <p:spPr>
                <a:xfrm>
                  <a:off x="8496706" y="2167711"/>
                  <a:ext cx="51709" cy="60565"/>
                </a:xfrm>
                <a:custGeom>
                  <a:avLst/>
                  <a:gdLst>
                    <a:gd name="connsiteX0" fmla="*/ 0 w 51709"/>
                    <a:gd name="connsiteY0" fmla="*/ 60565 h 60565"/>
                    <a:gd name="connsiteX1" fmla="*/ 51710 w 51709"/>
                    <a:gd name="connsiteY1" fmla="*/ 0 h 60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1709" h="60565">
                      <a:moveTo>
                        <a:pt x="0" y="60565"/>
                      </a:moveTo>
                      <a:cubicBezTo>
                        <a:pt x="0" y="60565"/>
                        <a:pt x="51710" y="35423"/>
                        <a:pt x="51710" y="0"/>
                      </a:cubicBezTo>
                    </a:path>
                  </a:pathLst>
                </a:custGeom>
                <a:solidFill>
                  <a:srgbClr val="FFFFFF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013" name="Полилиния: фигура 1012">
                <a:extLst>
                  <a:ext uri="{FF2B5EF4-FFF2-40B4-BE49-F238E27FC236}">
                    <a16:creationId xmlns:a16="http://schemas.microsoft.com/office/drawing/2014/main" id="{B74DF7AE-0928-4A64-A882-1D3992AC16E3}"/>
                  </a:ext>
                </a:extLst>
              </p:cNvPr>
              <p:cNvSpPr/>
              <p:nvPr/>
            </p:nvSpPr>
            <p:spPr>
              <a:xfrm>
                <a:off x="8370807" y="2040547"/>
                <a:ext cx="591691" cy="1043678"/>
              </a:xfrm>
              <a:custGeom>
                <a:avLst/>
                <a:gdLst>
                  <a:gd name="connsiteX0" fmla="*/ 573776 w 591691"/>
                  <a:gd name="connsiteY0" fmla="*/ 706554 h 1043678"/>
                  <a:gd name="connsiteX1" fmla="*/ 449592 w 591691"/>
                  <a:gd name="connsiteY1" fmla="*/ 588274 h 1043678"/>
                  <a:gd name="connsiteX2" fmla="*/ 301792 w 591691"/>
                  <a:gd name="connsiteY2" fmla="*/ 378382 h 1043678"/>
                  <a:gd name="connsiteX3" fmla="*/ 238275 w 591691"/>
                  <a:gd name="connsiteY3" fmla="*/ 164012 h 1043678"/>
                  <a:gd name="connsiteX4" fmla="*/ 205804 w 591691"/>
                  <a:gd name="connsiteY4" fmla="*/ 72400 h 1043678"/>
                  <a:gd name="connsiteX5" fmla="*/ 123048 w 591691"/>
                  <a:gd name="connsiteY5" fmla="*/ 29547 h 1043678"/>
                  <a:gd name="connsiteX6" fmla="*/ 58004 w 591691"/>
                  <a:gd name="connsiteY6" fmla="*/ 4404 h 1043678"/>
                  <a:gd name="connsiteX7" fmla="*/ 26958 w 591691"/>
                  <a:gd name="connsiteY7" fmla="*/ 41354 h 1043678"/>
                  <a:gd name="connsiteX8" fmla="*/ 115618 w 591691"/>
                  <a:gd name="connsiteY8" fmla="*/ 81256 h 1043678"/>
                  <a:gd name="connsiteX9" fmla="*/ 159998 w 591691"/>
                  <a:gd name="connsiteY9" fmla="*/ 118206 h 1043678"/>
                  <a:gd name="connsiteX10" fmla="*/ 173333 w 591691"/>
                  <a:gd name="connsiteY10" fmla="*/ 214296 h 1043678"/>
                  <a:gd name="connsiteX11" fmla="*/ 161525 w 591691"/>
                  <a:gd name="connsiteY11" fmla="*/ 242390 h 1043678"/>
                  <a:gd name="connsiteX12" fmla="*/ 115720 w 591691"/>
                  <a:gd name="connsiteY12" fmla="*/ 234960 h 1043678"/>
                  <a:gd name="connsiteX13" fmla="*/ 30012 w 591691"/>
                  <a:gd name="connsiteY13" fmla="*/ 214296 h 1043678"/>
                  <a:gd name="connsiteX14" fmla="*/ 25533 w 591691"/>
                  <a:gd name="connsiteY14" fmla="*/ 266005 h 1043678"/>
                  <a:gd name="connsiteX15" fmla="*/ 121623 w 591691"/>
                  <a:gd name="connsiteY15" fmla="*/ 307434 h 1043678"/>
                  <a:gd name="connsiteX16" fmla="*/ 170381 w 591691"/>
                  <a:gd name="connsiteY16" fmla="*/ 390190 h 1043678"/>
                  <a:gd name="connsiteX17" fmla="*/ 223617 w 591691"/>
                  <a:gd name="connsiteY17" fmla="*/ 427140 h 1043678"/>
                  <a:gd name="connsiteX18" fmla="*/ 265046 w 591691"/>
                  <a:gd name="connsiteY18" fmla="*/ 622272 h 1043678"/>
                  <a:gd name="connsiteX19" fmla="*/ 392182 w 591691"/>
                  <a:gd name="connsiteY19" fmla="*/ 926727 h 1043678"/>
                  <a:gd name="connsiteX20" fmla="*/ 557693 w 591691"/>
                  <a:gd name="connsiteY20" fmla="*/ 1043480 h 1043678"/>
                  <a:gd name="connsiteX21" fmla="*/ 591691 w 591691"/>
                  <a:gd name="connsiteY21" fmla="*/ 996148 h 1043678"/>
                  <a:gd name="connsiteX22" fmla="*/ 573980 w 591691"/>
                  <a:gd name="connsiteY22" fmla="*/ 706452 h 1043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91691" h="1043678">
                    <a:moveTo>
                      <a:pt x="573776" y="706554"/>
                    </a:moveTo>
                    <a:cubicBezTo>
                      <a:pt x="573776" y="706554"/>
                      <a:pt x="516163" y="656270"/>
                      <a:pt x="449592" y="588274"/>
                    </a:cubicBezTo>
                    <a:cubicBezTo>
                      <a:pt x="383123" y="520278"/>
                      <a:pt x="315127" y="419811"/>
                      <a:pt x="301792" y="378382"/>
                    </a:cubicBezTo>
                    <a:cubicBezTo>
                      <a:pt x="288458" y="336953"/>
                      <a:pt x="254460" y="208392"/>
                      <a:pt x="238275" y="164012"/>
                    </a:cubicBezTo>
                    <a:cubicBezTo>
                      <a:pt x="222090" y="119631"/>
                      <a:pt x="219037" y="88585"/>
                      <a:pt x="205804" y="72400"/>
                    </a:cubicBezTo>
                    <a:cubicBezTo>
                      <a:pt x="192469" y="56114"/>
                      <a:pt x="128952" y="32498"/>
                      <a:pt x="123048" y="29547"/>
                    </a:cubicBezTo>
                    <a:cubicBezTo>
                      <a:pt x="117145" y="26595"/>
                      <a:pt x="86099" y="16212"/>
                      <a:pt x="58004" y="4404"/>
                    </a:cubicBezTo>
                    <a:cubicBezTo>
                      <a:pt x="29910" y="-7403"/>
                      <a:pt x="-8465" y="4404"/>
                      <a:pt x="26958" y="41354"/>
                    </a:cubicBezTo>
                    <a:cubicBezTo>
                      <a:pt x="62381" y="78304"/>
                      <a:pt x="115618" y="81256"/>
                      <a:pt x="115618" y="81256"/>
                    </a:cubicBezTo>
                    <a:lnTo>
                      <a:pt x="159998" y="118206"/>
                    </a:lnTo>
                    <a:cubicBezTo>
                      <a:pt x="159998" y="118206"/>
                      <a:pt x="176285" y="195058"/>
                      <a:pt x="173333" y="214296"/>
                    </a:cubicBezTo>
                    <a:cubicBezTo>
                      <a:pt x="170381" y="233534"/>
                      <a:pt x="161525" y="242390"/>
                      <a:pt x="161525" y="242390"/>
                    </a:cubicBezTo>
                    <a:cubicBezTo>
                      <a:pt x="161525" y="242390"/>
                      <a:pt x="139335" y="248294"/>
                      <a:pt x="115720" y="234960"/>
                    </a:cubicBezTo>
                    <a:cubicBezTo>
                      <a:pt x="92104" y="221625"/>
                      <a:pt x="75818" y="202488"/>
                      <a:pt x="30012" y="214296"/>
                    </a:cubicBezTo>
                    <a:cubicBezTo>
                      <a:pt x="-15794" y="226104"/>
                      <a:pt x="-2459" y="261629"/>
                      <a:pt x="25533" y="266005"/>
                    </a:cubicBezTo>
                    <a:cubicBezTo>
                      <a:pt x="53526" y="270383"/>
                      <a:pt x="100960" y="282292"/>
                      <a:pt x="121623" y="307434"/>
                    </a:cubicBezTo>
                    <a:cubicBezTo>
                      <a:pt x="142287" y="332576"/>
                      <a:pt x="127527" y="360671"/>
                      <a:pt x="170381" y="390190"/>
                    </a:cubicBezTo>
                    <a:cubicBezTo>
                      <a:pt x="213235" y="419709"/>
                      <a:pt x="223617" y="427140"/>
                      <a:pt x="223617" y="427140"/>
                    </a:cubicBezTo>
                    <a:cubicBezTo>
                      <a:pt x="223617" y="427140"/>
                      <a:pt x="253137" y="518751"/>
                      <a:pt x="265046" y="622272"/>
                    </a:cubicBezTo>
                    <a:cubicBezTo>
                      <a:pt x="276854" y="725691"/>
                      <a:pt x="291613" y="836642"/>
                      <a:pt x="392182" y="926727"/>
                    </a:cubicBezTo>
                    <a:cubicBezTo>
                      <a:pt x="492751" y="1016811"/>
                      <a:pt x="538557" y="1046432"/>
                      <a:pt x="557693" y="1043480"/>
                    </a:cubicBezTo>
                    <a:cubicBezTo>
                      <a:pt x="576932" y="1040528"/>
                      <a:pt x="591691" y="1033098"/>
                      <a:pt x="591691" y="996148"/>
                    </a:cubicBezTo>
                    <a:cubicBezTo>
                      <a:pt x="591691" y="959198"/>
                      <a:pt x="573980" y="706452"/>
                      <a:pt x="573980" y="706452"/>
                    </a:cubicBezTo>
                    <a:close/>
                  </a:path>
                </a:pathLst>
              </a:custGeom>
              <a:solidFill>
                <a:srgbClr val="E5E5E5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4" name="Полилиния: фигура 1013">
                <a:extLst>
                  <a:ext uri="{FF2B5EF4-FFF2-40B4-BE49-F238E27FC236}">
                    <a16:creationId xmlns:a16="http://schemas.microsoft.com/office/drawing/2014/main" id="{2765A31B-C883-4F0B-A353-BC9538212DC5}"/>
                  </a:ext>
                </a:extLst>
              </p:cNvPr>
              <p:cNvSpPr/>
              <p:nvPr/>
            </p:nvSpPr>
            <p:spPr>
              <a:xfrm>
                <a:off x="8662420" y="2545760"/>
                <a:ext cx="279821" cy="466912"/>
              </a:xfrm>
              <a:custGeom>
                <a:avLst/>
                <a:gdLst>
                  <a:gd name="connsiteX0" fmla="*/ 0 w 279821"/>
                  <a:gd name="connsiteY0" fmla="*/ 0 h 466912"/>
                  <a:gd name="connsiteX1" fmla="*/ 170092 w 279821"/>
                  <a:gd name="connsiteY1" fmla="*/ 369499 h 466912"/>
                  <a:gd name="connsiteX2" fmla="*/ 279822 w 279821"/>
                  <a:gd name="connsiteY2" fmla="*/ 466912 h 466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821" h="466912">
                    <a:moveTo>
                      <a:pt x="0" y="0"/>
                    </a:moveTo>
                    <a:cubicBezTo>
                      <a:pt x="0" y="0"/>
                      <a:pt x="71151" y="245824"/>
                      <a:pt x="170092" y="369499"/>
                    </a:cubicBezTo>
                    <a:cubicBezTo>
                      <a:pt x="234423" y="449913"/>
                      <a:pt x="279822" y="466912"/>
                      <a:pt x="279822" y="466912"/>
                    </a:cubicBezTo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5" name="Полилиния: фигура 1014">
                <a:extLst>
                  <a:ext uri="{FF2B5EF4-FFF2-40B4-BE49-F238E27FC236}">
                    <a16:creationId xmlns:a16="http://schemas.microsoft.com/office/drawing/2014/main" id="{9D7F16F7-2CD3-4C60-9422-7501DAEC1D1A}"/>
                  </a:ext>
                </a:extLst>
              </p:cNvPr>
              <p:cNvSpPr/>
              <p:nvPr/>
            </p:nvSpPr>
            <p:spPr>
              <a:xfrm>
                <a:off x="8599921" y="2435420"/>
                <a:ext cx="114615" cy="114412"/>
              </a:xfrm>
              <a:custGeom>
                <a:avLst/>
                <a:gdLst>
                  <a:gd name="connsiteX0" fmla="*/ 0 w 114615"/>
                  <a:gd name="connsiteY0" fmla="*/ 51302 h 114412"/>
                  <a:gd name="connsiteX1" fmla="*/ 16083 w 114615"/>
                  <a:gd name="connsiteY1" fmla="*/ 114412 h 114412"/>
                  <a:gd name="connsiteX2" fmla="*/ 114616 w 114615"/>
                  <a:gd name="connsiteY2" fmla="*/ 60667 h 114412"/>
                  <a:gd name="connsiteX3" fmla="*/ 79397 w 114615"/>
                  <a:gd name="connsiteY3" fmla="*/ 0 h 114412"/>
                  <a:gd name="connsiteX4" fmla="*/ 0 w 114615"/>
                  <a:gd name="connsiteY4" fmla="*/ 51201 h 114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615" h="114412">
                    <a:moveTo>
                      <a:pt x="0" y="51302"/>
                    </a:moveTo>
                    <a:cubicBezTo>
                      <a:pt x="4173" y="65757"/>
                      <a:pt x="10077" y="87743"/>
                      <a:pt x="16083" y="114412"/>
                    </a:cubicBezTo>
                    <a:cubicBezTo>
                      <a:pt x="64026" y="106167"/>
                      <a:pt x="95683" y="81534"/>
                      <a:pt x="114616" y="60667"/>
                    </a:cubicBezTo>
                    <a:cubicBezTo>
                      <a:pt x="99449" y="37662"/>
                      <a:pt x="87133" y="16490"/>
                      <a:pt x="79397" y="0"/>
                    </a:cubicBezTo>
                    <a:cubicBezTo>
                      <a:pt x="45398" y="34812"/>
                      <a:pt x="17508" y="47129"/>
                      <a:pt x="0" y="51201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16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8443266" y="2061544"/>
                <a:ext cx="138943" cy="292545"/>
                <a:chOff x="8443266" y="2061544"/>
                <a:chExt cx="138943" cy="292545"/>
              </a:xfrm>
              <a:solidFill>
                <a:srgbClr val="263238"/>
              </a:solidFill>
            </p:grpSpPr>
            <p:sp>
              <p:nvSpPr>
                <p:cNvPr id="1017" name="Полилиния: фигура 1016">
                  <a:extLst>
                    <a:ext uri="{FF2B5EF4-FFF2-40B4-BE49-F238E27FC236}">
                      <a16:creationId xmlns:a16="http://schemas.microsoft.com/office/drawing/2014/main" id="{25301C7A-8463-4C8E-85D1-D15CEAA25855}"/>
                    </a:ext>
                  </a:extLst>
                </p:cNvPr>
                <p:cNvSpPr/>
                <p:nvPr/>
              </p:nvSpPr>
              <p:spPr>
                <a:xfrm>
                  <a:off x="8443266" y="2061544"/>
                  <a:ext cx="60259" cy="58529"/>
                </a:xfrm>
                <a:custGeom>
                  <a:avLst/>
                  <a:gdLst>
                    <a:gd name="connsiteX0" fmla="*/ 29621 w 60259"/>
                    <a:gd name="connsiteY0" fmla="*/ 58529 h 58529"/>
                    <a:gd name="connsiteX1" fmla="*/ 60260 w 60259"/>
                    <a:gd name="connsiteY1" fmla="*/ 12724 h 58529"/>
                    <a:gd name="connsiteX2" fmla="*/ 50488 w 60259"/>
                    <a:gd name="connsiteY2" fmla="*/ 8652 h 58529"/>
                    <a:gd name="connsiteX3" fmla="*/ 27890 w 60259"/>
                    <a:gd name="connsiteY3" fmla="*/ 0 h 58529"/>
                    <a:gd name="connsiteX4" fmla="*/ 0 w 60259"/>
                    <a:gd name="connsiteY4" fmla="*/ 50081 h 58529"/>
                    <a:gd name="connsiteX5" fmla="*/ 29519 w 60259"/>
                    <a:gd name="connsiteY5" fmla="*/ 58529 h 5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259" h="58529">
                      <a:moveTo>
                        <a:pt x="29621" y="58529"/>
                      </a:moveTo>
                      <a:cubicBezTo>
                        <a:pt x="33489" y="34507"/>
                        <a:pt x="49979" y="19747"/>
                        <a:pt x="60260" y="12724"/>
                      </a:cubicBezTo>
                      <a:cubicBezTo>
                        <a:pt x="55272" y="10688"/>
                        <a:pt x="51710" y="9263"/>
                        <a:pt x="50488" y="8652"/>
                      </a:cubicBezTo>
                      <a:cubicBezTo>
                        <a:pt x="47638" y="7227"/>
                        <a:pt x="39087" y="4173"/>
                        <a:pt x="27890" y="0"/>
                      </a:cubicBezTo>
                      <a:cubicBezTo>
                        <a:pt x="16185" y="11299"/>
                        <a:pt x="4479" y="27789"/>
                        <a:pt x="0" y="50081"/>
                      </a:cubicBezTo>
                      <a:cubicBezTo>
                        <a:pt x="11299" y="54560"/>
                        <a:pt x="21783" y="57104"/>
                        <a:pt x="29519" y="5852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8" name="Полилиния: фигура 1017">
                  <a:extLst>
                    <a:ext uri="{FF2B5EF4-FFF2-40B4-BE49-F238E27FC236}">
                      <a16:creationId xmlns:a16="http://schemas.microsoft.com/office/drawing/2014/main" id="{33429A17-2F1A-46EC-B921-286850430F77}"/>
                    </a:ext>
                  </a:extLst>
                </p:cNvPr>
                <p:cNvSpPr/>
                <p:nvPr/>
              </p:nvSpPr>
              <p:spPr>
                <a:xfrm>
                  <a:off x="8474515" y="2278052"/>
                  <a:ext cx="50829" cy="76037"/>
                </a:xfrm>
                <a:custGeom>
                  <a:avLst/>
                  <a:gdLst>
                    <a:gd name="connsiteX0" fmla="*/ 17101 w 50829"/>
                    <a:gd name="connsiteY0" fmla="*/ 0 h 76037"/>
                    <a:gd name="connsiteX1" fmla="*/ 0 w 50829"/>
                    <a:gd name="connsiteY1" fmla="*/ 54865 h 76037"/>
                    <a:gd name="connsiteX2" fmla="*/ 17813 w 50829"/>
                    <a:gd name="connsiteY2" fmla="*/ 70032 h 76037"/>
                    <a:gd name="connsiteX3" fmla="*/ 22088 w 50829"/>
                    <a:gd name="connsiteY3" fmla="*/ 76037 h 76037"/>
                    <a:gd name="connsiteX4" fmla="*/ 50183 w 50829"/>
                    <a:gd name="connsiteY4" fmla="*/ 6107 h 76037"/>
                    <a:gd name="connsiteX5" fmla="*/ 17203 w 50829"/>
                    <a:gd name="connsiteY5" fmla="*/ 102 h 76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829" h="76037">
                      <a:moveTo>
                        <a:pt x="17101" y="0"/>
                      </a:moveTo>
                      <a:cubicBezTo>
                        <a:pt x="21172" y="9670"/>
                        <a:pt x="25448" y="31046"/>
                        <a:pt x="0" y="54865"/>
                      </a:cubicBezTo>
                      <a:cubicBezTo>
                        <a:pt x="6922" y="59242"/>
                        <a:pt x="13029" y="64230"/>
                        <a:pt x="17813" y="70032"/>
                      </a:cubicBezTo>
                      <a:cubicBezTo>
                        <a:pt x="19442" y="72067"/>
                        <a:pt x="20765" y="74001"/>
                        <a:pt x="22088" y="76037"/>
                      </a:cubicBezTo>
                      <a:cubicBezTo>
                        <a:pt x="47536" y="51709"/>
                        <a:pt x="52931" y="26262"/>
                        <a:pt x="50183" y="6107"/>
                      </a:cubicBezTo>
                      <a:cubicBezTo>
                        <a:pt x="42650" y="6718"/>
                        <a:pt x="30435" y="6107"/>
                        <a:pt x="17203" y="102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9" name="Полилиния: фигура 1018">
                  <a:extLst>
                    <a:ext uri="{FF2B5EF4-FFF2-40B4-BE49-F238E27FC236}">
                      <a16:creationId xmlns:a16="http://schemas.microsoft.com/office/drawing/2014/main" id="{218264BF-1105-42C7-9265-F0DB384D63F6}"/>
                    </a:ext>
                  </a:extLst>
                </p:cNvPr>
                <p:cNvSpPr/>
                <p:nvPr/>
              </p:nvSpPr>
              <p:spPr>
                <a:xfrm>
                  <a:off x="8513399" y="2098901"/>
                  <a:ext cx="68810" cy="73798"/>
                </a:xfrm>
                <a:custGeom>
                  <a:avLst/>
                  <a:gdLst>
                    <a:gd name="connsiteX0" fmla="*/ 63110 w 68810"/>
                    <a:gd name="connsiteY0" fmla="*/ 14047 h 73798"/>
                    <a:gd name="connsiteX1" fmla="*/ 43668 w 68810"/>
                    <a:gd name="connsiteY1" fmla="*/ 0 h 73798"/>
                    <a:gd name="connsiteX2" fmla="*/ 0 w 68810"/>
                    <a:gd name="connsiteY2" fmla="*/ 45500 h 73798"/>
                    <a:gd name="connsiteX3" fmla="*/ 17304 w 68810"/>
                    <a:gd name="connsiteY3" fmla="*/ 59955 h 73798"/>
                    <a:gd name="connsiteX4" fmla="*/ 20053 w 68810"/>
                    <a:gd name="connsiteY4" fmla="*/ 73391 h 73798"/>
                    <a:gd name="connsiteX5" fmla="*/ 21885 w 68810"/>
                    <a:gd name="connsiteY5" fmla="*/ 73798 h 73798"/>
                    <a:gd name="connsiteX6" fmla="*/ 68810 w 68810"/>
                    <a:gd name="connsiteY6" fmla="*/ 23106 h 73798"/>
                    <a:gd name="connsiteX7" fmla="*/ 63212 w 68810"/>
                    <a:gd name="connsiteY7" fmla="*/ 14047 h 73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8810" h="73798">
                      <a:moveTo>
                        <a:pt x="63110" y="14047"/>
                      </a:moveTo>
                      <a:cubicBezTo>
                        <a:pt x="59547" y="9670"/>
                        <a:pt x="52320" y="4784"/>
                        <a:pt x="43668" y="0"/>
                      </a:cubicBezTo>
                      <a:cubicBezTo>
                        <a:pt x="22292" y="10892"/>
                        <a:pt x="8245" y="28908"/>
                        <a:pt x="0" y="45500"/>
                      </a:cubicBezTo>
                      <a:lnTo>
                        <a:pt x="17304" y="59955"/>
                      </a:lnTo>
                      <a:cubicBezTo>
                        <a:pt x="17304" y="59955"/>
                        <a:pt x="18424" y="65349"/>
                        <a:pt x="20053" y="73391"/>
                      </a:cubicBezTo>
                      <a:lnTo>
                        <a:pt x="21885" y="73798"/>
                      </a:lnTo>
                      <a:cubicBezTo>
                        <a:pt x="22394" y="71864"/>
                        <a:pt x="32471" y="33693"/>
                        <a:pt x="68810" y="23106"/>
                      </a:cubicBezTo>
                      <a:cubicBezTo>
                        <a:pt x="67080" y="19747"/>
                        <a:pt x="65349" y="16694"/>
                        <a:pt x="63212" y="1404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1020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8642877" y="3214116"/>
              <a:ext cx="913262" cy="2374056"/>
              <a:chOff x="8642877" y="3214116"/>
              <a:chExt cx="913262" cy="2374056"/>
            </a:xfrm>
          </p:grpSpPr>
          <p:grpSp>
            <p:nvGrpSpPr>
              <p:cNvPr id="1021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8642877" y="3214116"/>
                <a:ext cx="913262" cy="2374056"/>
                <a:chOff x="8642877" y="3214116"/>
                <a:chExt cx="913262" cy="2374056"/>
              </a:xfrm>
            </p:grpSpPr>
            <p:grpSp>
              <p:nvGrpSpPr>
                <p:cNvPr id="1022" name="Рисунок 1">
                  <a:extLst>
                    <a:ext uri="{FF2B5EF4-FFF2-40B4-BE49-F238E27FC236}">
                      <a16:creationId xmlns:a16="http://schemas.microsoft.com/office/drawing/2014/main" id="{6AB4B3CF-F550-40F5-B79A-21746224F834}"/>
                    </a:ext>
                  </a:extLst>
                </p:cNvPr>
                <p:cNvGrpSpPr/>
                <p:nvPr/>
              </p:nvGrpSpPr>
              <p:grpSpPr>
                <a:xfrm>
                  <a:off x="8642877" y="5242390"/>
                  <a:ext cx="637309" cy="345781"/>
                  <a:chOff x="8642877" y="5242390"/>
                  <a:chExt cx="637309" cy="345781"/>
                </a:xfrm>
              </p:grpSpPr>
              <p:sp>
                <p:nvSpPr>
                  <p:cNvPr id="1023" name="Полилиния: фигура 1022">
                    <a:extLst>
                      <a:ext uri="{FF2B5EF4-FFF2-40B4-BE49-F238E27FC236}">
                        <a16:creationId xmlns:a16="http://schemas.microsoft.com/office/drawing/2014/main" id="{0BFE13A2-416C-42A0-A2EA-E6256D4E9C94}"/>
                      </a:ext>
                    </a:extLst>
                  </p:cNvPr>
                  <p:cNvSpPr/>
                  <p:nvPr/>
                </p:nvSpPr>
                <p:spPr>
                  <a:xfrm>
                    <a:off x="9033650" y="5288400"/>
                    <a:ext cx="179761" cy="179761"/>
                  </a:xfrm>
                  <a:custGeom>
                    <a:avLst/>
                    <a:gdLst>
                      <a:gd name="connsiteX0" fmla="*/ 179762 w 179761"/>
                      <a:gd name="connsiteY0" fmla="*/ 89881 h 179761"/>
                      <a:gd name="connsiteX1" fmla="*/ 89881 w 179761"/>
                      <a:gd name="connsiteY1" fmla="*/ 179762 h 179761"/>
                      <a:gd name="connsiteX2" fmla="*/ 0 w 179761"/>
                      <a:gd name="connsiteY2" fmla="*/ 89881 h 179761"/>
                      <a:gd name="connsiteX3" fmla="*/ 89881 w 179761"/>
                      <a:gd name="connsiteY3" fmla="*/ 0 h 179761"/>
                      <a:gd name="connsiteX4" fmla="*/ 179762 w 179761"/>
                      <a:gd name="connsiteY4" fmla="*/ 89881 h 179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9761" h="179761">
                        <a:moveTo>
                          <a:pt x="179762" y="89881"/>
                        </a:moveTo>
                        <a:cubicBezTo>
                          <a:pt x="179762" y="139521"/>
                          <a:pt x="139521" y="179762"/>
                          <a:pt x="89881" y="179762"/>
                        </a:cubicBezTo>
                        <a:cubicBezTo>
                          <a:pt x="40241" y="179762"/>
                          <a:pt x="0" y="139521"/>
                          <a:pt x="0" y="89881"/>
                        </a:cubicBezTo>
                        <a:cubicBezTo>
                          <a:pt x="0" y="40241"/>
                          <a:pt x="40241" y="0"/>
                          <a:pt x="89881" y="0"/>
                        </a:cubicBezTo>
                        <a:cubicBezTo>
                          <a:pt x="139521" y="0"/>
                          <a:pt x="179762" y="40241"/>
                          <a:pt x="179762" y="8988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0" name="Полилиния: фигура 799">
                    <a:extLst>
                      <a:ext uri="{FF2B5EF4-FFF2-40B4-BE49-F238E27FC236}">
                        <a16:creationId xmlns:a16="http://schemas.microsoft.com/office/drawing/2014/main" id="{77FB693E-DBCF-4E9B-B9D1-88480B5052A0}"/>
                      </a:ext>
                    </a:extLst>
                  </p:cNvPr>
                  <p:cNvSpPr/>
                  <p:nvPr/>
                </p:nvSpPr>
                <p:spPr>
                  <a:xfrm>
                    <a:off x="8642877" y="5242390"/>
                    <a:ext cx="637309" cy="345713"/>
                  </a:xfrm>
                  <a:custGeom>
                    <a:avLst/>
                    <a:gdLst>
                      <a:gd name="connsiteX0" fmla="*/ 353111 w 637309"/>
                      <a:gd name="connsiteY0" fmla="*/ 102 h 345713"/>
                      <a:gd name="connsiteX1" fmla="*/ 223532 w 637309"/>
                      <a:gd name="connsiteY1" fmla="*/ 158895 h 345713"/>
                      <a:gd name="connsiteX2" fmla="*/ 37561 w 637309"/>
                      <a:gd name="connsiteY2" fmla="*/ 259158 h 345713"/>
                      <a:gd name="connsiteX3" fmla="*/ 0 w 637309"/>
                      <a:gd name="connsiteY3" fmla="*/ 307203 h 345713"/>
                      <a:gd name="connsiteX4" fmla="*/ 18831 w 637309"/>
                      <a:gd name="connsiteY4" fmla="*/ 344764 h 345713"/>
                      <a:gd name="connsiteX5" fmla="*/ 593438 w 637309"/>
                      <a:gd name="connsiteY5" fmla="*/ 344764 h 345713"/>
                      <a:gd name="connsiteX6" fmla="*/ 637309 w 637309"/>
                      <a:gd name="connsiteY6" fmla="*/ 298755 h 345713"/>
                      <a:gd name="connsiteX7" fmla="*/ 628963 w 637309"/>
                      <a:gd name="connsiteY7" fmla="*/ 250710 h 345713"/>
                      <a:gd name="connsiteX8" fmla="*/ 626825 w 637309"/>
                      <a:gd name="connsiteY8" fmla="*/ 56392 h 345713"/>
                      <a:gd name="connsiteX9" fmla="*/ 353111 w 637309"/>
                      <a:gd name="connsiteY9" fmla="*/ 0 h 3457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637309" h="345713">
                        <a:moveTo>
                          <a:pt x="353111" y="102"/>
                        </a:moveTo>
                        <a:cubicBezTo>
                          <a:pt x="353111" y="102"/>
                          <a:pt x="271577" y="121334"/>
                          <a:pt x="223532" y="158895"/>
                        </a:cubicBezTo>
                        <a:cubicBezTo>
                          <a:pt x="175486" y="196455"/>
                          <a:pt x="75223" y="246638"/>
                          <a:pt x="37561" y="259158"/>
                        </a:cubicBezTo>
                        <a:cubicBezTo>
                          <a:pt x="0" y="271678"/>
                          <a:pt x="0" y="294683"/>
                          <a:pt x="0" y="307203"/>
                        </a:cubicBezTo>
                        <a:cubicBezTo>
                          <a:pt x="0" y="319724"/>
                          <a:pt x="2138" y="342728"/>
                          <a:pt x="18831" y="344764"/>
                        </a:cubicBezTo>
                        <a:cubicBezTo>
                          <a:pt x="35525" y="346901"/>
                          <a:pt x="593438" y="344764"/>
                          <a:pt x="593438" y="344764"/>
                        </a:cubicBezTo>
                        <a:cubicBezTo>
                          <a:pt x="593438" y="344764"/>
                          <a:pt x="637309" y="332244"/>
                          <a:pt x="637309" y="298755"/>
                        </a:cubicBezTo>
                        <a:cubicBezTo>
                          <a:pt x="637309" y="265266"/>
                          <a:pt x="628963" y="250710"/>
                          <a:pt x="628963" y="250710"/>
                        </a:cubicBezTo>
                        <a:lnTo>
                          <a:pt x="626825" y="56392"/>
                        </a:lnTo>
                        <a:lnTo>
                          <a:pt x="353111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1" name="Полилиния: фигура 800">
                    <a:extLst>
                      <a:ext uri="{FF2B5EF4-FFF2-40B4-BE49-F238E27FC236}">
                        <a16:creationId xmlns:a16="http://schemas.microsoft.com/office/drawing/2014/main" id="{49C5983A-2639-4262-AC94-9C1B64C7D0B3}"/>
                      </a:ext>
                    </a:extLst>
                  </p:cNvPr>
                  <p:cNvSpPr/>
                  <p:nvPr/>
                </p:nvSpPr>
                <p:spPr>
                  <a:xfrm>
                    <a:off x="9213310" y="5397112"/>
                    <a:ext cx="50182" cy="10179"/>
                  </a:xfrm>
                  <a:custGeom>
                    <a:avLst/>
                    <a:gdLst>
                      <a:gd name="connsiteX0" fmla="*/ 50183 w 50182"/>
                      <a:gd name="connsiteY0" fmla="*/ 0 h 10179"/>
                      <a:gd name="connsiteX1" fmla="*/ 0 w 50182"/>
                      <a:gd name="connsiteY1" fmla="*/ 0 h 10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182" h="10179">
                        <a:moveTo>
                          <a:pt x="50183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2" name="Полилиния: фигура 801">
                    <a:extLst>
                      <a:ext uri="{FF2B5EF4-FFF2-40B4-BE49-F238E27FC236}">
                        <a16:creationId xmlns:a16="http://schemas.microsoft.com/office/drawing/2014/main" id="{CE986B0A-7AC9-4EBD-882B-6380C868AEC6}"/>
                      </a:ext>
                    </a:extLst>
                  </p:cNvPr>
                  <p:cNvSpPr/>
                  <p:nvPr/>
                </p:nvSpPr>
                <p:spPr>
                  <a:xfrm>
                    <a:off x="9123531" y="5468161"/>
                    <a:ext cx="10179" cy="52218"/>
                  </a:xfrm>
                  <a:custGeom>
                    <a:avLst/>
                    <a:gdLst>
                      <a:gd name="connsiteX0" fmla="*/ 0 w 10179"/>
                      <a:gd name="connsiteY0" fmla="*/ 0 h 52218"/>
                      <a:gd name="connsiteX1" fmla="*/ 0 w 10179"/>
                      <a:gd name="connsiteY1" fmla="*/ 52219 h 52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79" h="52218">
                        <a:moveTo>
                          <a:pt x="0" y="0"/>
                        </a:moveTo>
                        <a:lnTo>
                          <a:pt x="0" y="52219"/>
                        </a:lnTo>
                      </a:path>
                    </a:pathLst>
                  </a:custGeom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3" name="Полилиния: фигура 802">
                    <a:extLst>
                      <a:ext uri="{FF2B5EF4-FFF2-40B4-BE49-F238E27FC236}">
                        <a16:creationId xmlns:a16="http://schemas.microsoft.com/office/drawing/2014/main" id="{295D36C7-D614-42ED-ABC5-14CA04A271DA}"/>
                      </a:ext>
                    </a:extLst>
                  </p:cNvPr>
                  <p:cNvSpPr/>
                  <p:nvPr/>
                </p:nvSpPr>
                <p:spPr>
                  <a:xfrm>
                    <a:off x="8830883" y="5396297"/>
                    <a:ext cx="116753" cy="191874"/>
                  </a:xfrm>
                  <a:custGeom>
                    <a:avLst/>
                    <a:gdLst>
                      <a:gd name="connsiteX0" fmla="*/ 65044 w 116753"/>
                      <a:gd name="connsiteY0" fmla="*/ 191773 h 191874"/>
                      <a:gd name="connsiteX1" fmla="*/ 116753 w 116753"/>
                      <a:gd name="connsiteY1" fmla="*/ 191773 h 191874"/>
                      <a:gd name="connsiteX2" fmla="*/ 41734 w 116753"/>
                      <a:gd name="connsiteY2" fmla="*/ 0 h 191874"/>
                      <a:gd name="connsiteX3" fmla="*/ 35627 w 116753"/>
                      <a:gd name="connsiteY3" fmla="*/ 4988 h 191874"/>
                      <a:gd name="connsiteX4" fmla="*/ 0 w 116753"/>
                      <a:gd name="connsiteY4" fmla="*/ 29519 h 191874"/>
                      <a:gd name="connsiteX5" fmla="*/ 65044 w 116753"/>
                      <a:gd name="connsiteY5" fmla="*/ 191875 h 191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6753" h="191874">
                        <a:moveTo>
                          <a:pt x="65044" y="191773"/>
                        </a:moveTo>
                        <a:cubicBezTo>
                          <a:pt x="82145" y="191773"/>
                          <a:pt x="99449" y="191773"/>
                          <a:pt x="116753" y="191773"/>
                        </a:cubicBezTo>
                        <a:cubicBezTo>
                          <a:pt x="101383" y="107592"/>
                          <a:pt x="64637" y="37357"/>
                          <a:pt x="41734" y="0"/>
                        </a:cubicBezTo>
                        <a:cubicBezTo>
                          <a:pt x="39698" y="1730"/>
                          <a:pt x="37662" y="3461"/>
                          <a:pt x="35627" y="4988"/>
                        </a:cubicBezTo>
                        <a:cubicBezTo>
                          <a:pt x="25651" y="12724"/>
                          <a:pt x="13436" y="21071"/>
                          <a:pt x="0" y="29519"/>
                        </a:cubicBezTo>
                        <a:cubicBezTo>
                          <a:pt x="19849" y="62601"/>
                          <a:pt x="50692" y="122047"/>
                          <a:pt x="65044" y="191875"/>
                        </a:cubicBezTo>
                        <a:close/>
                      </a:path>
                    </a:pathLst>
                  </a:custGeom>
                  <a:solidFill>
                    <a:srgbClr val="006D3F"/>
                  </a:solidFill>
                  <a:ln w="10166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4" name="Полилиния: фигура 803">
                    <a:extLst>
                      <a:ext uri="{FF2B5EF4-FFF2-40B4-BE49-F238E27FC236}">
                        <a16:creationId xmlns:a16="http://schemas.microsoft.com/office/drawing/2014/main" id="{44C89767-F08A-4F34-A93E-8C77790FF168}"/>
                      </a:ext>
                    </a:extLst>
                  </p:cNvPr>
                  <p:cNvSpPr/>
                  <p:nvPr/>
                </p:nvSpPr>
                <p:spPr>
                  <a:xfrm>
                    <a:off x="8642877" y="5520380"/>
                    <a:ext cx="637309" cy="67724"/>
                  </a:xfrm>
                  <a:custGeom>
                    <a:avLst/>
                    <a:gdLst>
                      <a:gd name="connsiteX0" fmla="*/ 637309 w 637309"/>
                      <a:gd name="connsiteY0" fmla="*/ 20867 h 67724"/>
                      <a:gd name="connsiteX1" fmla="*/ 636088 w 637309"/>
                      <a:gd name="connsiteY1" fmla="*/ 0 h 67724"/>
                      <a:gd name="connsiteX2" fmla="*/ 8143 w 637309"/>
                      <a:gd name="connsiteY2" fmla="*/ 0 h 67724"/>
                      <a:gd name="connsiteX3" fmla="*/ 0 w 637309"/>
                      <a:gd name="connsiteY3" fmla="*/ 29214 h 67724"/>
                      <a:gd name="connsiteX4" fmla="*/ 18831 w 637309"/>
                      <a:gd name="connsiteY4" fmla="*/ 66774 h 67724"/>
                      <a:gd name="connsiteX5" fmla="*/ 593438 w 637309"/>
                      <a:gd name="connsiteY5" fmla="*/ 66774 h 67724"/>
                      <a:gd name="connsiteX6" fmla="*/ 637309 w 637309"/>
                      <a:gd name="connsiteY6" fmla="*/ 20765 h 677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37309" h="67724">
                        <a:moveTo>
                          <a:pt x="637309" y="20867"/>
                        </a:moveTo>
                        <a:cubicBezTo>
                          <a:pt x="637309" y="12825"/>
                          <a:pt x="636800" y="5904"/>
                          <a:pt x="636088" y="0"/>
                        </a:cubicBezTo>
                        <a:lnTo>
                          <a:pt x="8143" y="0"/>
                        </a:lnTo>
                        <a:cubicBezTo>
                          <a:pt x="102" y="10484"/>
                          <a:pt x="0" y="21783"/>
                          <a:pt x="0" y="29214"/>
                        </a:cubicBezTo>
                        <a:cubicBezTo>
                          <a:pt x="0" y="41734"/>
                          <a:pt x="2138" y="64739"/>
                          <a:pt x="18831" y="66774"/>
                        </a:cubicBezTo>
                        <a:cubicBezTo>
                          <a:pt x="35525" y="68912"/>
                          <a:pt x="593438" y="66774"/>
                          <a:pt x="593438" y="66774"/>
                        </a:cubicBezTo>
                        <a:cubicBezTo>
                          <a:pt x="593438" y="66774"/>
                          <a:pt x="637309" y="54254"/>
                          <a:pt x="637309" y="2076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805" name="Рисунок 1">
                  <a:extLst>
                    <a:ext uri="{FF2B5EF4-FFF2-40B4-BE49-F238E27FC236}">
                      <a16:creationId xmlns:a16="http://schemas.microsoft.com/office/drawing/2014/main" id="{6AB4B3CF-F550-40F5-B79A-21746224F834}"/>
                    </a:ext>
                  </a:extLst>
                </p:cNvPr>
                <p:cNvGrpSpPr/>
                <p:nvPr/>
              </p:nvGrpSpPr>
              <p:grpSpPr>
                <a:xfrm>
                  <a:off x="8918728" y="5288400"/>
                  <a:ext cx="637411" cy="299772"/>
                  <a:chOff x="8918728" y="5288400"/>
                  <a:chExt cx="637411" cy="299772"/>
                </a:xfrm>
              </p:grpSpPr>
              <p:sp>
                <p:nvSpPr>
                  <p:cNvPr id="806" name="Полилиния: фигура 805">
                    <a:extLst>
                      <a:ext uri="{FF2B5EF4-FFF2-40B4-BE49-F238E27FC236}">
                        <a16:creationId xmlns:a16="http://schemas.microsoft.com/office/drawing/2014/main" id="{1CA68CF3-F6C8-4C3C-8A96-DC4BA1D84AF4}"/>
                      </a:ext>
                    </a:extLst>
                  </p:cNvPr>
                  <p:cNvSpPr/>
                  <p:nvPr/>
                </p:nvSpPr>
                <p:spPr>
                  <a:xfrm>
                    <a:off x="8918830" y="5298782"/>
                    <a:ext cx="637309" cy="289322"/>
                  </a:xfrm>
                  <a:custGeom>
                    <a:avLst/>
                    <a:gdLst>
                      <a:gd name="connsiteX0" fmla="*/ 316873 w 637309"/>
                      <a:gd name="connsiteY0" fmla="*/ 102 h 289322"/>
                      <a:gd name="connsiteX1" fmla="*/ 223532 w 637309"/>
                      <a:gd name="connsiteY1" fmla="*/ 102503 h 289322"/>
                      <a:gd name="connsiteX2" fmla="*/ 37561 w 637309"/>
                      <a:gd name="connsiteY2" fmla="*/ 202767 h 289322"/>
                      <a:gd name="connsiteX3" fmla="*/ 0 w 637309"/>
                      <a:gd name="connsiteY3" fmla="*/ 250812 h 289322"/>
                      <a:gd name="connsiteX4" fmla="*/ 18831 w 637309"/>
                      <a:gd name="connsiteY4" fmla="*/ 288372 h 289322"/>
                      <a:gd name="connsiteX5" fmla="*/ 593438 w 637309"/>
                      <a:gd name="connsiteY5" fmla="*/ 288372 h 289322"/>
                      <a:gd name="connsiteX6" fmla="*/ 637309 w 637309"/>
                      <a:gd name="connsiteY6" fmla="*/ 242363 h 289322"/>
                      <a:gd name="connsiteX7" fmla="*/ 628963 w 637309"/>
                      <a:gd name="connsiteY7" fmla="*/ 194318 h 289322"/>
                      <a:gd name="connsiteX8" fmla="*/ 612269 w 637309"/>
                      <a:gd name="connsiteY8" fmla="*/ 35525 h 289322"/>
                      <a:gd name="connsiteX9" fmla="*/ 317077 w 637309"/>
                      <a:gd name="connsiteY9" fmla="*/ 0 h 2893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637309" h="289322">
                        <a:moveTo>
                          <a:pt x="316873" y="102"/>
                        </a:moveTo>
                        <a:cubicBezTo>
                          <a:pt x="316873" y="102"/>
                          <a:pt x="271577" y="64841"/>
                          <a:pt x="223532" y="102503"/>
                        </a:cubicBezTo>
                        <a:cubicBezTo>
                          <a:pt x="175486" y="140064"/>
                          <a:pt x="75223" y="190246"/>
                          <a:pt x="37561" y="202767"/>
                        </a:cubicBezTo>
                        <a:cubicBezTo>
                          <a:pt x="0" y="215287"/>
                          <a:pt x="0" y="238291"/>
                          <a:pt x="0" y="250812"/>
                        </a:cubicBezTo>
                        <a:cubicBezTo>
                          <a:pt x="0" y="263332"/>
                          <a:pt x="2138" y="286336"/>
                          <a:pt x="18831" y="288372"/>
                        </a:cubicBezTo>
                        <a:cubicBezTo>
                          <a:pt x="35525" y="290510"/>
                          <a:pt x="593438" y="288372"/>
                          <a:pt x="593438" y="288372"/>
                        </a:cubicBezTo>
                        <a:cubicBezTo>
                          <a:pt x="593438" y="288372"/>
                          <a:pt x="637309" y="275852"/>
                          <a:pt x="637309" y="242363"/>
                        </a:cubicBezTo>
                        <a:cubicBezTo>
                          <a:pt x="637309" y="208874"/>
                          <a:pt x="628963" y="194318"/>
                          <a:pt x="628963" y="194318"/>
                        </a:cubicBezTo>
                        <a:lnTo>
                          <a:pt x="612269" y="35525"/>
                        </a:lnTo>
                        <a:lnTo>
                          <a:pt x="31707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7" name="Полилиния: фигура 806">
                    <a:extLst>
                      <a:ext uri="{FF2B5EF4-FFF2-40B4-BE49-F238E27FC236}">
                        <a16:creationId xmlns:a16="http://schemas.microsoft.com/office/drawing/2014/main" id="{C28B3337-7813-4F92-82E1-4BF409ADA015}"/>
                      </a:ext>
                    </a:extLst>
                  </p:cNvPr>
                  <p:cNvSpPr/>
                  <p:nvPr/>
                </p:nvSpPr>
                <p:spPr>
                  <a:xfrm>
                    <a:off x="9309400" y="5288400"/>
                    <a:ext cx="179761" cy="179761"/>
                  </a:xfrm>
                  <a:custGeom>
                    <a:avLst/>
                    <a:gdLst>
                      <a:gd name="connsiteX0" fmla="*/ 179762 w 179761"/>
                      <a:gd name="connsiteY0" fmla="*/ 89881 h 179761"/>
                      <a:gd name="connsiteX1" fmla="*/ 89881 w 179761"/>
                      <a:gd name="connsiteY1" fmla="*/ 179762 h 179761"/>
                      <a:gd name="connsiteX2" fmla="*/ 0 w 179761"/>
                      <a:gd name="connsiteY2" fmla="*/ 89881 h 179761"/>
                      <a:gd name="connsiteX3" fmla="*/ 89881 w 179761"/>
                      <a:gd name="connsiteY3" fmla="*/ 0 h 179761"/>
                      <a:gd name="connsiteX4" fmla="*/ 179762 w 179761"/>
                      <a:gd name="connsiteY4" fmla="*/ 89881 h 179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9761" h="179761">
                        <a:moveTo>
                          <a:pt x="179762" y="89881"/>
                        </a:moveTo>
                        <a:cubicBezTo>
                          <a:pt x="179762" y="139521"/>
                          <a:pt x="139521" y="179762"/>
                          <a:pt x="89881" y="179762"/>
                        </a:cubicBezTo>
                        <a:cubicBezTo>
                          <a:pt x="40241" y="179762"/>
                          <a:pt x="0" y="139521"/>
                          <a:pt x="0" y="89881"/>
                        </a:cubicBezTo>
                        <a:cubicBezTo>
                          <a:pt x="0" y="40241"/>
                          <a:pt x="40241" y="0"/>
                          <a:pt x="89881" y="0"/>
                        </a:cubicBezTo>
                        <a:cubicBezTo>
                          <a:pt x="139521" y="0"/>
                          <a:pt x="179762" y="40241"/>
                          <a:pt x="179762" y="89881"/>
                        </a:cubicBezTo>
                        <a:close/>
                      </a:path>
                    </a:pathLst>
                  </a:custGeom>
                  <a:solidFill>
                    <a:srgbClr val="006D3F"/>
                  </a:solidFill>
                  <a:ln w="10166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8" name="Полилиния: фигура 807">
                    <a:extLst>
                      <a:ext uri="{FF2B5EF4-FFF2-40B4-BE49-F238E27FC236}">
                        <a16:creationId xmlns:a16="http://schemas.microsoft.com/office/drawing/2014/main" id="{656EF04D-9D4C-442F-A5B0-2E789A085A80}"/>
                      </a:ext>
                    </a:extLst>
                  </p:cNvPr>
                  <p:cNvSpPr/>
                  <p:nvPr/>
                </p:nvSpPr>
                <p:spPr>
                  <a:xfrm>
                    <a:off x="9489161" y="5397112"/>
                    <a:ext cx="50080" cy="10179"/>
                  </a:xfrm>
                  <a:custGeom>
                    <a:avLst/>
                    <a:gdLst>
                      <a:gd name="connsiteX0" fmla="*/ 50081 w 50080"/>
                      <a:gd name="connsiteY0" fmla="*/ 0 h 10179"/>
                      <a:gd name="connsiteX1" fmla="*/ 0 w 50080"/>
                      <a:gd name="connsiteY1" fmla="*/ 0 h 101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0080" h="10179">
                        <a:moveTo>
                          <a:pt x="50081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09" name="Полилиния: фигура 808">
                    <a:extLst>
                      <a:ext uri="{FF2B5EF4-FFF2-40B4-BE49-F238E27FC236}">
                        <a16:creationId xmlns:a16="http://schemas.microsoft.com/office/drawing/2014/main" id="{8FCED687-C015-4556-8C2B-2EAEE09DE028}"/>
                      </a:ext>
                    </a:extLst>
                  </p:cNvPr>
                  <p:cNvSpPr/>
                  <p:nvPr/>
                </p:nvSpPr>
                <p:spPr>
                  <a:xfrm>
                    <a:off x="9399281" y="5468161"/>
                    <a:ext cx="10179" cy="52218"/>
                  </a:xfrm>
                  <a:custGeom>
                    <a:avLst/>
                    <a:gdLst>
                      <a:gd name="connsiteX0" fmla="*/ 0 w 10179"/>
                      <a:gd name="connsiteY0" fmla="*/ 0 h 52218"/>
                      <a:gd name="connsiteX1" fmla="*/ 0 w 10179"/>
                      <a:gd name="connsiteY1" fmla="*/ 52219 h 52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79" h="52218">
                        <a:moveTo>
                          <a:pt x="0" y="0"/>
                        </a:moveTo>
                        <a:lnTo>
                          <a:pt x="0" y="52219"/>
                        </a:lnTo>
                      </a:path>
                    </a:pathLst>
                  </a:custGeom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10" name="Полилиния: фигура 809">
                    <a:extLst>
                      <a:ext uri="{FF2B5EF4-FFF2-40B4-BE49-F238E27FC236}">
                        <a16:creationId xmlns:a16="http://schemas.microsoft.com/office/drawing/2014/main" id="{C6021881-0F49-491B-A5AA-30A298496162}"/>
                      </a:ext>
                    </a:extLst>
                  </p:cNvPr>
                  <p:cNvSpPr/>
                  <p:nvPr/>
                </p:nvSpPr>
                <p:spPr>
                  <a:xfrm>
                    <a:off x="9106735" y="5396297"/>
                    <a:ext cx="116753" cy="191874"/>
                  </a:xfrm>
                  <a:custGeom>
                    <a:avLst/>
                    <a:gdLst>
                      <a:gd name="connsiteX0" fmla="*/ 65044 w 116753"/>
                      <a:gd name="connsiteY0" fmla="*/ 191773 h 191874"/>
                      <a:gd name="connsiteX1" fmla="*/ 116754 w 116753"/>
                      <a:gd name="connsiteY1" fmla="*/ 191773 h 191874"/>
                      <a:gd name="connsiteX2" fmla="*/ 41734 w 116753"/>
                      <a:gd name="connsiteY2" fmla="*/ 0 h 191874"/>
                      <a:gd name="connsiteX3" fmla="*/ 35627 w 116753"/>
                      <a:gd name="connsiteY3" fmla="*/ 4988 h 191874"/>
                      <a:gd name="connsiteX4" fmla="*/ 0 w 116753"/>
                      <a:gd name="connsiteY4" fmla="*/ 29519 h 191874"/>
                      <a:gd name="connsiteX5" fmla="*/ 65044 w 116753"/>
                      <a:gd name="connsiteY5" fmla="*/ 191875 h 1918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6753" h="191874">
                        <a:moveTo>
                          <a:pt x="65044" y="191773"/>
                        </a:moveTo>
                        <a:cubicBezTo>
                          <a:pt x="82145" y="191773"/>
                          <a:pt x="99449" y="191773"/>
                          <a:pt x="116754" y="191773"/>
                        </a:cubicBezTo>
                        <a:cubicBezTo>
                          <a:pt x="101383" y="107592"/>
                          <a:pt x="64637" y="37357"/>
                          <a:pt x="41734" y="0"/>
                        </a:cubicBezTo>
                        <a:cubicBezTo>
                          <a:pt x="39698" y="1730"/>
                          <a:pt x="37662" y="3461"/>
                          <a:pt x="35627" y="4988"/>
                        </a:cubicBezTo>
                        <a:cubicBezTo>
                          <a:pt x="25651" y="12724"/>
                          <a:pt x="13436" y="21071"/>
                          <a:pt x="0" y="29519"/>
                        </a:cubicBezTo>
                        <a:cubicBezTo>
                          <a:pt x="19849" y="62601"/>
                          <a:pt x="50692" y="122047"/>
                          <a:pt x="65044" y="191875"/>
                        </a:cubicBezTo>
                        <a:close/>
                      </a:path>
                    </a:pathLst>
                  </a:custGeom>
                  <a:solidFill>
                    <a:srgbClr val="006D3F"/>
                  </a:solidFill>
                  <a:ln w="10166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811" name="Полилиния: фигура 810">
                    <a:extLst>
                      <a:ext uri="{FF2B5EF4-FFF2-40B4-BE49-F238E27FC236}">
                        <a16:creationId xmlns:a16="http://schemas.microsoft.com/office/drawing/2014/main" id="{EC26E6B2-E0B6-4714-8F7E-6961685855ED}"/>
                      </a:ext>
                    </a:extLst>
                  </p:cNvPr>
                  <p:cNvSpPr/>
                  <p:nvPr/>
                </p:nvSpPr>
                <p:spPr>
                  <a:xfrm>
                    <a:off x="8918728" y="5520380"/>
                    <a:ext cx="637309" cy="67724"/>
                  </a:xfrm>
                  <a:custGeom>
                    <a:avLst/>
                    <a:gdLst>
                      <a:gd name="connsiteX0" fmla="*/ 637310 w 637309"/>
                      <a:gd name="connsiteY0" fmla="*/ 20867 h 67724"/>
                      <a:gd name="connsiteX1" fmla="*/ 636088 w 637309"/>
                      <a:gd name="connsiteY1" fmla="*/ 0 h 67724"/>
                      <a:gd name="connsiteX2" fmla="*/ 8143 w 637309"/>
                      <a:gd name="connsiteY2" fmla="*/ 0 h 67724"/>
                      <a:gd name="connsiteX3" fmla="*/ 0 w 637309"/>
                      <a:gd name="connsiteY3" fmla="*/ 29214 h 67724"/>
                      <a:gd name="connsiteX4" fmla="*/ 18831 w 637309"/>
                      <a:gd name="connsiteY4" fmla="*/ 66774 h 67724"/>
                      <a:gd name="connsiteX5" fmla="*/ 593438 w 637309"/>
                      <a:gd name="connsiteY5" fmla="*/ 66774 h 67724"/>
                      <a:gd name="connsiteX6" fmla="*/ 637310 w 637309"/>
                      <a:gd name="connsiteY6" fmla="*/ 20765 h 677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37309" h="67724">
                        <a:moveTo>
                          <a:pt x="637310" y="20867"/>
                        </a:moveTo>
                        <a:cubicBezTo>
                          <a:pt x="637310" y="12825"/>
                          <a:pt x="636800" y="5904"/>
                          <a:pt x="636088" y="0"/>
                        </a:cubicBezTo>
                        <a:lnTo>
                          <a:pt x="8143" y="0"/>
                        </a:lnTo>
                        <a:cubicBezTo>
                          <a:pt x="102" y="10484"/>
                          <a:pt x="0" y="21783"/>
                          <a:pt x="0" y="29214"/>
                        </a:cubicBezTo>
                        <a:cubicBezTo>
                          <a:pt x="0" y="41734"/>
                          <a:pt x="2138" y="64739"/>
                          <a:pt x="18831" y="66774"/>
                        </a:cubicBezTo>
                        <a:cubicBezTo>
                          <a:pt x="35525" y="68912"/>
                          <a:pt x="593438" y="66774"/>
                          <a:pt x="593438" y="66774"/>
                        </a:cubicBezTo>
                        <a:cubicBezTo>
                          <a:pt x="593438" y="66774"/>
                          <a:pt x="637310" y="54254"/>
                          <a:pt x="637310" y="2076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166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812" name="Полилиния: фигура 811">
                  <a:extLst>
                    <a:ext uri="{FF2B5EF4-FFF2-40B4-BE49-F238E27FC236}">
                      <a16:creationId xmlns:a16="http://schemas.microsoft.com/office/drawing/2014/main" id="{0E7FBC3C-B635-473B-8E1A-1F3E87F87142}"/>
                    </a:ext>
                  </a:extLst>
                </p:cNvPr>
                <p:cNvSpPr/>
                <p:nvPr/>
              </p:nvSpPr>
              <p:spPr>
                <a:xfrm>
                  <a:off x="8921510" y="3214116"/>
                  <a:ext cx="634159" cy="2142279"/>
                </a:xfrm>
                <a:custGeom>
                  <a:avLst/>
                  <a:gdLst>
                    <a:gd name="connsiteX0" fmla="*/ 22666 w 634159"/>
                    <a:gd name="connsiteY0" fmla="*/ 0 h 2142279"/>
                    <a:gd name="connsiteX1" fmla="*/ 22666 w 634159"/>
                    <a:gd name="connsiteY1" fmla="*/ 92731 h 2142279"/>
                    <a:gd name="connsiteX2" fmla="*/ 7194 w 634159"/>
                    <a:gd name="connsiteY2" fmla="*/ 335705 h 2142279"/>
                    <a:gd name="connsiteX3" fmla="*/ 16049 w 634159"/>
                    <a:gd name="connsiteY3" fmla="*/ 514550 h 2142279"/>
                    <a:gd name="connsiteX4" fmla="*/ 18289 w 634159"/>
                    <a:gd name="connsiteY4" fmla="*/ 1163871 h 2142279"/>
                    <a:gd name="connsiteX5" fmla="*/ 77938 w 634159"/>
                    <a:gd name="connsiteY5" fmla="*/ 1795480 h 2142279"/>
                    <a:gd name="connsiteX6" fmla="*/ 86794 w 634159"/>
                    <a:gd name="connsiteY6" fmla="*/ 1897067 h 2142279"/>
                    <a:gd name="connsiteX7" fmla="*/ 75800 w 634159"/>
                    <a:gd name="connsiteY7" fmla="*/ 1936867 h 2142279"/>
                    <a:gd name="connsiteX8" fmla="*/ 55951 w 634159"/>
                    <a:gd name="connsiteY8" fmla="*/ 1967811 h 2142279"/>
                    <a:gd name="connsiteX9" fmla="*/ 73663 w 634159"/>
                    <a:gd name="connsiteY9" fmla="*/ 2040693 h 2142279"/>
                    <a:gd name="connsiteX10" fmla="*/ 290069 w 634159"/>
                    <a:gd name="connsiteY10" fmla="*/ 2106959 h 2142279"/>
                    <a:gd name="connsiteX11" fmla="*/ 314397 w 634159"/>
                    <a:gd name="connsiteY11" fmla="*/ 2084870 h 2142279"/>
                    <a:gd name="connsiteX12" fmla="*/ 610301 w 634159"/>
                    <a:gd name="connsiteY12" fmla="*/ 2142280 h 2142279"/>
                    <a:gd name="connsiteX13" fmla="*/ 632390 w 634159"/>
                    <a:gd name="connsiteY13" fmla="*/ 2091486 h 2142279"/>
                    <a:gd name="connsiteX14" fmla="*/ 597069 w 634159"/>
                    <a:gd name="connsiteY14" fmla="*/ 2005372 h 2142279"/>
                    <a:gd name="connsiteX15" fmla="*/ 592692 w 634159"/>
                    <a:gd name="connsiteY15" fmla="*/ 1815431 h 2142279"/>
                    <a:gd name="connsiteX16" fmla="*/ 570603 w 634159"/>
                    <a:gd name="connsiteY16" fmla="*/ 1371523 h 2142279"/>
                    <a:gd name="connsiteX17" fmla="*/ 544138 w 634159"/>
                    <a:gd name="connsiteY17" fmla="*/ 898911 h 2142279"/>
                    <a:gd name="connsiteX18" fmla="*/ 599308 w 634159"/>
                    <a:gd name="connsiteY18" fmla="*/ 501419 h 2142279"/>
                    <a:gd name="connsiteX19" fmla="*/ 632390 w 634159"/>
                    <a:gd name="connsiteY19" fmla="*/ 201036 h 2142279"/>
                    <a:gd name="connsiteX20" fmla="*/ 614678 w 634159"/>
                    <a:gd name="connsiteY20" fmla="*/ 53033 h 2142279"/>
                    <a:gd name="connsiteX21" fmla="*/ 614678 w 634159"/>
                    <a:gd name="connsiteY21" fmla="*/ 31860 h 2142279"/>
                    <a:gd name="connsiteX22" fmla="*/ 22971 w 634159"/>
                    <a:gd name="connsiteY22" fmla="*/ 0 h 21422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634159" h="2142279">
                      <a:moveTo>
                        <a:pt x="22666" y="0"/>
                      </a:moveTo>
                      <a:lnTo>
                        <a:pt x="22666" y="92731"/>
                      </a:lnTo>
                      <a:cubicBezTo>
                        <a:pt x="22666" y="92731"/>
                        <a:pt x="13810" y="256105"/>
                        <a:pt x="7194" y="335705"/>
                      </a:cubicBezTo>
                      <a:cubicBezTo>
                        <a:pt x="577" y="415203"/>
                        <a:pt x="16049" y="514550"/>
                        <a:pt x="16049" y="514550"/>
                      </a:cubicBezTo>
                      <a:cubicBezTo>
                        <a:pt x="16049" y="514550"/>
                        <a:pt x="-21511" y="1002635"/>
                        <a:pt x="18289" y="1163871"/>
                      </a:cubicBezTo>
                      <a:cubicBezTo>
                        <a:pt x="58089" y="1325107"/>
                        <a:pt x="77938" y="1795480"/>
                        <a:pt x="77938" y="1795480"/>
                      </a:cubicBezTo>
                      <a:lnTo>
                        <a:pt x="86794" y="1897067"/>
                      </a:lnTo>
                      <a:cubicBezTo>
                        <a:pt x="86794" y="1897067"/>
                        <a:pt x="86794" y="1936867"/>
                        <a:pt x="75800" y="1936867"/>
                      </a:cubicBezTo>
                      <a:cubicBezTo>
                        <a:pt x="64807" y="1936867"/>
                        <a:pt x="58089" y="1939106"/>
                        <a:pt x="55951" y="1967811"/>
                      </a:cubicBezTo>
                      <a:cubicBezTo>
                        <a:pt x="53712" y="1996516"/>
                        <a:pt x="62567" y="2034077"/>
                        <a:pt x="73663" y="2040693"/>
                      </a:cubicBezTo>
                      <a:cubicBezTo>
                        <a:pt x="84656" y="2047309"/>
                        <a:pt x="290069" y="2106959"/>
                        <a:pt x="290069" y="2106959"/>
                      </a:cubicBezTo>
                      <a:cubicBezTo>
                        <a:pt x="290069" y="2106959"/>
                        <a:pt x="285692" y="2087110"/>
                        <a:pt x="314397" y="2084870"/>
                      </a:cubicBezTo>
                      <a:cubicBezTo>
                        <a:pt x="343102" y="2082631"/>
                        <a:pt x="610301" y="2142280"/>
                        <a:pt x="610301" y="2142280"/>
                      </a:cubicBezTo>
                      <a:cubicBezTo>
                        <a:pt x="610301" y="2142280"/>
                        <a:pt x="630150" y="2120191"/>
                        <a:pt x="632390" y="2091486"/>
                      </a:cubicBezTo>
                      <a:cubicBezTo>
                        <a:pt x="634629" y="2062781"/>
                        <a:pt x="597069" y="2005372"/>
                        <a:pt x="597069" y="2005372"/>
                      </a:cubicBezTo>
                      <a:lnTo>
                        <a:pt x="592692" y="1815431"/>
                      </a:lnTo>
                      <a:cubicBezTo>
                        <a:pt x="592692" y="1815431"/>
                        <a:pt x="601547" y="1519526"/>
                        <a:pt x="570603" y="1371523"/>
                      </a:cubicBezTo>
                      <a:cubicBezTo>
                        <a:pt x="539659" y="1223520"/>
                        <a:pt x="537521" y="1062386"/>
                        <a:pt x="544138" y="898911"/>
                      </a:cubicBezTo>
                      <a:cubicBezTo>
                        <a:pt x="550754" y="735537"/>
                        <a:pt x="583938" y="534501"/>
                        <a:pt x="599308" y="501419"/>
                      </a:cubicBezTo>
                      <a:cubicBezTo>
                        <a:pt x="614780" y="468338"/>
                        <a:pt x="641246" y="304862"/>
                        <a:pt x="632390" y="201036"/>
                      </a:cubicBezTo>
                      <a:cubicBezTo>
                        <a:pt x="623534" y="97210"/>
                        <a:pt x="614678" y="53033"/>
                        <a:pt x="614678" y="53033"/>
                      </a:cubicBezTo>
                      <a:cubicBezTo>
                        <a:pt x="614678" y="53033"/>
                        <a:pt x="614475" y="43770"/>
                        <a:pt x="614678" y="31860"/>
                      </a:cubicBezTo>
                      <a:cubicBezTo>
                        <a:pt x="614678" y="19951"/>
                        <a:pt x="22971" y="0"/>
                        <a:pt x="22971" y="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3" name="Полилиния: фигура 812">
                  <a:extLst>
                    <a:ext uri="{FF2B5EF4-FFF2-40B4-BE49-F238E27FC236}">
                      <a16:creationId xmlns:a16="http://schemas.microsoft.com/office/drawing/2014/main" id="{E52317F6-02BA-4607-92D4-0C40B9F1FFA1}"/>
                    </a:ext>
                  </a:extLst>
                </p:cNvPr>
                <p:cNvSpPr/>
                <p:nvPr/>
              </p:nvSpPr>
              <p:spPr>
                <a:xfrm>
                  <a:off x="8944176" y="3214218"/>
                  <a:ext cx="183324" cy="90186"/>
                </a:xfrm>
                <a:custGeom>
                  <a:avLst/>
                  <a:gdLst>
                    <a:gd name="connsiteX0" fmla="*/ 183325 w 183324"/>
                    <a:gd name="connsiteY0" fmla="*/ 6718 h 90186"/>
                    <a:gd name="connsiteX1" fmla="*/ 0 w 183324"/>
                    <a:gd name="connsiteY1" fmla="*/ 0 h 90186"/>
                    <a:gd name="connsiteX2" fmla="*/ 0 w 183324"/>
                    <a:gd name="connsiteY2" fmla="*/ 88456 h 90186"/>
                    <a:gd name="connsiteX3" fmla="*/ 183325 w 183324"/>
                    <a:gd name="connsiteY3" fmla="*/ 90186 h 90186"/>
                    <a:gd name="connsiteX4" fmla="*/ 183325 w 183324"/>
                    <a:gd name="connsiteY4" fmla="*/ 6820 h 90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3324" h="90186">
                      <a:moveTo>
                        <a:pt x="183325" y="6718"/>
                      </a:moveTo>
                      <a:cubicBezTo>
                        <a:pt x="81127" y="2647"/>
                        <a:pt x="0" y="0"/>
                        <a:pt x="0" y="0"/>
                      </a:cubicBezTo>
                      <a:lnTo>
                        <a:pt x="0" y="88456"/>
                      </a:lnTo>
                      <a:lnTo>
                        <a:pt x="183325" y="90186"/>
                      </a:lnTo>
                      <a:lnTo>
                        <a:pt x="183325" y="6820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4" name="Полилиния: фигура 813">
                  <a:extLst>
                    <a:ext uri="{FF2B5EF4-FFF2-40B4-BE49-F238E27FC236}">
                      <a16:creationId xmlns:a16="http://schemas.microsoft.com/office/drawing/2014/main" id="{9DF8B90D-116D-41FD-804C-D5AE5A3ABB8D}"/>
                    </a:ext>
                  </a:extLst>
                </p:cNvPr>
                <p:cNvSpPr/>
                <p:nvPr/>
              </p:nvSpPr>
              <p:spPr>
                <a:xfrm>
                  <a:off x="9379228" y="3232234"/>
                  <a:ext cx="163068" cy="75935"/>
                </a:xfrm>
                <a:custGeom>
                  <a:avLst/>
                  <a:gdLst>
                    <a:gd name="connsiteX0" fmla="*/ 0 w 163068"/>
                    <a:gd name="connsiteY0" fmla="*/ 74409 h 75935"/>
                    <a:gd name="connsiteX1" fmla="*/ 163068 w 163068"/>
                    <a:gd name="connsiteY1" fmla="*/ 75936 h 75935"/>
                    <a:gd name="connsiteX2" fmla="*/ 156757 w 163068"/>
                    <a:gd name="connsiteY2" fmla="*/ 34914 h 75935"/>
                    <a:gd name="connsiteX3" fmla="*/ 156757 w 163068"/>
                    <a:gd name="connsiteY3" fmla="*/ 13742 h 75935"/>
                    <a:gd name="connsiteX4" fmla="*/ 102 w 163068"/>
                    <a:gd name="connsiteY4" fmla="*/ 0 h 75935"/>
                    <a:gd name="connsiteX5" fmla="*/ 102 w 163068"/>
                    <a:gd name="connsiteY5" fmla="*/ 74409 h 75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63068" h="75935">
                      <a:moveTo>
                        <a:pt x="0" y="74409"/>
                      </a:moveTo>
                      <a:lnTo>
                        <a:pt x="163068" y="75936"/>
                      </a:lnTo>
                      <a:cubicBezTo>
                        <a:pt x="159302" y="47841"/>
                        <a:pt x="156757" y="34914"/>
                        <a:pt x="156757" y="34914"/>
                      </a:cubicBezTo>
                      <a:cubicBezTo>
                        <a:pt x="156757" y="34914"/>
                        <a:pt x="156553" y="25651"/>
                        <a:pt x="156757" y="13742"/>
                      </a:cubicBezTo>
                      <a:cubicBezTo>
                        <a:pt x="156757" y="9670"/>
                        <a:pt x="89372" y="4784"/>
                        <a:pt x="102" y="0"/>
                      </a:cubicBezTo>
                      <a:lnTo>
                        <a:pt x="102" y="74409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5" name="Полилиния: фигура 814">
                  <a:extLst>
                    <a:ext uri="{FF2B5EF4-FFF2-40B4-BE49-F238E27FC236}">
                      <a16:creationId xmlns:a16="http://schemas.microsoft.com/office/drawing/2014/main" id="{4E697E6E-2F76-47A7-A2C4-6356D4EDB742}"/>
                    </a:ext>
                  </a:extLst>
                </p:cNvPr>
                <p:cNvSpPr/>
                <p:nvPr/>
              </p:nvSpPr>
              <p:spPr>
                <a:xfrm>
                  <a:off x="9169438" y="3222666"/>
                  <a:ext cx="181084" cy="83773"/>
                </a:xfrm>
                <a:custGeom>
                  <a:avLst/>
                  <a:gdLst>
                    <a:gd name="connsiteX0" fmla="*/ 0 w 181084"/>
                    <a:gd name="connsiteY0" fmla="*/ 82043 h 83773"/>
                    <a:gd name="connsiteX1" fmla="*/ 181085 w 181084"/>
                    <a:gd name="connsiteY1" fmla="*/ 83774 h 83773"/>
                    <a:gd name="connsiteX2" fmla="*/ 181085 w 181084"/>
                    <a:gd name="connsiteY2" fmla="*/ 8143 h 83773"/>
                    <a:gd name="connsiteX3" fmla="*/ 0 w 181084"/>
                    <a:gd name="connsiteY3" fmla="*/ 0 h 83773"/>
                    <a:gd name="connsiteX4" fmla="*/ 0 w 181084"/>
                    <a:gd name="connsiteY4" fmla="*/ 82145 h 83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1084" h="83773">
                      <a:moveTo>
                        <a:pt x="0" y="82043"/>
                      </a:moveTo>
                      <a:lnTo>
                        <a:pt x="181085" y="83774"/>
                      </a:lnTo>
                      <a:lnTo>
                        <a:pt x="181085" y="8143"/>
                      </a:lnTo>
                      <a:cubicBezTo>
                        <a:pt x="123675" y="5191"/>
                        <a:pt x="59751" y="2443"/>
                        <a:pt x="0" y="0"/>
                      </a:cubicBezTo>
                      <a:lnTo>
                        <a:pt x="0" y="82145"/>
                      </a:lnTo>
                      <a:close/>
                    </a:path>
                  </a:pathLst>
                </a:custGeom>
                <a:solidFill>
                  <a:srgbClr val="A1A1A1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6" name="Полилиния: фигура 815">
                  <a:extLst>
                    <a:ext uri="{FF2B5EF4-FFF2-40B4-BE49-F238E27FC236}">
                      <a16:creationId xmlns:a16="http://schemas.microsoft.com/office/drawing/2014/main" id="{5F96F2B0-8FF2-4060-8686-3FAF4EC5C776}"/>
                    </a:ext>
                  </a:extLst>
                </p:cNvPr>
                <p:cNvSpPr/>
                <p:nvPr/>
              </p:nvSpPr>
              <p:spPr>
                <a:xfrm>
                  <a:off x="8966264" y="3240683"/>
                  <a:ext cx="92731" cy="57409"/>
                </a:xfrm>
                <a:custGeom>
                  <a:avLst/>
                  <a:gdLst>
                    <a:gd name="connsiteX0" fmla="*/ 0 w 92731"/>
                    <a:gd name="connsiteY0" fmla="*/ 0 h 57409"/>
                    <a:gd name="connsiteX1" fmla="*/ 92731 w 92731"/>
                    <a:gd name="connsiteY1" fmla="*/ 0 h 57409"/>
                    <a:gd name="connsiteX2" fmla="*/ 92731 w 92731"/>
                    <a:gd name="connsiteY2" fmla="*/ 57410 h 57409"/>
                    <a:gd name="connsiteX3" fmla="*/ 0 w 92731"/>
                    <a:gd name="connsiteY3" fmla="*/ 57410 h 57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731" h="57409">
                      <a:moveTo>
                        <a:pt x="0" y="0"/>
                      </a:moveTo>
                      <a:lnTo>
                        <a:pt x="92731" y="0"/>
                      </a:lnTo>
                      <a:lnTo>
                        <a:pt x="92731" y="57410"/>
                      </a:lnTo>
                      <a:lnTo>
                        <a:pt x="0" y="574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8" name="Полилиния: фигура 817">
                  <a:extLst>
                    <a:ext uri="{FF2B5EF4-FFF2-40B4-BE49-F238E27FC236}">
                      <a16:creationId xmlns:a16="http://schemas.microsoft.com/office/drawing/2014/main" id="{333D6705-CD8D-42A0-AA9C-1A4B1A52E7BA}"/>
                    </a:ext>
                  </a:extLst>
                </p:cNvPr>
                <p:cNvSpPr/>
                <p:nvPr/>
              </p:nvSpPr>
              <p:spPr>
                <a:xfrm>
                  <a:off x="9187150" y="5113015"/>
                  <a:ext cx="64026" cy="152787"/>
                </a:xfrm>
                <a:custGeom>
                  <a:avLst/>
                  <a:gdLst>
                    <a:gd name="connsiteX0" fmla="*/ 52015 w 64026"/>
                    <a:gd name="connsiteY0" fmla="*/ 0 h 152787"/>
                    <a:gd name="connsiteX1" fmla="*/ 64026 w 64026"/>
                    <a:gd name="connsiteY1" fmla="*/ 71050 h 152787"/>
                    <a:gd name="connsiteX2" fmla="*/ 0 w 64026"/>
                    <a:gd name="connsiteY2" fmla="*/ 75427 h 152787"/>
                    <a:gd name="connsiteX3" fmla="*/ 35321 w 64026"/>
                    <a:gd name="connsiteY3" fmla="*/ 152787 h 152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026" h="152787">
                      <a:moveTo>
                        <a:pt x="52015" y="0"/>
                      </a:moveTo>
                      <a:lnTo>
                        <a:pt x="64026" y="71050"/>
                      </a:lnTo>
                      <a:lnTo>
                        <a:pt x="0" y="75427"/>
                      </a:lnTo>
                      <a:lnTo>
                        <a:pt x="35321" y="152787"/>
                      </a:lnTo>
                    </a:path>
                  </a:pathLst>
                </a:custGeom>
                <a:noFill/>
                <a:ln w="10166" cap="rnd">
                  <a:solidFill>
                    <a:srgbClr val="A6A6A6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9" name="Полилиния: фигура 818">
                  <a:extLst>
                    <a:ext uri="{FF2B5EF4-FFF2-40B4-BE49-F238E27FC236}">
                      <a16:creationId xmlns:a16="http://schemas.microsoft.com/office/drawing/2014/main" id="{83E5FA15-C817-4B0E-A621-613ACFC04174}"/>
                    </a:ext>
                  </a:extLst>
                </p:cNvPr>
                <p:cNvSpPr/>
                <p:nvPr/>
              </p:nvSpPr>
              <p:spPr>
                <a:xfrm>
                  <a:off x="9055433" y="4031696"/>
                  <a:ext cx="169175" cy="995509"/>
                </a:xfrm>
                <a:custGeom>
                  <a:avLst/>
                  <a:gdLst>
                    <a:gd name="connsiteX0" fmla="*/ 0 w 169175"/>
                    <a:gd name="connsiteY0" fmla="*/ 0 h 995509"/>
                    <a:gd name="connsiteX1" fmla="*/ 36644 w 169175"/>
                    <a:gd name="connsiteY1" fmla="*/ 454494 h 995509"/>
                    <a:gd name="connsiteX2" fmla="*/ 169176 w 169175"/>
                    <a:gd name="connsiteY2" fmla="*/ 995510 h 995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9175" h="995509">
                      <a:moveTo>
                        <a:pt x="0" y="0"/>
                      </a:moveTo>
                      <a:cubicBezTo>
                        <a:pt x="10179" y="177929"/>
                        <a:pt x="24939" y="405024"/>
                        <a:pt x="36644" y="454494"/>
                      </a:cubicBezTo>
                      <a:cubicBezTo>
                        <a:pt x="56494" y="538369"/>
                        <a:pt x="169176" y="995510"/>
                        <a:pt x="169176" y="995510"/>
                      </a:cubicBezTo>
                    </a:path>
                  </a:pathLst>
                </a:custGeom>
                <a:noFill/>
                <a:ln w="10166" cap="rnd">
                  <a:solidFill>
                    <a:srgbClr val="A6A6A6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820" name="Полилиния: фигура 819">
                <a:extLst>
                  <a:ext uri="{FF2B5EF4-FFF2-40B4-BE49-F238E27FC236}">
                    <a16:creationId xmlns:a16="http://schemas.microsoft.com/office/drawing/2014/main" id="{C67EFB60-06F9-4D49-AA57-16B58FB6FDE3}"/>
                  </a:ext>
                </a:extLst>
              </p:cNvPr>
              <p:cNvSpPr/>
              <p:nvPr/>
            </p:nvSpPr>
            <p:spPr>
              <a:xfrm>
                <a:off x="9005963" y="3680112"/>
                <a:ext cx="46111" cy="292240"/>
              </a:xfrm>
              <a:custGeom>
                <a:avLst/>
                <a:gdLst>
                  <a:gd name="connsiteX0" fmla="*/ 0 w 46111"/>
                  <a:gd name="connsiteY0" fmla="*/ 0 h 292240"/>
                  <a:gd name="connsiteX1" fmla="*/ 37561 w 46111"/>
                  <a:gd name="connsiteY1" fmla="*/ 128052 h 292240"/>
                  <a:gd name="connsiteX2" fmla="*/ 46111 w 46111"/>
                  <a:gd name="connsiteY2" fmla="*/ 292240 h 29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111" h="292240">
                    <a:moveTo>
                      <a:pt x="0" y="0"/>
                    </a:moveTo>
                    <a:lnTo>
                      <a:pt x="37561" y="128052"/>
                    </a:lnTo>
                    <a:cubicBezTo>
                      <a:pt x="37561" y="128052"/>
                      <a:pt x="40920" y="197473"/>
                      <a:pt x="46111" y="292240"/>
                    </a:cubicBezTo>
                  </a:path>
                </a:pathLst>
              </a:custGeom>
              <a:noFill/>
              <a:ln w="10166" cap="rnd">
                <a:solidFill>
                  <a:srgbClr val="A6A6A6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821" name="Полилиния: фигура 820">
              <a:extLst>
                <a:ext uri="{FF2B5EF4-FFF2-40B4-BE49-F238E27FC236}">
                  <a16:creationId xmlns:a16="http://schemas.microsoft.com/office/drawing/2014/main" id="{767DAD31-EF46-4A74-90B1-0DC798EF41AD}"/>
                </a:ext>
              </a:extLst>
            </p:cNvPr>
            <p:cNvSpPr/>
            <p:nvPr/>
          </p:nvSpPr>
          <p:spPr>
            <a:xfrm>
              <a:off x="8908862" y="2037419"/>
              <a:ext cx="737158" cy="1210106"/>
            </a:xfrm>
            <a:custGeom>
              <a:avLst/>
              <a:gdLst>
                <a:gd name="connsiteX0" fmla="*/ 154918 w 737158"/>
                <a:gd name="connsiteY0" fmla="*/ 236255 h 1210106"/>
                <a:gd name="connsiteX1" fmla="*/ 6915 w 737158"/>
                <a:gd name="connsiteY1" fmla="*/ 540303 h 1210106"/>
                <a:gd name="connsiteX2" fmla="*/ 8951 w 737158"/>
                <a:gd name="connsiteY2" fmla="*/ 726376 h 1210106"/>
                <a:gd name="connsiteX3" fmla="*/ 10986 w 737158"/>
                <a:gd name="connsiteY3" fmla="*/ 1106461 h 1210106"/>
                <a:gd name="connsiteX4" fmla="*/ 2945 w 737158"/>
                <a:gd name="connsiteY4" fmla="*/ 1182499 h 1210106"/>
                <a:gd name="connsiteX5" fmla="*/ 168965 w 737158"/>
                <a:gd name="connsiteY5" fmla="*/ 1198480 h 1210106"/>
                <a:gd name="connsiteX6" fmla="*/ 627124 w 737158"/>
                <a:gd name="connsiteY6" fmla="*/ 1208455 h 1210106"/>
                <a:gd name="connsiteX7" fmla="*/ 671097 w 737158"/>
                <a:gd name="connsiteY7" fmla="*/ 1136388 h 1210106"/>
                <a:gd name="connsiteX8" fmla="*/ 737159 w 737158"/>
                <a:gd name="connsiteY8" fmla="*/ 298144 h 1210106"/>
                <a:gd name="connsiteX9" fmla="*/ 665091 w 737158"/>
                <a:gd name="connsiteY9" fmla="*/ 72068 h 1210106"/>
                <a:gd name="connsiteX10" fmla="*/ 517088 w 737158"/>
                <a:gd name="connsiteY10" fmla="*/ 0 h 1210106"/>
                <a:gd name="connsiteX11" fmla="*/ 155020 w 737158"/>
                <a:gd name="connsiteY11" fmla="*/ 236052 h 12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37158" h="1210106">
                  <a:moveTo>
                    <a:pt x="154918" y="236255"/>
                  </a:moveTo>
                  <a:cubicBezTo>
                    <a:pt x="154918" y="236255"/>
                    <a:pt x="4879" y="466302"/>
                    <a:pt x="6915" y="540303"/>
                  </a:cubicBezTo>
                  <a:cubicBezTo>
                    <a:pt x="8951" y="614305"/>
                    <a:pt x="8951" y="726376"/>
                    <a:pt x="8951" y="726376"/>
                  </a:cubicBezTo>
                  <a:cubicBezTo>
                    <a:pt x="8951" y="726376"/>
                    <a:pt x="16992" y="1080505"/>
                    <a:pt x="10986" y="1106461"/>
                  </a:cubicBezTo>
                  <a:cubicBezTo>
                    <a:pt x="4981" y="1132418"/>
                    <a:pt x="-4995" y="1178529"/>
                    <a:pt x="2945" y="1182499"/>
                  </a:cubicBezTo>
                  <a:cubicBezTo>
                    <a:pt x="10986" y="1186468"/>
                    <a:pt x="140973" y="1194510"/>
                    <a:pt x="168965" y="1198480"/>
                  </a:cubicBezTo>
                  <a:cubicBezTo>
                    <a:pt x="196957" y="1202449"/>
                    <a:pt x="589054" y="1214461"/>
                    <a:pt x="627124" y="1208455"/>
                  </a:cubicBezTo>
                  <a:cubicBezTo>
                    <a:pt x="665091" y="1202449"/>
                    <a:pt x="671097" y="1150435"/>
                    <a:pt x="671097" y="1136388"/>
                  </a:cubicBezTo>
                  <a:cubicBezTo>
                    <a:pt x="671097" y="1122340"/>
                    <a:pt x="737159" y="466200"/>
                    <a:pt x="737159" y="298144"/>
                  </a:cubicBezTo>
                  <a:cubicBezTo>
                    <a:pt x="737159" y="130088"/>
                    <a:pt x="709167" y="102096"/>
                    <a:pt x="665091" y="72068"/>
                  </a:cubicBezTo>
                  <a:cubicBezTo>
                    <a:pt x="621118" y="42039"/>
                    <a:pt x="517088" y="0"/>
                    <a:pt x="517088" y="0"/>
                  </a:cubicBezTo>
                  <a:lnTo>
                    <a:pt x="155020" y="236052"/>
                  </a:lnTo>
                  <a:close/>
                </a:path>
              </a:pathLst>
            </a:custGeom>
            <a:solidFill>
              <a:srgbClr val="FFFFFF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2" name="Полилиния: фигура 821">
              <a:extLst>
                <a:ext uri="{FF2B5EF4-FFF2-40B4-BE49-F238E27FC236}">
                  <a16:creationId xmlns:a16="http://schemas.microsoft.com/office/drawing/2014/main" id="{AF0E906A-0764-44B1-8CD1-E5D0B46DD5DD}"/>
                </a:ext>
              </a:extLst>
            </p:cNvPr>
            <p:cNvSpPr/>
            <p:nvPr/>
          </p:nvSpPr>
          <p:spPr>
            <a:xfrm>
              <a:off x="9338801" y="2119475"/>
              <a:ext cx="359242" cy="803418"/>
            </a:xfrm>
            <a:custGeom>
              <a:avLst/>
              <a:gdLst>
                <a:gd name="connsiteX0" fmla="*/ 109847 w 359242"/>
                <a:gd name="connsiteY0" fmla="*/ 157559 h 803418"/>
                <a:gd name="connsiteX1" fmla="*/ 423 w 359242"/>
                <a:gd name="connsiteY1" fmla="*/ 388114 h 803418"/>
                <a:gd name="connsiteX2" fmla="*/ 28517 w 359242"/>
                <a:gd name="connsiteY2" fmla="*/ 797515 h 803418"/>
                <a:gd name="connsiteX3" fmla="*/ 232505 w 359242"/>
                <a:gd name="connsiteY3" fmla="*/ 763517 h 803418"/>
                <a:gd name="connsiteX4" fmla="*/ 344881 w 359242"/>
                <a:gd name="connsiteY4" fmla="*/ 803419 h 803418"/>
                <a:gd name="connsiteX5" fmla="*/ 352312 w 359242"/>
                <a:gd name="connsiteY5" fmla="*/ 478199 h 803418"/>
                <a:gd name="connsiteX6" fmla="*/ 325745 w 359242"/>
                <a:gd name="connsiteY6" fmla="*/ 102796 h 803418"/>
                <a:gd name="connsiteX7" fmla="*/ 210416 w 359242"/>
                <a:gd name="connsiteY7" fmla="*/ 802 h 803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242" h="803418">
                  <a:moveTo>
                    <a:pt x="109847" y="157559"/>
                  </a:moveTo>
                  <a:cubicBezTo>
                    <a:pt x="109847" y="157559"/>
                    <a:pt x="4902" y="266984"/>
                    <a:pt x="423" y="388114"/>
                  </a:cubicBezTo>
                  <a:cubicBezTo>
                    <a:pt x="-4056" y="509346"/>
                    <a:pt x="28517" y="797515"/>
                    <a:pt x="28517" y="797515"/>
                  </a:cubicBezTo>
                  <a:cubicBezTo>
                    <a:pt x="28517" y="797515"/>
                    <a:pt x="176317" y="753134"/>
                    <a:pt x="232505" y="763517"/>
                  </a:cubicBezTo>
                  <a:cubicBezTo>
                    <a:pt x="288693" y="773900"/>
                    <a:pt x="344881" y="803419"/>
                    <a:pt x="344881" y="803419"/>
                  </a:cubicBezTo>
                  <a:cubicBezTo>
                    <a:pt x="344881" y="803419"/>
                    <a:pt x="371449" y="680761"/>
                    <a:pt x="352312" y="478199"/>
                  </a:cubicBezTo>
                  <a:cubicBezTo>
                    <a:pt x="333074" y="275738"/>
                    <a:pt x="341930" y="147075"/>
                    <a:pt x="325745" y="102796"/>
                  </a:cubicBezTo>
                  <a:cubicBezTo>
                    <a:pt x="309459" y="58415"/>
                    <a:pt x="274035" y="-8054"/>
                    <a:pt x="210416" y="802"/>
                  </a:cubicBezTo>
                </a:path>
              </a:pathLst>
            </a:custGeom>
            <a:solidFill>
              <a:srgbClr val="FFFFFF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3" name="Полилиния: фигура 822">
              <a:extLst>
                <a:ext uri="{FF2B5EF4-FFF2-40B4-BE49-F238E27FC236}">
                  <a16:creationId xmlns:a16="http://schemas.microsoft.com/office/drawing/2014/main" id="{882CBA41-BC4D-4EB6-9EB8-8BA90D33907C}"/>
                </a:ext>
              </a:extLst>
            </p:cNvPr>
            <p:cNvSpPr/>
            <p:nvPr/>
          </p:nvSpPr>
          <p:spPr>
            <a:xfrm>
              <a:off x="9047799" y="2181554"/>
              <a:ext cx="88557" cy="98125"/>
            </a:xfrm>
            <a:custGeom>
              <a:avLst/>
              <a:gdLst>
                <a:gd name="connsiteX0" fmla="*/ 65247 w 88557"/>
                <a:gd name="connsiteY0" fmla="*/ 0 h 98125"/>
                <a:gd name="connsiteX1" fmla="*/ 0 w 88557"/>
                <a:gd name="connsiteY1" fmla="*/ 44177 h 98125"/>
                <a:gd name="connsiteX2" fmla="*/ 76037 w 88557"/>
                <a:gd name="connsiteY2" fmla="*/ 98126 h 98125"/>
                <a:gd name="connsiteX3" fmla="*/ 88558 w 88557"/>
                <a:gd name="connsiteY3" fmla="*/ 69319 h 98125"/>
                <a:gd name="connsiteX4" fmla="*/ 65247 w 88557"/>
                <a:gd name="connsiteY4" fmla="*/ 0 h 9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57" h="98125">
                  <a:moveTo>
                    <a:pt x="65247" y="0"/>
                  </a:moveTo>
                  <a:lnTo>
                    <a:pt x="0" y="44177"/>
                  </a:lnTo>
                  <a:lnTo>
                    <a:pt x="76037" y="98126"/>
                  </a:lnTo>
                  <a:lnTo>
                    <a:pt x="88558" y="69319"/>
                  </a:lnTo>
                  <a:lnTo>
                    <a:pt x="65247" y="0"/>
                  </a:lnTo>
                  <a:close/>
                </a:path>
              </a:pathLst>
            </a:custGeom>
            <a:solidFill>
              <a:srgbClr val="FFFFFF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4" name="Полилиния: фигура 823">
              <a:extLst>
                <a:ext uri="{FF2B5EF4-FFF2-40B4-BE49-F238E27FC236}">
                  <a16:creationId xmlns:a16="http://schemas.microsoft.com/office/drawing/2014/main" id="{33EADDE4-7761-40E9-9FB9-823CE8EAB355}"/>
                </a:ext>
              </a:extLst>
            </p:cNvPr>
            <p:cNvSpPr/>
            <p:nvPr/>
          </p:nvSpPr>
          <p:spPr>
            <a:xfrm>
              <a:off x="9023776" y="2225731"/>
              <a:ext cx="78073" cy="114005"/>
            </a:xfrm>
            <a:custGeom>
              <a:avLst/>
              <a:gdLst>
                <a:gd name="connsiteX0" fmla="*/ 24023 w 78073"/>
                <a:gd name="connsiteY0" fmla="*/ 0 h 114005"/>
                <a:gd name="connsiteX1" fmla="*/ 0 w 78073"/>
                <a:gd name="connsiteY1" fmla="*/ 114005 h 114005"/>
                <a:gd name="connsiteX2" fmla="*/ 78073 w 78073"/>
                <a:gd name="connsiteY2" fmla="*/ 42039 h 114005"/>
                <a:gd name="connsiteX3" fmla="*/ 24023 w 78073"/>
                <a:gd name="connsiteY3" fmla="*/ 0 h 114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073" h="114005">
                  <a:moveTo>
                    <a:pt x="24023" y="0"/>
                  </a:moveTo>
                  <a:lnTo>
                    <a:pt x="0" y="114005"/>
                  </a:lnTo>
                  <a:lnTo>
                    <a:pt x="78073" y="42039"/>
                  </a:lnTo>
                  <a:lnTo>
                    <a:pt x="24023" y="0"/>
                  </a:lnTo>
                  <a:close/>
                </a:path>
              </a:pathLst>
            </a:custGeom>
            <a:solidFill>
              <a:srgbClr val="FFFFFF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5" name="Полилиния: фигура 824">
              <a:extLst>
                <a:ext uri="{FF2B5EF4-FFF2-40B4-BE49-F238E27FC236}">
                  <a16:creationId xmlns:a16="http://schemas.microsoft.com/office/drawing/2014/main" id="{DCF7B963-3714-432E-816F-504DC25C2B81}"/>
                </a:ext>
              </a:extLst>
            </p:cNvPr>
            <p:cNvSpPr/>
            <p:nvPr/>
          </p:nvSpPr>
          <p:spPr>
            <a:xfrm>
              <a:off x="8937865" y="2241713"/>
              <a:ext cx="256002" cy="962325"/>
            </a:xfrm>
            <a:custGeom>
              <a:avLst/>
              <a:gdLst>
                <a:gd name="connsiteX0" fmla="*/ 225975 w 256002"/>
                <a:gd name="connsiteY0" fmla="*/ 0 h 962325"/>
                <a:gd name="connsiteX1" fmla="*/ 148003 w 256002"/>
                <a:gd name="connsiteY1" fmla="*/ 37968 h 962325"/>
                <a:gd name="connsiteX2" fmla="*/ 116041 w 256002"/>
                <a:gd name="connsiteY2" fmla="*/ 114005 h 962325"/>
                <a:gd name="connsiteX3" fmla="*/ 120011 w 256002"/>
                <a:gd name="connsiteY3" fmla="*/ 168056 h 962325"/>
                <a:gd name="connsiteX4" fmla="*/ 30028 w 256002"/>
                <a:gd name="connsiteY4" fmla="*/ 546207 h 962325"/>
                <a:gd name="connsiteX5" fmla="*/ 0 w 256002"/>
                <a:gd name="connsiteY5" fmla="*/ 882319 h 962325"/>
                <a:gd name="connsiteX6" fmla="*/ 31962 w 256002"/>
                <a:gd name="connsiteY6" fmla="*/ 962326 h 962325"/>
                <a:gd name="connsiteX7" fmla="*/ 120011 w 256002"/>
                <a:gd name="connsiteY7" fmla="*/ 838244 h 962325"/>
                <a:gd name="connsiteX8" fmla="*/ 111969 w 256002"/>
                <a:gd name="connsiteY8" fmla="*/ 386091 h 962325"/>
                <a:gd name="connsiteX9" fmla="*/ 160014 w 256002"/>
                <a:gd name="connsiteY9" fmla="*/ 168056 h 962325"/>
                <a:gd name="connsiteX10" fmla="*/ 206024 w 256002"/>
                <a:gd name="connsiteY10" fmla="*/ 114005 h 962325"/>
                <a:gd name="connsiteX11" fmla="*/ 256003 w 256002"/>
                <a:gd name="connsiteY11" fmla="*/ 37968 h 962325"/>
                <a:gd name="connsiteX12" fmla="*/ 225975 w 256002"/>
                <a:gd name="connsiteY12" fmla="*/ 0 h 96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6002" h="962325">
                  <a:moveTo>
                    <a:pt x="225975" y="0"/>
                  </a:moveTo>
                  <a:cubicBezTo>
                    <a:pt x="225975" y="0"/>
                    <a:pt x="165918" y="15981"/>
                    <a:pt x="148003" y="37968"/>
                  </a:cubicBezTo>
                  <a:cubicBezTo>
                    <a:pt x="130088" y="59955"/>
                    <a:pt x="114005" y="86013"/>
                    <a:pt x="116041" y="114005"/>
                  </a:cubicBezTo>
                  <a:cubicBezTo>
                    <a:pt x="118077" y="141998"/>
                    <a:pt x="118077" y="154009"/>
                    <a:pt x="120011" y="168056"/>
                  </a:cubicBezTo>
                  <a:cubicBezTo>
                    <a:pt x="122047" y="182103"/>
                    <a:pt x="37968" y="400138"/>
                    <a:pt x="30028" y="546207"/>
                  </a:cubicBezTo>
                  <a:cubicBezTo>
                    <a:pt x="21987" y="692276"/>
                    <a:pt x="0" y="882319"/>
                    <a:pt x="0" y="882319"/>
                  </a:cubicBezTo>
                  <a:lnTo>
                    <a:pt x="31962" y="962326"/>
                  </a:lnTo>
                  <a:lnTo>
                    <a:pt x="120011" y="838244"/>
                  </a:lnTo>
                  <a:cubicBezTo>
                    <a:pt x="120011" y="838244"/>
                    <a:pt x="80007" y="572164"/>
                    <a:pt x="111969" y="386091"/>
                  </a:cubicBezTo>
                  <a:cubicBezTo>
                    <a:pt x="143932" y="200018"/>
                    <a:pt x="160014" y="168056"/>
                    <a:pt x="160014" y="168056"/>
                  </a:cubicBezTo>
                  <a:cubicBezTo>
                    <a:pt x="160014" y="168056"/>
                    <a:pt x="188007" y="150039"/>
                    <a:pt x="206024" y="114005"/>
                  </a:cubicBezTo>
                  <a:cubicBezTo>
                    <a:pt x="224041" y="77971"/>
                    <a:pt x="256003" y="37968"/>
                    <a:pt x="256003" y="37968"/>
                  </a:cubicBezTo>
                  <a:lnTo>
                    <a:pt x="225975" y="0"/>
                  </a:lnTo>
                  <a:close/>
                </a:path>
              </a:pathLst>
            </a:custGeom>
            <a:solidFill>
              <a:srgbClr val="006D3F"/>
            </a:solidFill>
            <a:ln w="10166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826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8824247" y="1407992"/>
              <a:ext cx="560375" cy="844619"/>
              <a:chOff x="8824247" y="1407992"/>
              <a:chExt cx="560375" cy="844619"/>
            </a:xfrm>
          </p:grpSpPr>
          <p:sp>
            <p:nvSpPr>
              <p:cNvPr id="827" name="Полилиния: фигура 826">
                <a:extLst>
                  <a:ext uri="{FF2B5EF4-FFF2-40B4-BE49-F238E27FC236}">
                    <a16:creationId xmlns:a16="http://schemas.microsoft.com/office/drawing/2014/main" id="{11CD632F-0786-4F92-BAF4-786388C82A62}"/>
                  </a:ext>
                </a:extLst>
              </p:cNvPr>
              <p:cNvSpPr/>
              <p:nvPr/>
            </p:nvSpPr>
            <p:spPr>
              <a:xfrm>
                <a:off x="8824247" y="1407992"/>
                <a:ext cx="406977" cy="258442"/>
              </a:xfrm>
              <a:custGeom>
                <a:avLst/>
                <a:gdLst>
                  <a:gd name="connsiteX0" fmla="*/ 55190 w 406977"/>
                  <a:gd name="connsiteY0" fmla="*/ 234073 h 258442"/>
                  <a:gd name="connsiteX1" fmla="*/ 8672 w 406977"/>
                  <a:gd name="connsiteY1" fmla="*/ 193764 h 258442"/>
                  <a:gd name="connsiteX2" fmla="*/ 16408 w 406977"/>
                  <a:gd name="connsiteY2" fmla="*/ 145719 h 258442"/>
                  <a:gd name="connsiteX3" fmla="*/ 35036 w 406977"/>
                  <a:gd name="connsiteY3" fmla="*/ 159664 h 258442"/>
                  <a:gd name="connsiteX4" fmla="*/ 59872 w 406977"/>
                  <a:gd name="connsiteY4" fmla="*/ 68257 h 258442"/>
                  <a:gd name="connsiteX5" fmla="*/ 100181 w 406977"/>
                  <a:gd name="connsiteY5" fmla="*/ 80675 h 258442"/>
                  <a:gd name="connsiteX6" fmla="*/ 157489 w 406977"/>
                  <a:gd name="connsiteY6" fmla="*/ 32630 h 258442"/>
                  <a:gd name="connsiteX7" fmla="*/ 321779 w 406977"/>
                  <a:gd name="connsiteY7" fmla="*/ 6266 h 258442"/>
                  <a:gd name="connsiteX8" fmla="*/ 406977 w 406977"/>
                  <a:gd name="connsiteY8" fmla="*/ 46575 h 258442"/>
                  <a:gd name="connsiteX9" fmla="*/ 298469 w 406977"/>
                  <a:gd name="connsiteY9" fmla="*/ 79148 h 258442"/>
                  <a:gd name="connsiteX10" fmla="*/ 231796 w 406977"/>
                  <a:gd name="connsiteY10" fmla="*/ 190710 h 258442"/>
                  <a:gd name="connsiteX11" fmla="*/ 143442 w 406977"/>
                  <a:gd name="connsiteY11" fmla="*/ 255755 h 258442"/>
                  <a:gd name="connsiteX12" fmla="*/ 55088 w 406977"/>
                  <a:gd name="connsiteY12" fmla="*/ 234073 h 258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6977" h="258442">
                    <a:moveTo>
                      <a:pt x="55190" y="234073"/>
                    </a:moveTo>
                    <a:cubicBezTo>
                      <a:pt x="55190" y="234073"/>
                      <a:pt x="27300" y="235600"/>
                      <a:pt x="8672" y="193764"/>
                    </a:cubicBezTo>
                    <a:cubicBezTo>
                      <a:pt x="-9956" y="151928"/>
                      <a:pt x="5618" y="137983"/>
                      <a:pt x="16408" y="145719"/>
                    </a:cubicBezTo>
                    <a:cubicBezTo>
                      <a:pt x="27300" y="153455"/>
                      <a:pt x="35036" y="159664"/>
                      <a:pt x="35036" y="159664"/>
                    </a:cubicBezTo>
                    <a:cubicBezTo>
                      <a:pt x="35036" y="159664"/>
                      <a:pt x="14881" y="100728"/>
                      <a:pt x="59872" y="68257"/>
                    </a:cubicBezTo>
                    <a:cubicBezTo>
                      <a:pt x="104864" y="35684"/>
                      <a:pt x="100181" y="80675"/>
                      <a:pt x="100181" y="80675"/>
                    </a:cubicBezTo>
                    <a:cubicBezTo>
                      <a:pt x="100181" y="80675"/>
                      <a:pt x="95499" y="66730"/>
                      <a:pt x="157489" y="32630"/>
                    </a:cubicBezTo>
                    <a:cubicBezTo>
                      <a:pt x="219480" y="-1470"/>
                      <a:pt x="250424" y="-6152"/>
                      <a:pt x="321779" y="6266"/>
                    </a:cubicBezTo>
                    <a:cubicBezTo>
                      <a:pt x="393032" y="18685"/>
                      <a:pt x="406977" y="46575"/>
                      <a:pt x="406977" y="46575"/>
                    </a:cubicBezTo>
                    <a:cubicBezTo>
                      <a:pt x="406977" y="46575"/>
                      <a:pt x="335724" y="29576"/>
                      <a:pt x="298469" y="79148"/>
                    </a:cubicBezTo>
                    <a:cubicBezTo>
                      <a:pt x="261316" y="128720"/>
                      <a:pt x="250424" y="164347"/>
                      <a:pt x="231796" y="190710"/>
                    </a:cubicBezTo>
                    <a:cubicBezTo>
                      <a:pt x="213169" y="217074"/>
                      <a:pt x="185278" y="243438"/>
                      <a:pt x="143442" y="255755"/>
                    </a:cubicBezTo>
                    <a:cubicBezTo>
                      <a:pt x="101606" y="268071"/>
                      <a:pt x="55088" y="234073"/>
                      <a:pt x="55088" y="23407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8" name="Полилиния: фигура 827">
                <a:extLst>
                  <a:ext uri="{FF2B5EF4-FFF2-40B4-BE49-F238E27FC236}">
                    <a16:creationId xmlns:a16="http://schemas.microsoft.com/office/drawing/2014/main" id="{80BAE669-6785-4A59-96A4-DC08A9293AD4}"/>
                  </a:ext>
                </a:extLst>
              </p:cNvPr>
              <p:cNvSpPr/>
              <p:nvPr/>
            </p:nvSpPr>
            <p:spPr>
              <a:xfrm>
                <a:off x="8879335" y="1440257"/>
                <a:ext cx="505287" cy="812354"/>
              </a:xfrm>
              <a:custGeom>
                <a:avLst/>
                <a:gdLst>
                  <a:gd name="connsiteX0" fmla="*/ 102 w 505287"/>
                  <a:gd name="connsiteY0" fmla="*/ 201809 h 812354"/>
                  <a:gd name="connsiteX1" fmla="*/ 27992 w 505287"/>
                  <a:gd name="connsiteY1" fmla="*/ 437352 h 812354"/>
                  <a:gd name="connsiteX2" fmla="*/ 83773 w 505287"/>
                  <a:gd name="connsiteY2" fmla="*/ 524179 h 812354"/>
                  <a:gd name="connsiteX3" fmla="*/ 138028 w 505287"/>
                  <a:gd name="connsiteY3" fmla="*/ 643477 h 812354"/>
                  <a:gd name="connsiteX4" fmla="*/ 203072 w 505287"/>
                  <a:gd name="connsiteY4" fmla="*/ 645004 h 812354"/>
                  <a:gd name="connsiteX5" fmla="*/ 262008 w 505287"/>
                  <a:gd name="connsiteY5" fmla="*/ 812348 h 812354"/>
                  <a:gd name="connsiteX6" fmla="*/ 505287 w 505287"/>
                  <a:gd name="connsiteY6" fmla="*/ 575278 h 812354"/>
                  <a:gd name="connsiteX7" fmla="*/ 468134 w 505287"/>
                  <a:gd name="connsiteY7" fmla="*/ 471452 h 812354"/>
                  <a:gd name="connsiteX8" fmla="*/ 485133 w 505287"/>
                  <a:gd name="connsiteY8" fmla="*/ 231227 h 812354"/>
                  <a:gd name="connsiteX9" fmla="*/ 393725 w 505287"/>
                  <a:gd name="connsiteY9" fmla="*/ 25101 h 812354"/>
                  <a:gd name="connsiteX10" fmla="*/ 217017 w 505287"/>
                  <a:gd name="connsiteY10" fmla="*/ 32837 h 812354"/>
                  <a:gd name="connsiteX11" fmla="*/ 136399 w 505287"/>
                  <a:gd name="connsiteY11" fmla="*/ 180026 h 812354"/>
                  <a:gd name="connsiteX12" fmla="*/ 77462 w 505287"/>
                  <a:gd name="connsiteY12" fmla="*/ 217179 h 812354"/>
                  <a:gd name="connsiteX13" fmla="*/ 0 w 505287"/>
                  <a:gd name="connsiteY13" fmla="*/ 201707 h 812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05287" h="812354">
                    <a:moveTo>
                      <a:pt x="102" y="201809"/>
                    </a:moveTo>
                    <a:cubicBezTo>
                      <a:pt x="102" y="201809"/>
                      <a:pt x="9365" y="390834"/>
                      <a:pt x="27992" y="437352"/>
                    </a:cubicBezTo>
                    <a:cubicBezTo>
                      <a:pt x="46620" y="483870"/>
                      <a:pt x="83773" y="524179"/>
                      <a:pt x="83773" y="524179"/>
                    </a:cubicBezTo>
                    <a:cubicBezTo>
                      <a:pt x="83773" y="524179"/>
                      <a:pt x="113191" y="629532"/>
                      <a:pt x="138028" y="643477"/>
                    </a:cubicBezTo>
                    <a:cubicBezTo>
                      <a:pt x="162865" y="657423"/>
                      <a:pt x="203072" y="645004"/>
                      <a:pt x="203072" y="645004"/>
                    </a:cubicBezTo>
                    <a:cubicBezTo>
                      <a:pt x="203072" y="645004"/>
                      <a:pt x="252644" y="810821"/>
                      <a:pt x="262008" y="812348"/>
                    </a:cubicBezTo>
                    <a:cubicBezTo>
                      <a:pt x="271271" y="813874"/>
                      <a:pt x="505287" y="575278"/>
                      <a:pt x="505287" y="575278"/>
                    </a:cubicBezTo>
                    <a:cubicBezTo>
                      <a:pt x="505287" y="575278"/>
                      <a:pt x="468134" y="476134"/>
                      <a:pt x="468134" y="471452"/>
                    </a:cubicBezTo>
                    <a:cubicBezTo>
                      <a:pt x="468134" y="466769"/>
                      <a:pt x="492971" y="297899"/>
                      <a:pt x="485133" y="231227"/>
                    </a:cubicBezTo>
                    <a:cubicBezTo>
                      <a:pt x="477397" y="164554"/>
                      <a:pt x="451033" y="65410"/>
                      <a:pt x="393725" y="25101"/>
                    </a:cubicBezTo>
                    <a:cubicBezTo>
                      <a:pt x="336417" y="-15208"/>
                      <a:pt x="269744" y="-2790"/>
                      <a:pt x="217017" y="32837"/>
                    </a:cubicBezTo>
                    <a:cubicBezTo>
                      <a:pt x="164290" y="68464"/>
                      <a:pt x="136399" y="180026"/>
                      <a:pt x="136399" y="180026"/>
                    </a:cubicBezTo>
                    <a:lnTo>
                      <a:pt x="77462" y="217179"/>
                    </a:lnTo>
                    <a:lnTo>
                      <a:pt x="0" y="201707"/>
                    </a:lnTo>
                    <a:close/>
                  </a:path>
                </a:pathLst>
              </a:custGeom>
              <a:solidFill>
                <a:srgbClr val="FFFFFF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9" name="Полилиния: фигура 828">
                <a:extLst>
                  <a:ext uri="{FF2B5EF4-FFF2-40B4-BE49-F238E27FC236}">
                    <a16:creationId xmlns:a16="http://schemas.microsoft.com/office/drawing/2014/main" id="{988ACFC1-9942-44CC-957F-9D8D1A0E73CD}"/>
                  </a:ext>
                </a:extLst>
              </p:cNvPr>
              <p:cNvSpPr/>
              <p:nvPr/>
            </p:nvSpPr>
            <p:spPr>
              <a:xfrm>
                <a:off x="9015734" y="1440257"/>
                <a:ext cx="368786" cy="810522"/>
              </a:xfrm>
              <a:custGeom>
                <a:avLst/>
                <a:gdLst>
                  <a:gd name="connsiteX0" fmla="*/ 348734 w 368786"/>
                  <a:gd name="connsiteY0" fmla="*/ 231227 h 810522"/>
                  <a:gd name="connsiteX1" fmla="*/ 257326 w 368786"/>
                  <a:gd name="connsiteY1" fmla="*/ 25101 h 810522"/>
                  <a:gd name="connsiteX2" fmla="*/ 80618 w 368786"/>
                  <a:gd name="connsiteY2" fmla="*/ 32837 h 810522"/>
                  <a:gd name="connsiteX3" fmla="*/ 0 w 368786"/>
                  <a:gd name="connsiteY3" fmla="*/ 180026 h 810522"/>
                  <a:gd name="connsiteX4" fmla="*/ 119298 w 368786"/>
                  <a:gd name="connsiteY4" fmla="*/ 138190 h 810522"/>
                  <a:gd name="connsiteX5" fmla="*/ 147189 w 368786"/>
                  <a:gd name="connsiteY5" fmla="*/ 379942 h 810522"/>
                  <a:gd name="connsiteX6" fmla="*/ 106880 w 368786"/>
                  <a:gd name="connsiteY6" fmla="*/ 469823 h 810522"/>
                  <a:gd name="connsiteX7" fmla="*/ 130088 w 368786"/>
                  <a:gd name="connsiteY7" fmla="*/ 587594 h 810522"/>
                  <a:gd name="connsiteX8" fmla="*/ 66571 w 368786"/>
                  <a:gd name="connsiteY8" fmla="*/ 644903 h 810522"/>
                  <a:gd name="connsiteX9" fmla="*/ 120418 w 368786"/>
                  <a:gd name="connsiteY9" fmla="*/ 810515 h 810522"/>
                  <a:gd name="connsiteX10" fmla="*/ 368787 w 368786"/>
                  <a:gd name="connsiteY10" fmla="*/ 575176 h 810522"/>
                  <a:gd name="connsiteX11" fmla="*/ 331633 w 368786"/>
                  <a:gd name="connsiteY11" fmla="*/ 471350 h 810522"/>
                  <a:gd name="connsiteX12" fmla="*/ 348632 w 368786"/>
                  <a:gd name="connsiteY12" fmla="*/ 231125 h 81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8786" h="810522">
                    <a:moveTo>
                      <a:pt x="348734" y="231227"/>
                    </a:moveTo>
                    <a:cubicBezTo>
                      <a:pt x="340998" y="164554"/>
                      <a:pt x="314634" y="65410"/>
                      <a:pt x="257326" y="25101"/>
                    </a:cubicBezTo>
                    <a:cubicBezTo>
                      <a:pt x="200018" y="-15208"/>
                      <a:pt x="133345" y="-2790"/>
                      <a:pt x="80618" y="32837"/>
                    </a:cubicBezTo>
                    <a:cubicBezTo>
                      <a:pt x="27891" y="68464"/>
                      <a:pt x="0" y="180026"/>
                      <a:pt x="0" y="180026"/>
                    </a:cubicBezTo>
                    <a:cubicBezTo>
                      <a:pt x="0" y="180026"/>
                      <a:pt x="21681" y="144399"/>
                      <a:pt x="119298" y="138190"/>
                    </a:cubicBezTo>
                    <a:cubicBezTo>
                      <a:pt x="119298" y="138190"/>
                      <a:pt x="144135" y="336580"/>
                      <a:pt x="147189" y="379942"/>
                    </a:cubicBezTo>
                    <a:cubicBezTo>
                      <a:pt x="150243" y="423305"/>
                      <a:pt x="106880" y="448142"/>
                      <a:pt x="106880" y="469823"/>
                    </a:cubicBezTo>
                    <a:cubicBezTo>
                      <a:pt x="106880" y="491504"/>
                      <a:pt x="128561" y="573649"/>
                      <a:pt x="130088" y="587594"/>
                    </a:cubicBezTo>
                    <a:cubicBezTo>
                      <a:pt x="131615" y="601540"/>
                      <a:pt x="66571" y="644903"/>
                      <a:pt x="66571" y="644903"/>
                    </a:cubicBezTo>
                    <a:cubicBezTo>
                      <a:pt x="66571" y="644903"/>
                      <a:pt x="111155" y="808989"/>
                      <a:pt x="120418" y="810515"/>
                    </a:cubicBezTo>
                    <a:cubicBezTo>
                      <a:pt x="129681" y="812042"/>
                      <a:pt x="368787" y="575176"/>
                      <a:pt x="368787" y="575176"/>
                    </a:cubicBezTo>
                    <a:cubicBezTo>
                      <a:pt x="368787" y="575176"/>
                      <a:pt x="331633" y="476032"/>
                      <a:pt x="331633" y="471350"/>
                    </a:cubicBezTo>
                    <a:cubicBezTo>
                      <a:pt x="331633" y="466668"/>
                      <a:pt x="356470" y="297797"/>
                      <a:pt x="348632" y="231125"/>
                    </a:cubicBezTo>
                    <a:close/>
                  </a:path>
                </a:pathLst>
              </a:custGeom>
              <a:solidFill>
                <a:srgbClr val="E5E5E5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0" name="Полилиния: фигура 829">
                <a:extLst>
                  <a:ext uri="{FF2B5EF4-FFF2-40B4-BE49-F238E27FC236}">
                    <a16:creationId xmlns:a16="http://schemas.microsoft.com/office/drawing/2014/main" id="{7720AA43-9C30-40E3-A372-EC2C434B5FDC}"/>
                  </a:ext>
                </a:extLst>
              </p:cNvPr>
              <p:cNvSpPr/>
              <p:nvPr/>
            </p:nvSpPr>
            <p:spPr>
              <a:xfrm>
                <a:off x="9015734" y="1440257"/>
                <a:ext cx="345171" cy="206694"/>
              </a:xfrm>
              <a:custGeom>
                <a:avLst/>
                <a:gdLst>
                  <a:gd name="connsiteX0" fmla="*/ 257326 w 345171"/>
                  <a:gd name="connsiteY0" fmla="*/ 25101 h 206694"/>
                  <a:gd name="connsiteX1" fmla="*/ 80618 w 345171"/>
                  <a:gd name="connsiteY1" fmla="*/ 32837 h 206694"/>
                  <a:gd name="connsiteX2" fmla="*/ 0 w 345171"/>
                  <a:gd name="connsiteY2" fmla="*/ 180026 h 206694"/>
                  <a:gd name="connsiteX3" fmla="*/ 207652 w 345171"/>
                  <a:gd name="connsiteY3" fmla="*/ 150608 h 206694"/>
                  <a:gd name="connsiteX4" fmla="*/ 345171 w 345171"/>
                  <a:gd name="connsiteY4" fmla="*/ 206695 h 206694"/>
                  <a:gd name="connsiteX5" fmla="*/ 257224 w 345171"/>
                  <a:gd name="connsiteY5" fmla="*/ 24999 h 20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5171" h="206694">
                    <a:moveTo>
                      <a:pt x="257326" y="25101"/>
                    </a:moveTo>
                    <a:cubicBezTo>
                      <a:pt x="200018" y="-15208"/>
                      <a:pt x="133345" y="-2790"/>
                      <a:pt x="80618" y="32837"/>
                    </a:cubicBezTo>
                    <a:cubicBezTo>
                      <a:pt x="27891" y="68464"/>
                      <a:pt x="0" y="180026"/>
                      <a:pt x="0" y="180026"/>
                    </a:cubicBezTo>
                    <a:cubicBezTo>
                      <a:pt x="0" y="180026"/>
                      <a:pt x="82145" y="111826"/>
                      <a:pt x="207652" y="150608"/>
                    </a:cubicBezTo>
                    <a:cubicBezTo>
                      <a:pt x="300689" y="179313"/>
                      <a:pt x="334076" y="198654"/>
                      <a:pt x="345171" y="206695"/>
                    </a:cubicBezTo>
                    <a:cubicBezTo>
                      <a:pt x="334381" y="142160"/>
                      <a:pt x="307916" y="60626"/>
                      <a:pt x="257224" y="24999"/>
                    </a:cubicBezTo>
                    <a:close/>
                  </a:path>
                </a:pathLst>
              </a:custGeom>
              <a:solidFill>
                <a:srgbClr val="BABABA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1" name="Полилиния: фигура 830">
                <a:extLst>
                  <a:ext uri="{FF2B5EF4-FFF2-40B4-BE49-F238E27FC236}">
                    <a16:creationId xmlns:a16="http://schemas.microsoft.com/office/drawing/2014/main" id="{87DFABFE-6AFC-4625-88BA-C7CB62CE9855}"/>
                  </a:ext>
                </a:extLst>
              </p:cNvPr>
              <p:cNvSpPr/>
              <p:nvPr/>
            </p:nvSpPr>
            <p:spPr>
              <a:xfrm>
                <a:off x="9082407" y="1826510"/>
                <a:ext cx="176606" cy="258751"/>
              </a:xfrm>
              <a:custGeom>
                <a:avLst/>
                <a:gdLst>
                  <a:gd name="connsiteX0" fmla="*/ 0 w 176606"/>
                  <a:gd name="connsiteY0" fmla="*/ 258751 h 258751"/>
                  <a:gd name="connsiteX1" fmla="*/ 167343 w 176606"/>
                  <a:gd name="connsiteY1" fmla="*/ 117771 h 258751"/>
                  <a:gd name="connsiteX2" fmla="*/ 176606 w 176606"/>
                  <a:gd name="connsiteY2" fmla="*/ 0 h 258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6606" h="258751">
                    <a:moveTo>
                      <a:pt x="0" y="258751"/>
                    </a:moveTo>
                    <a:cubicBezTo>
                      <a:pt x="0" y="258751"/>
                      <a:pt x="161134" y="150243"/>
                      <a:pt x="167343" y="117771"/>
                    </a:cubicBezTo>
                    <a:cubicBezTo>
                      <a:pt x="173553" y="85199"/>
                      <a:pt x="176606" y="0"/>
                      <a:pt x="176606" y="0"/>
                    </a:cubicBezTo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4" name="Полилиния: фигура 1023">
                <a:extLst>
                  <a:ext uri="{FF2B5EF4-FFF2-40B4-BE49-F238E27FC236}">
                    <a16:creationId xmlns:a16="http://schemas.microsoft.com/office/drawing/2014/main" id="{8A092F30-72C4-4CBE-8EE0-719F5D01975C}"/>
                  </a:ext>
                </a:extLst>
              </p:cNvPr>
              <p:cNvSpPr/>
              <p:nvPr/>
            </p:nvSpPr>
            <p:spPr>
              <a:xfrm>
                <a:off x="9118034" y="1987644"/>
                <a:ext cx="260481" cy="209891"/>
              </a:xfrm>
              <a:custGeom>
                <a:avLst/>
                <a:gdLst>
                  <a:gd name="connsiteX0" fmla="*/ 260481 w 260481"/>
                  <a:gd name="connsiteY0" fmla="*/ 0 h 209891"/>
                  <a:gd name="connsiteX1" fmla="*/ 0 w 260481"/>
                  <a:gd name="connsiteY1" fmla="*/ 209892 h 2098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481" h="209891">
                    <a:moveTo>
                      <a:pt x="260481" y="0"/>
                    </a:moveTo>
                    <a:lnTo>
                      <a:pt x="0" y="209892"/>
                    </a:lnTo>
                  </a:path>
                </a:pathLst>
              </a:custGeom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5" name="Полилиния: фигура 1024">
                <a:extLst>
                  <a:ext uri="{FF2B5EF4-FFF2-40B4-BE49-F238E27FC236}">
                    <a16:creationId xmlns:a16="http://schemas.microsoft.com/office/drawing/2014/main" id="{635A2934-B8FC-46C5-94C6-EE4B1792E6F2}"/>
                  </a:ext>
                </a:extLst>
              </p:cNvPr>
              <p:cNvSpPr/>
              <p:nvPr/>
            </p:nvSpPr>
            <p:spPr>
              <a:xfrm>
                <a:off x="9098490" y="1933899"/>
                <a:ext cx="257224" cy="209688"/>
              </a:xfrm>
              <a:custGeom>
                <a:avLst/>
                <a:gdLst>
                  <a:gd name="connsiteX0" fmla="*/ 0 w 257224"/>
                  <a:gd name="connsiteY0" fmla="*/ 209688 h 209688"/>
                  <a:gd name="connsiteX1" fmla="*/ 257224 w 257224"/>
                  <a:gd name="connsiteY1" fmla="*/ 0 h 20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7224" h="209688">
                    <a:moveTo>
                      <a:pt x="0" y="209688"/>
                    </a:moveTo>
                    <a:lnTo>
                      <a:pt x="257224" y="0"/>
                    </a:lnTo>
                  </a:path>
                </a:pathLst>
              </a:custGeom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6" name="Полилиния: фигура 1025">
                <a:extLst>
                  <a:ext uri="{FF2B5EF4-FFF2-40B4-BE49-F238E27FC236}">
                    <a16:creationId xmlns:a16="http://schemas.microsoft.com/office/drawing/2014/main" id="{8CF9C05D-DDE7-4606-AE78-C95A455B9DD0}"/>
                  </a:ext>
                </a:extLst>
              </p:cNvPr>
              <p:cNvSpPr/>
              <p:nvPr/>
            </p:nvSpPr>
            <p:spPr>
              <a:xfrm>
                <a:off x="9254433" y="1889925"/>
                <a:ext cx="96089" cy="41937"/>
              </a:xfrm>
              <a:custGeom>
                <a:avLst/>
                <a:gdLst>
                  <a:gd name="connsiteX0" fmla="*/ 0 w 96089"/>
                  <a:gd name="connsiteY0" fmla="*/ 41938 h 41937"/>
                  <a:gd name="connsiteX1" fmla="*/ 93036 w 96089"/>
                  <a:gd name="connsiteY1" fmla="*/ 21783 h 41937"/>
                  <a:gd name="connsiteX2" fmla="*/ 96090 w 96089"/>
                  <a:gd name="connsiteY2" fmla="*/ 0 h 41937"/>
                  <a:gd name="connsiteX3" fmla="*/ 3155 w 96089"/>
                  <a:gd name="connsiteY3" fmla="*/ 0 h 41937"/>
                  <a:gd name="connsiteX4" fmla="*/ 0 w 96089"/>
                  <a:gd name="connsiteY4" fmla="*/ 41938 h 41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089" h="41937">
                    <a:moveTo>
                      <a:pt x="0" y="41938"/>
                    </a:moveTo>
                    <a:lnTo>
                      <a:pt x="93036" y="21783"/>
                    </a:lnTo>
                    <a:lnTo>
                      <a:pt x="96090" y="0"/>
                    </a:lnTo>
                    <a:lnTo>
                      <a:pt x="3155" y="0"/>
                    </a:lnTo>
                    <a:lnTo>
                      <a:pt x="0" y="41938"/>
                    </a:lnTo>
                    <a:close/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27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9200280" y="1673010"/>
                <a:ext cx="127034" cy="153499"/>
                <a:chOff x="9200280" y="1673010"/>
                <a:chExt cx="127034" cy="153499"/>
              </a:xfrm>
            </p:grpSpPr>
            <p:sp>
              <p:nvSpPr>
                <p:cNvPr id="1028" name="Полилиния: фигура 1027">
                  <a:extLst>
                    <a:ext uri="{FF2B5EF4-FFF2-40B4-BE49-F238E27FC236}">
                      <a16:creationId xmlns:a16="http://schemas.microsoft.com/office/drawing/2014/main" id="{3A23E72E-C41B-489E-B3C9-7821EC100DF6}"/>
                    </a:ext>
                  </a:extLst>
                </p:cNvPr>
                <p:cNvSpPr/>
                <p:nvPr/>
              </p:nvSpPr>
              <p:spPr>
                <a:xfrm>
                  <a:off x="9200280" y="1673010"/>
                  <a:ext cx="127034" cy="153499"/>
                </a:xfrm>
                <a:custGeom>
                  <a:avLst/>
                  <a:gdLst>
                    <a:gd name="connsiteX0" fmla="*/ 127034 w 127034"/>
                    <a:gd name="connsiteY0" fmla="*/ 76750 h 153499"/>
                    <a:gd name="connsiteX1" fmla="*/ 63517 w 127034"/>
                    <a:gd name="connsiteY1" fmla="*/ 153500 h 153499"/>
                    <a:gd name="connsiteX2" fmla="*/ 0 w 127034"/>
                    <a:gd name="connsiteY2" fmla="*/ 76750 h 153499"/>
                    <a:gd name="connsiteX3" fmla="*/ 63517 w 127034"/>
                    <a:gd name="connsiteY3" fmla="*/ 0 h 153499"/>
                    <a:gd name="connsiteX4" fmla="*/ 127034 w 127034"/>
                    <a:gd name="connsiteY4" fmla="*/ 76750 h 153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7034" h="153499">
                      <a:moveTo>
                        <a:pt x="127034" y="76750"/>
                      </a:moveTo>
                      <a:cubicBezTo>
                        <a:pt x="127034" y="119095"/>
                        <a:pt x="98635" y="153500"/>
                        <a:pt x="63517" y="153500"/>
                      </a:cubicBezTo>
                      <a:cubicBezTo>
                        <a:pt x="28399" y="153500"/>
                        <a:pt x="0" y="119196"/>
                        <a:pt x="0" y="76750"/>
                      </a:cubicBezTo>
                      <a:cubicBezTo>
                        <a:pt x="0" y="34303"/>
                        <a:pt x="28399" y="0"/>
                        <a:pt x="63517" y="0"/>
                      </a:cubicBezTo>
                      <a:cubicBezTo>
                        <a:pt x="98635" y="0"/>
                        <a:pt x="127034" y="34303"/>
                        <a:pt x="127034" y="76750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9" name="Полилиния: фигура 1028">
                  <a:extLst>
                    <a:ext uri="{FF2B5EF4-FFF2-40B4-BE49-F238E27FC236}">
                      <a16:creationId xmlns:a16="http://schemas.microsoft.com/office/drawing/2014/main" id="{B72F7989-A465-4F44-ABCA-44B095D5579E}"/>
                    </a:ext>
                  </a:extLst>
                </p:cNvPr>
                <p:cNvSpPr/>
                <p:nvPr/>
              </p:nvSpPr>
              <p:spPr>
                <a:xfrm>
                  <a:off x="9222573" y="1707619"/>
                  <a:ext cx="66978" cy="84282"/>
                </a:xfrm>
                <a:custGeom>
                  <a:avLst/>
                  <a:gdLst>
                    <a:gd name="connsiteX0" fmla="*/ 66978 w 66978"/>
                    <a:gd name="connsiteY0" fmla="*/ 42141 h 84282"/>
                    <a:gd name="connsiteX1" fmla="*/ 33489 w 66978"/>
                    <a:gd name="connsiteY1" fmla="*/ 84282 h 84282"/>
                    <a:gd name="connsiteX2" fmla="*/ 0 w 66978"/>
                    <a:gd name="connsiteY2" fmla="*/ 42141 h 84282"/>
                    <a:gd name="connsiteX3" fmla="*/ 33489 w 66978"/>
                    <a:gd name="connsiteY3" fmla="*/ 0 h 84282"/>
                    <a:gd name="connsiteX4" fmla="*/ 66978 w 66978"/>
                    <a:gd name="connsiteY4" fmla="*/ 42141 h 842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978" h="84282">
                      <a:moveTo>
                        <a:pt x="66978" y="42141"/>
                      </a:moveTo>
                      <a:cubicBezTo>
                        <a:pt x="66978" y="65451"/>
                        <a:pt x="52015" y="84282"/>
                        <a:pt x="33489" y="84282"/>
                      </a:cubicBezTo>
                      <a:cubicBezTo>
                        <a:pt x="14963" y="84282"/>
                        <a:pt x="0" y="65451"/>
                        <a:pt x="0" y="42141"/>
                      </a:cubicBezTo>
                      <a:cubicBezTo>
                        <a:pt x="0" y="18831"/>
                        <a:pt x="14963" y="0"/>
                        <a:pt x="33489" y="0"/>
                      </a:cubicBezTo>
                      <a:cubicBezTo>
                        <a:pt x="52015" y="0"/>
                        <a:pt x="66978" y="18831"/>
                        <a:pt x="66978" y="42141"/>
                      </a:cubicBezTo>
                      <a:close/>
                    </a:path>
                  </a:pathLst>
                </a:custGeom>
                <a:solidFill>
                  <a:srgbClr val="006D3F"/>
                </a:solidFill>
                <a:ln w="10166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30" name="Полилиния: фигура 1029">
                  <a:extLst>
                    <a:ext uri="{FF2B5EF4-FFF2-40B4-BE49-F238E27FC236}">
                      <a16:creationId xmlns:a16="http://schemas.microsoft.com/office/drawing/2014/main" id="{CC231EBF-3BFC-49F7-899F-7F4BC1BE55FA}"/>
                    </a:ext>
                  </a:extLst>
                </p:cNvPr>
                <p:cNvSpPr/>
                <p:nvPr/>
              </p:nvSpPr>
              <p:spPr>
                <a:xfrm>
                  <a:off x="9271025" y="1697745"/>
                  <a:ext cx="36949" cy="104742"/>
                </a:xfrm>
                <a:custGeom>
                  <a:avLst/>
                  <a:gdLst>
                    <a:gd name="connsiteX0" fmla="*/ 2952 w 36949"/>
                    <a:gd name="connsiteY0" fmla="*/ 0 h 104742"/>
                    <a:gd name="connsiteX1" fmla="*/ 36950 w 36949"/>
                    <a:gd name="connsiteY1" fmla="*/ 52015 h 104742"/>
                    <a:gd name="connsiteX2" fmla="*/ 0 w 36949"/>
                    <a:gd name="connsiteY2" fmla="*/ 104742 h 104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6949" h="104742">
                      <a:moveTo>
                        <a:pt x="2952" y="0"/>
                      </a:moveTo>
                      <a:cubicBezTo>
                        <a:pt x="22496" y="5599"/>
                        <a:pt x="36950" y="26771"/>
                        <a:pt x="36950" y="52015"/>
                      </a:cubicBezTo>
                      <a:cubicBezTo>
                        <a:pt x="36950" y="78480"/>
                        <a:pt x="20969" y="100569"/>
                        <a:pt x="0" y="104742"/>
                      </a:cubicBezTo>
                    </a:path>
                  </a:pathLst>
                </a:custGeom>
                <a:noFill/>
                <a:ln w="10166" cap="rnd">
                  <a:solidFill>
                    <a:srgbClr val="92E3A9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031" name="Полилиния: фигура 1030">
                <a:extLst>
                  <a:ext uri="{FF2B5EF4-FFF2-40B4-BE49-F238E27FC236}">
                    <a16:creationId xmlns:a16="http://schemas.microsoft.com/office/drawing/2014/main" id="{78DC5F65-E9F6-43FE-8B6E-6EF7FB98A608}"/>
                  </a:ext>
                </a:extLst>
              </p:cNvPr>
              <p:cNvSpPr/>
              <p:nvPr/>
            </p:nvSpPr>
            <p:spPr>
              <a:xfrm>
                <a:off x="8899592" y="1742736"/>
                <a:ext cx="130189" cy="172025"/>
              </a:xfrm>
              <a:custGeom>
                <a:avLst/>
                <a:gdLst>
                  <a:gd name="connsiteX0" fmla="*/ 130190 w 130189"/>
                  <a:gd name="connsiteY0" fmla="*/ 155027 h 172025"/>
                  <a:gd name="connsiteX1" fmla="*/ 75936 w 130189"/>
                  <a:gd name="connsiteY1" fmla="*/ 172026 h 172025"/>
                  <a:gd name="connsiteX2" fmla="*/ 69726 w 130189"/>
                  <a:gd name="connsiteY2" fmla="*/ 34100 h 172025"/>
                  <a:gd name="connsiteX3" fmla="*/ 48045 w 130189"/>
                  <a:gd name="connsiteY3" fmla="*/ 0 h 172025"/>
                  <a:gd name="connsiteX4" fmla="*/ 0 w 130189"/>
                  <a:gd name="connsiteY4" fmla="*/ 16999 h 17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189" h="172025">
                    <a:moveTo>
                      <a:pt x="130190" y="155027"/>
                    </a:moveTo>
                    <a:lnTo>
                      <a:pt x="75936" y="172026"/>
                    </a:lnTo>
                    <a:lnTo>
                      <a:pt x="69726" y="34100"/>
                    </a:lnTo>
                    <a:lnTo>
                      <a:pt x="48045" y="0"/>
                    </a:lnTo>
                    <a:cubicBezTo>
                      <a:pt x="48045" y="0"/>
                      <a:pt x="10891" y="0"/>
                      <a:pt x="0" y="16999"/>
                    </a:cubicBezTo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2" name="Полилиния: фигура 1031">
                <a:extLst>
                  <a:ext uri="{FF2B5EF4-FFF2-40B4-BE49-F238E27FC236}">
                    <a16:creationId xmlns:a16="http://schemas.microsoft.com/office/drawing/2014/main" id="{C657A31B-A847-42B0-A2B1-C7F652E4BD64}"/>
                  </a:ext>
                </a:extLst>
              </p:cNvPr>
              <p:cNvSpPr/>
              <p:nvPr/>
            </p:nvSpPr>
            <p:spPr>
              <a:xfrm>
                <a:off x="8998736" y="1945706"/>
                <a:ext cx="65044" cy="26363"/>
              </a:xfrm>
              <a:custGeom>
                <a:avLst/>
                <a:gdLst>
                  <a:gd name="connsiteX0" fmla="*/ 0 w 65044"/>
                  <a:gd name="connsiteY0" fmla="*/ 26364 h 26363"/>
                  <a:gd name="connsiteX1" fmla="*/ 65044 w 65044"/>
                  <a:gd name="connsiteY1" fmla="*/ 0 h 26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5044" h="26363">
                    <a:moveTo>
                      <a:pt x="0" y="26364"/>
                    </a:moveTo>
                    <a:cubicBezTo>
                      <a:pt x="0" y="26364"/>
                      <a:pt x="43363" y="23310"/>
                      <a:pt x="65044" y="0"/>
                    </a:cubicBezTo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3" name="Полилиния: фигура 1032">
                <a:extLst>
                  <a:ext uri="{FF2B5EF4-FFF2-40B4-BE49-F238E27FC236}">
                    <a16:creationId xmlns:a16="http://schemas.microsoft.com/office/drawing/2014/main" id="{D707591A-AA7A-4767-B750-CB3ADD337C31}"/>
                  </a:ext>
                </a:extLst>
              </p:cNvPr>
              <p:cNvSpPr/>
              <p:nvPr/>
            </p:nvSpPr>
            <p:spPr>
              <a:xfrm>
                <a:off x="9064880" y="1755434"/>
                <a:ext cx="27381" cy="45858"/>
              </a:xfrm>
              <a:custGeom>
                <a:avLst/>
                <a:gdLst>
                  <a:gd name="connsiteX0" fmla="*/ 26689 w 27381"/>
                  <a:gd name="connsiteY0" fmla="*/ 20486 h 45858"/>
                  <a:gd name="connsiteX1" fmla="*/ 18037 w 27381"/>
                  <a:gd name="connsiteY1" fmla="*/ 45730 h 45858"/>
                  <a:gd name="connsiteX2" fmla="*/ 732 w 27381"/>
                  <a:gd name="connsiteY2" fmla="*/ 25372 h 45858"/>
                  <a:gd name="connsiteX3" fmla="*/ 9384 w 27381"/>
                  <a:gd name="connsiteY3" fmla="*/ 128 h 45858"/>
                  <a:gd name="connsiteX4" fmla="*/ 26689 w 27381"/>
                  <a:gd name="connsiteY4" fmla="*/ 20486 h 4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81" h="45858">
                    <a:moveTo>
                      <a:pt x="26689" y="20486"/>
                    </a:moveTo>
                    <a:cubicBezTo>
                      <a:pt x="29030" y="33108"/>
                      <a:pt x="25264" y="44407"/>
                      <a:pt x="18037" y="45730"/>
                    </a:cubicBezTo>
                    <a:cubicBezTo>
                      <a:pt x="10809" y="47054"/>
                      <a:pt x="3175" y="37994"/>
                      <a:pt x="732" y="25372"/>
                    </a:cubicBezTo>
                    <a:cubicBezTo>
                      <a:pt x="-1711" y="12750"/>
                      <a:pt x="2157" y="1452"/>
                      <a:pt x="9384" y="128"/>
                    </a:cubicBezTo>
                    <a:cubicBezTo>
                      <a:pt x="16510" y="-1195"/>
                      <a:pt x="24246" y="7864"/>
                      <a:pt x="26689" y="2048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4" name="Полилиния: фигура 1033">
                <a:extLst>
                  <a:ext uri="{FF2B5EF4-FFF2-40B4-BE49-F238E27FC236}">
                    <a16:creationId xmlns:a16="http://schemas.microsoft.com/office/drawing/2014/main" id="{2CBB3C30-6397-442E-BD4C-32B87B748EC6}"/>
                  </a:ext>
                </a:extLst>
              </p:cNvPr>
              <p:cNvSpPr/>
              <p:nvPr/>
            </p:nvSpPr>
            <p:spPr>
              <a:xfrm>
                <a:off x="8930822" y="1788006"/>
                <a:ext cx="27420" cy="45858"/>
              </a:xfrm>
              <a:custGeom>
                <a:avLst/>
                <a:gdLst>
                  <a:gd name="connsiteX0" fmla="*/ 26689 w 27420"/>
                  <a:gd name="connsiteY0" fmla="*/ 20486 h 45858"/>
                  <a:gd name="connsiteX1" fmla="*/ 18037 w 27420"/>
                  <a:gd name="connsiteY1" fmla="*/ 45730 h 45858"/>
                  <a:gd name="connsiteX2" fmla="*/ 732 w 27420"/>
                  <a:gd name="connsiteY2" fmla="*/ 25372 h 45858"/>
                  <a:gd name="connsiteX3" fmla="*/ 9384 w 27420"/>
                  <a:gd name="connsiteY3" fmla="*/ 128 h 45858"/>
                  <a:gd name="connsiteX4" fmla="*/ 26689 w 27420"/>
                  <a:gd name="connsiteY4" fmla="*/ 20486 h 4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20" h="45858">
                    <a:moveTo>
                      <a:pt x="26689" y="20486"/>
                    </a:moveTo>
                    <a:cubicBezTo>
                      <a:pt x="29132" y="33108"/>
                      <a:pt x="25264" y="44407"/>
                      <a:pt x="18037" y="45730"/>
                    </a:cubicBezTo>
                    <a:cubicBezTo>
                      <a:pt x="10911" y="47054"/>
                      <a:pt x="3175" y="37994"/>
                      <a:pt x="732" y="25372"/>
                    </a:cubicBezTo>
                    <a:cubicBezTo>
                      <a:pt x="-1711" y="12750"/>
                      <a:pt x="2157" y="1452"/>
                      <a:pt x="9384" y="128"/>
                    </a:cubicBezTo>
                    <a:cubicBezTo>
                      <a:pt x="16510" y="-1195"/>
                      <a:pt x="24246" y="7864"/>
                      <a:pt x="26689" y="20486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5" name="Полилиния: фигура 1034">
                <a:extLst>
                  <a:ext uri="{FF2B5EF4-FFF2-40B4-BE49-F238E27FC236}">
                    <a16:creationId xmlns:a16="http://schemas.microsoft.com/office/drawing/2014/main" id="{77CB4681-D2FA-4AEB-8240-3DCA40897761}"/>
                  </a:ext>
                </a:extLst>
              </p:cNvPr>
              <p:cNvSpPr/>
              <p:nvPr/>
            </p:nvSpPr>
            <p:spPr>
              <a:xfrm>
                <a:off x="9011154" y="1712863"/>
                <a:ext cx="113089" cy="20609"/>
              </a:xfrm>
              <a:custGeom>
                <a:avLst/>
                <a:gdLst>
                  <a:gd name="connsiteX0" fmla="*/ 0 w 113089"/>
                  <a:gd name="connsiteY0" fmla="*/ 20610 h 20609"/>
                  <a:gd name="connsiteX1" fmla="*/ 113089 w 113089"/>
                  <a:gd name="connsiteY1" fmla="*/ 3611 h 2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089" h="20609">
                    <a:moveTo>
                      <a:pt x="0" y="20610"/>
                    </a:moveTo>
                    <a:cubicBezTo>
                      <a:pt x="0" y="20610"/>
                      <a:pt x="63517" y="-10334"/>
                      <a:pt x="113089" y="3611"/>
                    </a:cubicBezTo>
                  </a:path>
                </a:pathLst>
              </a:custGeom>
              <a:noFill/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036" name="Полилиния: фигура 1035">
              <a:extLst>
                <a:ext uri="{FF2B5EF4-FFF2-40B4-BE49-F238E27FC236}">
                  <a16:creationId xmlns:a16="http://schemas.microsoft.com/office/drawing/2014/main" id="{9DCF0535-F4CF-4336-9AE8-D92270386EF6}"/>
                </a:ext>
              </a:extLst>
            </p:cNvPr>
            <p:cNvSpPr/>
            <p:nvPr/>
          </p:nvSpPr>
          <p:spPr>
            <a:xfrm>
              <a:off x="9163839" y="1945604"/>
              <a:ext cx="298042" cy="370109"/>
            </a:xfrm>
            <a:custGeom>
              <a:avLst/>
              <a:gdLst>
                <a:gd name="connsiteX0" fmla="*/ 252033 w 298042"/>
                <a:gd name="connsiteY0" fmla="*/ 0 h 370109"/>
                <a:gd name="connsiteX1" fmla="*/ 0 w 298042"/>
                <a:gd name="connsiteY1" fmla="*/ 282061 h 370109"/>
                <a:gd name="connsiteX2" fmla="*/ 58020 w 298042"/>
                <a:gd name="connsiteY2" fmla="*/ 370110 h 370109"/>
                <a:gd name="connsiteX3" fmla="*/ 298042 w 298042"/>
                <a:gd name="connsiteY3" fmla="*/ 74002 h 370109"/>
                <a:gd name="connsiteX4" fmla="*/ 252033 w 298042"/>
                <a:gd name="connsiteY4" fmla="*/ 0 h 370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042" h="370109">
                  <a:moveTo>
                    <a:pt x="252033" y="0"/>
                  </a:moveTo>
                  <a:lnTo>
                    <a:pt x="0" y="282061"/>
                  </a:lnTo>
                  <a:lnTo>
                    <a:pt x="58020" y="370110"/>
                  </a:lnTo>
                  <a:lnTo>
                    <a:pt x="298042" y="74002"/>
                  </a:lnTo>
                  <a:lnTo>
                    <a:pt x="252033" y="0"/>
                  </a:lnTo>
                  <a:close/>
                </a:path>
              </a:pathLst>
            </a:custGeom>
            <a:solidFill>
              <a:srgbClr val="FFFFFF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7" name="Полилиния: фигура 1036">
              <a:extLst>
                <a:ext uri="{FF2B5EF4-FFF2-40B4-BE49-F238E27FC236}">
                  <a16:creationId xmlns:a16="http://schemas.microsoft.com/office/drawing/2014/main" id="{09B2C259-8180-48EC-8CFD-168F2DE23A2C}"/>
                </a:ext>
              </a:extLst>
            </p:cNvPr>
            <p:cNvSpPr/>
            <p:nvPr/>
          </p:nvSpPr>
          <p:spPr>
            <a:xfrm>
              <a:off x="9367839" y="2892977"/>
              <a:ext cx="312470" cy="247838"/>
            </a:xfrm>
            <a:custGeom>
              <a:avLst/>
              <a:gdLst>
                <a:gd name="connsiteX0" fmla="*/ 9862 w 312470"/>
                <a:gd name="connsiteY0" fmla="*/ 35922 h 247838"/>
                <a:gd name="connsiteX1" fmla="*/ 9862 w 312470"/>
                <a:gd name="connsiteY1" fmla="*/ 173339 h 247838"/>
                <a:gd name="connsiteX2" fmla="*/ 206419 w 312470"/>
                <a:gd name="connsiteY2" fmla="*/ 235431 h 247838"/>
                <a:gd name="connsiteX3" fmla="*/ 302510 w 312470"/>
                <a:gd name="connsiteY3" fmla="*/ 99439 h 247838"/>
                <a:gd name="connsiteX4" fmla="*/ 311365 w 312470"/>
                <a:gd name="connsiteY4" fmla="*/ 51496 h 247838"/>
                <a:gd name="connsiteX5" fmla="*/ 9761 w 312470"/>
                <a:gd name="connsiteY5" fmla="*/ 35922 h 247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470" h="247838">
                  <a:moveTo>
                    <a:pt x="9862" y="35922"/>
                  </a:moveTo>
                  <a:cubicBezTo>
                    <a:pt x="9862" y="35922"/>
                    <a:pt x="-12328" y="109822"/>
                    <a:pt x="9862" y="173339"/>
                  </a:cubicBezTo>
                  <a:cubicBezTo>
                    <a:pt x="32053" y="236856"/>
                    <a:pt x="116335" y="266477"/>
                    <a:pt x="206419" y="235431"/>
                  </a:cubicBezTo>
                  <a:cubicBezTo>
                    <a:pt x="296606" y="204385"/>
                    <a:pt x="299558" y="139341"/>
                    <a:pt x="302510" y="99439"/>
                  </a:cubicBezTo>
                  <a:cubicBezTo>
                    <a:pt x="305462" y="59538"/>
                    <a:pt x="315844" y="68597"/>
                    <a:pt x="311365" y="51496"/>
                  </a:cubicBezTo>
                  <a:cubicBezTo>
                    <a:pt x="306886" y="34395"/>
                    <a:pt x="138424" y="-45408"/>
                    <a:pt x="9761" y="35922"/>
                  </a:cubicBezTo>
                  <a:close/>
                </a:path>
              </a:pathLst>
            </a:custGeom>
            <a:solidFill>
              <a:srgbClr val="E5E5E5"/>
            </a:solidFill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038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273649" y="2727920"/>
              <a:ext cx="465458" cy="247523"/>
              <a:chOff x="9273649" y="2727920"/>
              <a:chExt cx="465458" cy="247523"/>
            </a:xfrm>
          </p:grpSpPr>
          <p:sp>
            <p:nvSpPr>
              <p:cNvPr id="1039" name="Полилиния: фигура 1038">
                <a:extLst>
                  <a:ext uri="{FF2B5EF4-FFF2-40B4-BE49-F238E27FC236}">
                    <a16:creationId xmlns:a16="http://schemas.microsoft.com/office/drawing/2014/main" id="{B20EDC3A-36DD-4AB2-86C9-7CFA2F784B15}"/>
                  </a:ext>
                </a:extLst>
              </p:cNvPr>
              <p:cNvSpPr/>
              <p:nvPr/>
            </p:nvSpPr>
            <p:spPr>
              <a:xfrm>
                <a:off x="9273649" y="2755957"/>
                <a:ext cx="432261" cy="219485"/>
              </a:xfrm>
              <a:custGeom>
                <a:avLst/>
                <a:gdLst>
                  <a:gd name="connsiteX0" fmla="*/ 228542 w 432261"/>
                  <a:gd name="connsiteY0" fmla="*/ 0 h 219485"/>
                  <a:gd name="connsiteX1" fmla="*/ 179173 w 432261"/>
                  <a:gd name="connsiteY1" fmla="*/ 104131 h 219485"/>
                  <a:gd name="connsiteX2" fmla="*/ 123494 w 432261"/>
                  <a:gd name="connsiteY2" fmla="*/ 119400 h 219485"/>
                  <a:gd name="connsiteX3" fmla="*/ 94789 w 432261"/>
                  <a:gd name="connsiteY3" fmla="*/ 133753 h 219485"/>
                  <a:gd name="connsiteX4" fmla="*/ 19362 w 432261"/>
                  <a:gd name="connsiteY4" fmla="*/ 137315 h 219485"/>
                  <a:gd name="connsiteX5" fmla="*/ 55294 w 432261"/>
                  <a:gd name="connsiteY5" fmla="*/ 201036 h 219485"/>
                  <a:gd name="connsiteX6" fmla="*/ 154031 w 432261"/>
                  <a:gd name="connsiteY6" fmla="*/ 190246 h 219485"/>
                  <a:gd name="connsiteX7" fmla="*/ 238415 w 432261"/>
                  <a:gd name="connsiteY7" fmla="*/ 205515 h 219485"/>
                  <a:gd name="connsiteX8" fmla="*/ 301220 w 432261"/>
                  <a:gd name="connsiteY8" fmla="*/ 201036 h 219485"/>
                  <a:gd name="connsiteX9" fmla="*/ 364941 w 432261"/>
                  <a:gd name="connsiteY9" fmla="*/ 212742 h 219485"/>
                  <a:gd name="connsiteX10" fmla="*/ 415225 w 432261"/>
                  <a:gd name="connsiteY10" fmla="*/ 210095 h 219485"/>
                  <a:gd name="connsiteX11" fmla="*/ 431410 w 432261"/>
                  <a:gd name="connsiteY11" fmla="*/ 156248 h 219485"/>
                  <a:gd name="connsiteX12" fmla="*/ 347942 w 432261"/>
                  <a:gd name="connsiteY12" fmla="*/ 72780 h 219485"/>
                  <a:gd name="connsiteX13" fmla="*/ 251037 w 432261"/>
                  <a:gd name="connsiteY13" fmla="*/ 20765 h 219485"/>
                  <a:gd name="connsiteX14" fmla="*/ 228643 w 432261"/>
                  <a:gd name="connsiteY14" fmla="*/ 102 h 219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32261" h="219485">
                    <a:moveTo>
                      <a:pt x="228542" y="0"/>
                    </a:moveTo>
                    <a:cubicBezTo>
                      <a:pt x="228542" y="0"/>
                      <a:pt x="185484" y="97821"/>
                      <a:pt x="179173" y="104131"/>
                    </a:cubicBezTo>
                    <a:cubicBezTo>
                      <a:pt x="172862" y="110442"/>
                      <a:pt x="131637" y="113089"/>
                      <a:pt x="123494" y="119400"/>
                    </a:cubicBezTo>
                    <a:cubicBezTo>
                      <a:pt x="115452" y="125711"/>
                      <a:pt x="107309" y="131106"/>
                      <a:pt x="94789" y="133753"/>
                    </a:cubicBezTo>
                    <a:cubicBezTo>
                      <a:pt x="82269" y="136399"/>
                      <a:pt x="55294" y="147189"/>
                      <a:pt x="19362" y="137315"/>
                    </a:cubicBezTo>
                    <a:cubicBezTo>
                      <a:pt x="-16570" y="127441"/>
                      <a:pt x="-1301" y="192078"/>
                      <a:pt x="55294" y="201036"/>
                    </a:cubicBezTo>
                    <a:cubicBezTo>
                      <a:pt x="111890" y="209993"/>
                      <a:pt x="116369" y="200120"/>
                      <a:pt x="154031" y="190246"/>
                    </a:cubicBezTo>
                    <a:cubicBezTo>
                      <a:pt x="191693" y="180373"/>
                      <a:pt x="219584" y="199204"/>
                      <a:pt x="238415" y="205515"/>
                    </a:cubicBezTo>
                    <a:cubicBezTo>
                      <a:pt x="257246" y="211826"/>
                      <a:pt x="281472" y="201952"/>
                      <a:pt x="301220" y="201036"/>
                    </a:cubicBezTo>
                    <a:cubicBezTo>
                      <a:pt x="320967" y="200120"/>
                      <a:pt x="338882" y="203682"/>
                      <a:pt x="364941" y="212742"/>
                    </a:cubicBezTo>
                    <a:cubicBezTo>
                      <a:pt x="390999" y="221699"/>
                      <a:pt x="403519" y="222615"/>
                      <a:pt x="415225" y="210095"/>
                    </a:cubicBezTo>
                    <a:cubicBezTo>
                      <a:pt x="426931" y="197575"/>
                      <a:pt x="434972" y="181390"/>
                      <a:pt x="431410" y="156248"/>
                    </a:cubicBezTo>
                    <a:cubicBezTo>
                      <a:pt x="427847" y="131106"/>
                      <a:pt x="387436" y="96090"/>
                      <a:pt x="347942" y="72780"/>
                    </a:cubicBezTo>
                    <a:cubicBezTo>
                      <a:pt x="308447" y="49470"/>
                      <a:pt x="251037" y="20765"/>
                      <a:pt x="251037" y="20765"/>
                    </a:cubicBezTo>
                    <a:lnTo>
                      <a:pt x="228643" y="102"/>
                    </a:lnTo>
                    <a:close/>
                  </a:path>
                </a:pathLst>
              </a:custGeom>
              <a:solidFill>
                <a:srgbClr val="E5E5E5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0" name="Полилиния: фигура 1039">
                <a:extLst>
                  <a:ext uri="{FF2B5EF4-FFF2-40B4-BE49-F238E27FC236}">
                    <a16:creationId xmlns:a16="http://schemas.microsoft.com/office/drawing/2014/main" id="{BAC46F44-E43B-410D-B566-683E8009320B}"/>
                  </a:ext>
                </a:extLst>
              </p:cNvPr>
              <p:cNvSpPr/>
              <p:nvPr/>
            </p:nvSpPr>
            <p:spPr>
              <a:xfrm>
                <a:off x="9397143" y="2869857"/>
                <a:ext cx="42402" cy="76448"/>
              </a:xfrm>
              <a:custGeom>
                <a:avLst/>
                <a:gdLst>
                  <a:gd name="connsiteX0" fmla="*/ 0 w 42402"/>
                  <a:gd name="connsiteY0" fmla="*/ 5501 h 76448"/>
                  <a:gd name="connsiteX1" fmla="*/ 22394 w 42402"/>
                  <a:gd name="connsiteY1" fmla="*/ 76448 h 76448"/>
                  <a:gd name="connsiteX2" fmla="*/ 41225 w 42402"/>
                  <a:gd name="connsiteY2" fmla="*/ 73802 h 76448"/>
                  <a:gd name="connsiteX3" fmla="*/ 23310 w 42402"/>
                  <a:gd name="connsiteY3" fmla="*/ 207 h 76448"/>
                  <a:gd name="connsiteX4" fmla="*/ 0 w 42402"/>
                  <a:gd name="connsiteY4" fmla="*/ 5602 h 76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402" h="76448">
                    <a:moveTo>
                      <a:pt x="0" y="5501"/>
                    </a:moveTo>
                    <a:cubicBezTo>
                      <a:pt x="0" y="5501"/>
                      <a:pt x="29621" y="34205"/>
                      <a:pt x="22394" y="76448"/>
                    </a:cubicBezTo>
                    <a:lnTo>
                      <a:pt x="41225" y="73802"/>
                    </a:lnTo>
                    <a:cubicBezTo>
                      <a:pt x="41225" y="73802"/>
                      <a:pt x="49266" y="13644"/>
                      <a:pt x="23310" y="207"/>
                    </a:cubicBezTo>
                    <a:cubicBezTo>
                      <a:pt x="23310" y="207"/>
                      <a:pt x="6209" y="-1625"/>
                      <a:pt x="0" y="5602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1" name="Полилиния: фигура 1040">
                <a:extLst>
                  <a:ext uri="{FF2B5EF4-FFF2-40B4-BE49-F238E27FC236}">
                    <a16:creationId xmlns:a16="http://schemas.microsoft.com/office/drawing/2014/main" id="{40BC8F07-69D4-464D-9A49-6F08D65AC241}"/>
                  </a:ext>
                </a:extLst>
              </p:cNvPr>
              <p:cNvSpPr/>
              <p:nvPr/>
            </p:nvSpPr>
            <p:spPr>
              <a:xfrm>
                <a:off x="9463205" y="2756059"/>
                <a:ext cx="242825" cy="197676"/>
              </a:xfrm>
              <a:custGeom>
                <a:avLst/>
                <a:gdLst>
                  <a:gd name="connsiteX0" fmla="*/ 241854 w 242825"/>
                  <a:gd name="connsiteY0" fmla="*/ 156146 h 197676"/>
                  <a:gd name="connsiteX1" fmla="*/ 158386 w 242825"/>
                  <a:gd name="connsiteY1" fmla="*/ 72678 h 197676"/>
                  <a:gd name="connsiteX2" fmla="*/ 61481 w 242825"/>
                  <a:gd name="connsiteY2" fmla="*/ 20663 h 197676"/>
                  <a:gd name="connsiteX3" fmla="*/ 39088 w 242825"/>
                  <a:gd name="connsiteY3" fmla="*/ 0 h 197676"/>
                  <a:gd name="connsiteX4" fmla="*/ 0 w 242825"/>
                  <a:gd name="connsiteY4" fmla="*/ 85402 h 197676"/>
                  <a:gd name="connsiteX5" fmla="*/ 55272 w 242825"/>
                  <a:gd name="connsiteY5" fmla="*/ 127442 h 197676"/>
                  <a:gd name="connsiteX6" fmla="*/ 128866 w 242825"/>
                  <a:gd name="connsiteY6" fmla="*/ 139147 h 197676"/>
                  <a:gd name="connsiteX7" fmla="*/ 229435 w 242825"/>
                  <a:gd name="connsiteY7" fmla="*/ 197473 h 197676"/>
                  <a:gd name="connsiteX8" fmla="*/ 235034 w 242825"/>
                  <a:gd name="connsiteY8" fmla="*/ 197677 h 197676"/>
                  <a:gd name="connsiteX9" fmla="*/ 241956 w 242825"/>
                  <a:gd name="connsiteY9" fmla="*/ 156248 h 19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2825" h="197676">
                    <a:moveTo>
                      <a:pt x="241854" y="156146"/>
                    </a:moveTo>
                    <a:cubicBezTo>
                      <a:pt x="238291" y="131004"/>
                      <a:pt x="197880" y="95988"/>
                      <a:pt x="158386" y="72678"/>
                    </a:cubicBezTo>
                    <a:cubicBezTo>
                      <a:pt x="118891" y="49368"/>
                      <a:pt x="61481" y="20663"/>
                      <a:pt x="61481" y="20663"/>
                    </a:cubicBezTo>
                    <a:lnTo>
                      <a:pt x="39088" y="0"/>
                    </a:lnTo>
                    <a:cubicBezTo>
                      <a:pt x="39088" y="0"/>
                      <a:pt x="14760" y="55272"/>
                      <a:pt x="0" y="85402"/>
                    </a:cubicBezTo>
                    <a:cubicBezTo>
                      <a:pt x="7533" y="97922"/>
                      <a:pt x="25957" y="122861"/>
                      <a:pt x="55272" y="127442"/>
                    </a:cubicBezTo>
                    <a:cubicBezTo>
                      <a:pt x="94767" y="133753"/>
                      <a:pt x="103724" y="114921"/>
                      <a:pt x="128866" y="139147"/>
                    </a:cubicBezTo>
                    <a:cubicBezTo>
                      <a:pt x="154009" y="163374"/>
                      <a:pt x="197066" y="194827"/>
                      <a:pt x="229435" y="197473"/>
                    </a:cubicBezTo>
                    <a:cubicBezTo>
                      <a:pt x="231268" y="197677"/>
                      <a:pt x="233202" y="197677"/>
                      <a:pt x="235034" y="197677"/>
                    </a:cubicBezTo>
                    <a:cubicBezTo>
                      <a:pt x="241243" y="186989"/>
                      <a:pt x="244500" y="173858"/>
                      <a:pt x="241956" y="156248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66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42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9495152" y="2727920"/>
                <a:ext cx="243956" cy="245991"/>
                <a:chOff x="9495152" y="2727920"/>
                <a:chExt cx="243956" cy="245991"/>
              </a:xfrm>
              <a:solidFill>
                <a:srgbClr val="E5E5E5"/>
              </a:solidFill>
            </p:grpSpPr>
            <p:sp>
              <p:nvSpPr>
                <p:cNvPr id="1043" name="Полилиния: фигура 1042">
                  <a:extLst>
                    <a:ext uri="{FF2B5EF4-FFF2-40B4-BE49-F238E27FC236}">
                      <a16:creationId xmlns:a16="http://schemas.microsoft.com/office/drawing/2014/main" id="{CDFB7DFF-090C-40CB-96EB-1D9E93CD6D1F}"/>
                    </a:ext>
                  </a:extLst>
                </p:cNvPr>
                <p:cNvSpPr/>
                <p:nvPr/>
              </p:nvSpPr>
              <p:spPr>
                <a:xfrm>
                  <a:off x="9495152" y="2727920"/>
                  <a:ext cx="68825" cy="142823"/>
                </a:xfrm>
                <a:custGeom>
                  <a:avLst/>
                  <a:gdLst>
                    <a:gd name="connsiteX0" fmla="*/ 66077 w 68825"/>
                    <a:gd name="connsiteY0" fmla="*/ 29361 h 142823"/>
                    <a:gd name="connsiteX1" fmla="*/ 41851 w 68825"/>
                    <a:gd name="connsiteY1" fmla="*/ 554 h 142823"/>
                    <a:gd name="connsiteX2" fmla="*/ 14775 w 68825"/>
                    <a:gd name="connsiteY2" fmla="*/ 11955 h 142823"/>
                    <a:gd name="connsiteX3" fmla="*/ 4799 w 68825"/>
                    <a:gd name="connsiteY3" fmla="*/ 100003 h 142823"/>
                    <a:gd name="connsiteX4" fmla="*/ 40833 w 68825"/>
                    <a:gd name="connsiteY4" fmla="*/ 142043 h 142823"/>
                    <a:gd name="connsiteX5" fmla="*/ 68825 w 68825"/>
                    <a:gd name="connsiteY5" fmla="*/ 90028 h 142823"/>
                    <a:gd name="connsiteX6" fmla="*/ 66179 w 68825"/>
                    <a:gd name="connsiteY6" fmla="*/ 29462 h 142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8825" h="142823">
                      <a:moveTo>
                        <a:pt x="66077" y="29361"/>
                      </a:moveTo>
                      <a:cubicBezTo>
                        <a:pt x="64957" y="15517"/>
                        <a:pt x="55389" y="3302"/>
                        <a:pt x="41851" y="554"/>
                      </a:cubicBezTo>
                      <a:cubicBezTo>
                        <a:pt x="33300" y="-1177"/>
                        <a:pt x="23529" y="758"/>
                        <a:pt x="14775" y="11955"/>
                      </a:cubicBezTo>
                      <a:cubicBezTo>
                        <a:pt x="-7212" y="39947"/>
                        <a:pt x="728" y="81986"/>
                        <a:pt x="4799" y="100003"/>
                      </a:cubicBezTo>
                      <a:cubicBezTo>
                        <a:pt x="8769" y="118020"/>
                        <a:pt x="18846" y="148048"/>
                        <a:pt x="40833" y="142043"/>
                      </a:cubicBezTo>
                      <a:cubicBezTo>
                        <a:pt x="62820" y="136037"/>
                        <a:pt x="68825" y="126061"/>
                        <a:pt x="68825" y="90028"/>
                      </a:cubicBezTo>
                      <a:cubicBezTo>
                        <a:pt x="68825" y="67939"/>
                        <a:pt x="67298" y="44324"/>
                        <a:pt x="66179" y="29462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4" name="Полилиния: фигура 1043">
                  <a:extLst>
                    <a:ext uri="{FF2B5EF4-FFF2-40B4-BE49-F238E27FC236}">
                      <a16:creationId xmlns:a16="http://schemas.microsoft.com/office/drawing/2014/main" id="{A2CAB357-5C5B-46D9-9ACD-61AE74996AE4}"/>
                    </a:ext>
                  </a:extLst>
                </p:cNvPr>
                <p:cNvSpPr/>
                <p:nvPr/>
              </p:nvSpPr>
              <p:spPr>
                <a:xfrm>
                  <a:off x="9570579" y="2758457"/>
                  <a:ext cx="68825" cy="142823"/>
                </a:xfrm>
                <a:custGeom>
                  <a:avLst/>
                  <a:gdLst>
                    <a:gd name="connsiteX0" fmla="*/ 66077 w 68825"/>
                    <a:gd name="connsiteY0" fmla="*/ 29361 h 142823"/>
                    <a:gd name="connsiteX1" fmla="*/ 41851 w 68825"/>
                    <a:gd name="connsiteY1" fmla="*/ 554 h 142823"/>
                    <a:gd name="connsiteX2" fmla="*/ 14775 w 68825"/>
                    <a:gd name="connsiteY2" fmla="*/ 11955 h 142823"/>
                    <a:gd name="connsiteX3" fmla="*/ 4799 w 68825"/>
                    <a:gd name="connsiteY3" fmla="*/ 100003 h 142823"/>
                    <a:gd name="connsiteX4" fmla="*/ 40833 w 68825"/>
                    <a:gd name="connsiteY4" fmla="*/ 142043 h 142823"/>
                    <a:gd name="connsiteX5" fmla="*/ 68826 w 68825"/>
                    <a:gd name="connsiteY5" fmla="*/ 90028 h 142823"/>
                    <a:gd name="connsiteX6" fmla="*/ 66179 w 68825"/>
                    <a:gd name="connsiteY6" fmla="*/ 29462 h 142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8825" h="142823">
                      <a:moveTo>
                        <a:pt x="66077" y="29361"/>
                      </a:moveTo>
                      <a:cubicBezTo>
                        <a:pt x="64957" y="15517"/>
                        <a:pt x="55389" y="3302"/>
                        <a:pt x="41851" y="554"/>
                      </a:cubicBezTo>
                      <a:cubicBezTo>
                        <a:pt x="33300" y="-1177"/>
                        <a:pt x="23529" y="758"/>
                        <a:pt x="14775" y="11955"/>
                      </a:cubicBezTo>
                      <a:cubicBezTo>
                        <a:pt x="-7212" y="39947"/>
                        <a:pt x="728" y="81986"/>
                        <a:pt x="4799" y="100003"/>
                      </a:cubicBezTo>
                      <a:cubicBezTo>
                        <a:pt x="8769" y="118020"/>
                        <a:pt x="18846" y="148048"/>
                        <a:pt x="40833" y="142043"/>
                      </a:cubicBezTo>
                      <a:cubicBezTo>
                        <a:pt x="62820" y="136037"/>
                        <a:pt x="68826" y="126061"/>
                        <a:pt x="68826" y="90028"/>
                      </a:cubicBezTo>
                      <a:cubicBezTo>
                        <a:pt x="68826" y="67939"/>
                        <a:pt x="67298" y="44324"/>
                        <a:pt x="66179" y="29462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5" name="Полилиния: фигура 1044">
                  <a:extLst>
                    <a:ext uri="{FF2B5EF4-FFF2-40B4-BE49-F238E27FC236}">
                      <a16:creationId xmlns:a16="http://schemas.microsoft.com/office/drawing/2014/main" id="{0A4296AC-D8F5-4C83-827E-67E1968A3EA2}"/>
                    </a:ext>
                  </a:extLst>
                </p:cNvPr>
                <p:cNvSpPr/>
                <p:nvPr/>
              </p:nvSpPr>
              <p:spPr>
                <a:xfrm>
                  <a:off x="9697934" y="2858880"/>
                  <a:ext cx="41174" cy="115031"/>
                </a:xfrm>
                <a:custGeom>
                  <a:avLst/>
                  <a:gdLst>
                    <a:gd name="connsiteX0" fmla="*/ 8957 w 41174"/>
                    <a:gd name="connsiteY0" fmla="*/ 293 h 115031"/>
                    <a:gd name="connsiteX1" fmla="*/ 39494 w 41174"/>
                    <a:gd name="connsiteY1" fmla="*/ 21873 h 115031"/>
                    <a:gd name="connsiteX2" fmla="*/ 26974 w 41174"/>
                    <a:gd name="connsiteY2" fmla="*/ 114298 h 115031"/>
                    <a:gd name="connsiteX3" fmla="*/ 2748 w 41174"/>
                    <a:gd name="connsiteY3" fmla="*/ 94551 h 115031"/>
                    <a:gd name="connsiteX4" fmla="*/ 916 w 41174"/>
                    <a:gd name="connsiteY4" fmla="*/ 67577 h 115031"/>
                    <a:gd name="connsiteX5" fmla="*/ 0 w 41174"/>
                    <a:gd name="connsiteY5" fmla="*/ 2024 h 115031"/>
                    <a:gd name="connsiteX6" fmla="*/ 8957 w 41174"/>
                    <a:gd name="connsiteY6" fmla="*/ 191 h 115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174" h="115031">
                      <a:moveTo>
                        <a:pt x="8957" y="293"/>
                      </a:moveTo>
                      <a:cubicBezTo>
                        <a:pt x="8957" y="293"/>
                        <a:pt x="38578" y="-4186"/>
                        <a:pt x="39494" y="21873"/>
                      </a:cubicBezTo>
                      <a:cubicBezTo>
                        <a:pt x="40410" y="47931"/>
                        <a:pt x="46722" y="110736"/>
                        <a:pt x="26974" y="114298"/>
                      </a:cubicBezTo>
                      <a:cubicBezTo>
                        <a:pt x="7227" y="117861"/>
                        <a:pt x="2748" y="107987"/>
                        <a:pt x="2748" y="94551"/>
                      </a:cubicBezTo>
                      <a:cubicBezTo>
                        <a:pt x="2748" y="81115"/>
                        <a:pt x="916" y="67577"/>
                        <a:pt x="916" y="67577"/>
                      </a:cubicBezTo>
                      <a:lnTo>
                        <a:pt x="0" y="2024"/>
                      </a:lnTo>
                      <a:lnTo>
                        <a:pt x="8957" y="191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6" name="Полилиния: фигура 1045">
                  <a:extLst>
                    <a:ext uri="{FF2B5EF4-FFF2-40B4-BE49-F238E27FC236}">
                      <a16:creationId xmlns:a16="http://schemas.microsoft.com/office/drawing/2014/main" id="{F8EDB0DC-02DF-46CF-9E86-094E585757CD}"/>
                    </a:ext>
                  </a:extLst>
                </p:cNvPr>
                <p:cNvSpPr/>
                <p:nvPr/>
              </p:nvSpPr>
              <p:spPr>
                <a:xfrm>
                  <a:off x="9644126" y="2822447"/>
                  <a:ext cx="59202" cy="122808"/>
                </a:xfrm>
                <a:custGeom>
                  <a:avLst/>
                  <a:gdLst>
                    <a:gd name="connsiteX0" fmla="*/ 56861 w 59202"/>
                    <a:gd name="connsiteY0" fmla="*/ 25224 h 122808"/>
                    <a:gd name="connsiteX1" fmla="*/ 35994 w 59202"/>
                    <a:gd name="connsiteY1" fmla="*/ 489 h 122808"/>
                    <a:gd name="connsiteX2" fmla="*/ 12684 w 59202"/>
                    <a:gd name="connsiteY2" fmla="*/ 10261 h 122808"/>
                    <a:gd name="connsiteX3" fmla="*/ 4134 w 59202"/>
                    <a:gd name="connsiteY3" fmla="*/ 85993 h 122808"/>
                    <a:gd name="connsiteX4" fmla="*/ 35078 w 59202"/>
                    <a:gd name="connsiteY4" fmla="*/ 122128 h 122808"/>
                    <a:gd name="connsiteX5" fmla="*/ 59202 w 59202"/>
                    <a:gd name="connsiteY5" fmla="*/ 77442 h 122808"/>
                    <a:gd name="connsiteX6" fmla="*/ 56861 w 59202"/>
                    <a:gd name="connsiteY6" fmla="*/ 25326 h 1228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202" h="122808">
                      <a:moveTo>
                        <a:pt x="56861" y="25224"/>
                      </a:moveTo>
                      <a:cubicBezTo>
                        <a:pt x="55945" y="13314"/>
                        <a:pt x="47700" y="2830"/>
                        <a:pt x="35994" y="489"/>
                      </a:cubicBezTo>
                      <a:cubicBezTo>
                        <a:pt x="28665" y="-1038"/>
                        <a:pt x="20217" y="692"/>
                        <a:pt x="12684" y="10261"/>
                      </a:cubicBezTo>
                      <a:cubicBezTo>
                        <a:pt x="-6249" y="34385"/>
                        <a:pt x="673" y="70419"/>
                        <a:pt x="4134" y="85993"/>
                      </a:cubicBezTo>
                      <a:cubicBezTo>
                        <a:pt x="7595" y="101567"/>
                        <a:pt x="16145" y="127320"/>
                        <a:pt x="35078" y="122128"/>
                      </a:cubicBezTo>
                      <a:cubicBezTo>
                        <a:pt x="54011" y="116937"/>
                        <a:pt x="59202" y="108387"/>
                        <a:pt x="59202" y="77442"/>
                      </a:cubicBezTo>
                      <a:cubicBezTo>
                        <a:pt x="59202" y="58408"/>
                        <a:pt x="57879" y="38151"/>
                        <a:pt x="56861" y="25326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1047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9515287" y="4696753"/>
            <a:ext cx="886186" cy="667846"/>
            <a:chOff x="9905484" y="4620553"/>
            <a:chExt cx="886186" cy="667846"/>
          </a:xfrm>
        </p:grpSpPr>
        <p:sp>
          <p:nvSpPr>
            <p:cNvPr id="1048" name="Полилиния: фигура 1047">
              <a:extLst>
                <a:ext uri="{FF2B5EF4-FFF2-40B4-BE49-F238E27FC236}">
                  <a16:creationId xmlns:a16="http://schemas.microsoft.com/office/drawing/2014/main" id="{1866794C-9197-43C7-AF23-33910F0B3891}"/>
                </a:ext>
              </a:extLst>
            </p:cNvPr>
            <p:cNvSpPr/>
            <p:nvPr/>
          </p:nvSpPr>
          <p:spPr>
            <a:xfrm>
              <a:off x="9905484" y="4620553"/>
              <a:ext cx="886186" cy="667846"/>
            </a:xfrm>
            <a:custGeom>
              <a:avLst/>
              <a:gdLst>
                <a:gd name="connsiteX0" fmla="*/ 862470 w 886186"/>
                <a:gd name="connsiteY0" fmla="*/ 0 h 667846"/>
                <a:gd name="connsiteX1" fmla="*/ 886187 w 886186"/>
                <a:gd name="connsiteY1" fmla="*/ 23717 h 667846"/>
                <a:gd name="connsiteX2" fmla="*/ 886187 w 886186"/>
                <a:gd name="connsiteY2" fmla="*/ 644129 h 667846"/>
                <a:gd name="connsiteX3" fmla="*/ 862470 w 886186"/>
                <a:gd name="connsiteY3" fmla="*/ 667847 h 667846"/>
                <a:gd name="connsiteX4" fmla="*/ 23717 w 886186"/>
                <a:gd name="connsiteY4" fmla="*/ 667847 h 667846"/>
                <a:gd name="connsiteX5" fmla="*/ 0 w 886186"/>
                <a:gd name="connsiteY5" fmla="*/ 644129 h 667846"/>
                <a:gd name="connsiteX6" fmla="*/ 0 w 886186"/>
                <a:gd name="connsiteY6" fmla="*/ 23717 h 667846"/>
                <a:gd name="connsiteX7" fmla="*/ 23717 w 886186"/>
                <a:gd name="connsiteY7" fmla="*/ 0 h 667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6186" h="667846">
                  <a:moveTo>
                    <a:pt x="862470" y="0"/>
                  </a:moveTo>
                  <a:cubicBezTo>
                    <a:pt x="875568" y="0"/>
                    <a:pt x="886187" y="10619"/>
                    <a:pt x="886187" y="23717"/>
                  </a:cubicBezTo>
                  <a:lnTo>
                    <a:pt x="886187" y="644129"/>
                  </a:lnTo>
                  <a:cubicBezTo>
                    <a:pt x="886187" y="657228"/>
                    <a:pt x="875568" y="667847"/>
                    <a:pt x="862470" y="667847"/>
                  </a:cubicBezTo>
                  <a:lnTo>
                    <a:pt x="23717" y="667847"/>
                  </a:lnTo>
                  <a:cubicBezTo>
                    <a:pt x="10619" y="667847"/>
                    <a:pt x="0" y="657228"/>
                    <a:pt x="0" y="644129"/>
                  </a:cubicBezTo>
                  <a:lnTo>
                    <a:pt x="0" y="23717"/>
                  </a:lnTo>
                  <a:cubicBezTo>
                    <a:pt x="0" y="10618"/>
                    <a:pt x="10619" y="0"/>
                    <a:pt x="23717" y="0"/>
                  </a:cubicBez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049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946607" y="5225900"/>
              <a:ext cx="832034" cy="12316"/>
              <a:chOff x="9946607" y="5225900"/>
              <a:chExt cx="832034" cy="12316"/>
            </a:xfrm>
          </p:grpSpPr>
          <p:sp>
            <p:nvSpPr>
              <p:cNvPr id="1050" name="Полилиния: фигура 1049">
                <a:extLst>
                  <a:ext uri="{FF2B5EF4-FFF2-40B4-BE49-F238E27FC236}">
                    <a16:creationId xmlns:a16="http://schemas.microsoft.com/office/drawing/2014/main" id="{F1DE76A6-3767-4235-A984-1B276725BD2F}"/>
                  </a:ext>
                </a:extLst>
              </p:cNvPr>
              <p:cNvSpPr/>
              <p:nvPr/>
            </p:nvSpPr>
            <p:spPr>
              <a:xfrm>
                <a:off x="9946607" y="5225900"/>
                <a:ext cx="832034" cy="10179"/>
              </a:xfrm>
              <a:custGeom>
                <a:avLst/>
                <a:gdLst>
                  <a:gd name="connsiteX0" fmla="*/ 0 w 832034"/>
                  <a:gd name="connsiteY0" fmla="*/ 0 h 10179"/>
                  <a:gd name="connsiteX1" fmla="*/ 832034 w 832034"/>
                  <a:gd name="connsiteY1" fmla="*/ 0 h 1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2034" h="10179">
                    <a:moveTo>
                      <a:pt x="0" y="0"/>
                    </a:moveTo>
                    <a:lnTo>
                      <a:pt x="832034" y="0"/>
                    </a:lnTo>
                  </a:path>
                </a:pathLst>
              </a:custGeom>
              <a:ln w="508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51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9946607" y="5225900"/>
                <a:ext cx="832034" cy="12316"/>
                <a:chOff x="9946607" y="5225900"/>
                <a:chExt cx="832034" cy="12316"/>
              </a:xfrm>
            </p:grpSpPr>
            <p:sp>
              <p:nvSpPr>
                <p:cNvPr id="1052" name="Полилиния: фигура 1051">
                  <a:extLst>
                    <a:ext uri="{FF2B5EF4-FFF2-40B4-BE49-F238E27FC236}">
                      <a16:creationId xmlns:a16="http://schemas.microsoft.com/office/drawing/2014/main" id="{D62FBA66-44D0-41F7-8DD0-B96032ED28D4}"/>
                    </a:ext>
                  </a:extLst>
                </p:cNvPr>
                <p:cNvSpPr/>
                <p:nvPr/>
              </p:nvSpPr>
              <p:spPr>
                <a:xfrm>
                  <a:off x="9946607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3" name="Полилиния: фигура 1052">
                  <a:extLst>
                    <a:ext uri="{FF2B5EF4-FFF2-40B4-BE49-F238E27FC236}">
                      <a16:creationId xmlns:a16="http://schemas.microsoft.com/office/drawing/2014/main" id="{BD56D4A2-2802-442B-B8DE-3010A7EF2F51}"/>
                    </a:ext>
                  </a:extLst>
                </p:cNvPr>
                <p:cNvSpPr/>
                <p:nvPr/>
              </p:nvSpPr>
              <p:spPr>
                <a:xfrm>
                  <a:off x="10002083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4" name="Полилиния: фигура 1053">
                  <a:extLst>
                    <a:ext uri="{FF2B5EF4-FFF2-40B4-BE49-F238E27FC236}">
                      <a16:creationId xmlns:a16="http://schemas.microsoft.com/office/drawing/2014/main" id="{FDCA99E5-6507-4C90-808D-787EB3F696F7}"/>
                    </a:ext>
                  </a:extLst>
                </p:cNvPr>
                <p:cNvSpPr/>
                <p:nvPr/>
              </p:nvSpPr>
              <p:spPr>
                <a:xfrm>
                  <a:off x="10057559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5" name="Полилиния: фигура 1054">
                  <a:extLst>
                    <a:ext uri="{FF2B5EF4-FFF2-40B4-BE49-F238E27FC236}">
                      <a16:creationId xmlns:a16="http://schemas.microsoft.com/office/drawing/2014/main" id="{045EB3D2-014A-4776-A186-387895882EDB}"/>
                    </a:ext>
                  </a:extLst>
                </p:cNvPr>
                <p:cNvSpPr/>
                <p:nvPr/>
              </p:nvSpPr>
              <p:spPr>
                <a:xfrm>
                  <a:off x="10113034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6" name="Полилиния: фигура 1055">
                  <a:extLst>
                    <a:ext uri="{FF2B5EF4-FFF2-40B4-BE49-F238E27FC236}">
                      <a16:creationId xmlns:a16="http://schemas.microsoft.com/office/drawing/2014/main" id="{1BCD7307-6AA6-4010-936B-987DF51649C0}"/>
                    </a:ext>
                  </a:extLst>
                </p:cNvPr>
                <p:cNvSpPr/>
                <p:nvPr/>
              </p:nvSpPr>
              <p:spPr>
                <a:xfrm>
                  <a:off x="10168510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7" name="Полилиния: фигура 1056">
                  <a:extLst>
                    <a:ext uri="{FF2B5EF4-FFF2-40B4-BE49-F238E27FC236}">
                      <a16:creationId xmlns:a16="http://schemas.microsoft.com/office/drawing/2014/main" id="{4263252D-B6BA-47CF-AED0-88423F5B832C}"/>
                    </a:ext>
                  </a:extLst>
                </p:cNvPr>
                <p:cNvSpPr/>
                <p:nvPr/>
              </p:nvSpPr>
              <p:spPr>
                <a:xfrm>
                  <a:off x="10223986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8" name="Полилиния: фигура 1057">
                  <a:extLst>
                    <a:ext uri="{FF2B5EF4-FFF2-40B4-BE49-F238E27FC236}">
                      <a16:creationId xmlns:a16="http://schemas.microsoft.com/office/drawing/2014/main" id="{BE646973-E83C-4BAA-8F62-F604622601AA}"/>
                    </a:ext>
                  </a:extLst>
                </p:cNvPr>
                <p:cNvSpPr/>
                <p:nvPr/>
              </p:nvSpPr>
              <p:spPr>
                <a:xfrm>
                  <a:off x="10279462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9" name="Полилиния: фигура 1058">
                  <a:extLst>
                    <a:ext uri="{FF2B5EF4-FFF2-40B4-BE49-F238E27FC236}">
                      <a16:creationId xmlns:a16="http://schemas.microsoft.com/office/drawing/2014/main" id="{B09D4F4A-736C-4476-88A9-1B0F9BE543DD}"/>
                    </a:ext>
                  </a:extLst>
                </p:cNvPr>
                <p:cNvSpPr/>
                <p:nvPr/>
              </p:nvSpPr>
              <p:spPr>
                <a:xfrm>
                  <a:off x="10334937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0" name="Полилиния: фигура 1059">
                  <a:extLst>
                    <a:ext uri="{FF2B5EF4-FFF2-40B4-BE49-F238E27FC236}">
                      <a16:creationId xmlns:a16="http://schemas.microsoft.com/office/drawing/2014/main" id="{6ED68100-AE3A-4948-ACD0-F477CE452953}"/>
                    </a:ext>
                  </a:extLst>
                </p:cNvPr>
                <p:cNvSpPr/>
                <p:nvPr/>
              </p:nvSpPr>
              <p:spPr>
                <a:xfrm>
                  <a:off x="10390311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1" name="Полилиния: фигура 1060">
                  <a:extLst>
                    <a:ext uri="{FF2B5EF4-FFF2-40B4-BE49-F238E27FC236}">
                      <a16:creationId xmlns:a16="http://schemas.microsoft.com/office/drawing/2014/main" id="{D757EF11-1FBB-447F-941B-EF03D0A9142B}"/>
                    </a:ext>
                  </a:extLst>
                </p:cNvPr>
                <p:cNvSpPr/>
                <p:nvPr/>
              </p:nvSpPr>
              <p:spPr>
                <a:xfrm>
                  <a:off x="10445787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2" name="Полилиния: фигура 1061">
                  <a:extLst>
                    <a:ext uri="{FF2B5EF4-FFF2-40B4-BE49-F238E27FC236}">
                      <a16:creationId xmlns:a16="http://schemas.microsoft.com/office/drawing/2014/main" id="{A933D023-8907-4EB1-AA66-224354515A75}"/>
                    </a:ext>
                  </a:extLst>
                </p:cNvPr>
                <p:cNvSpPr/>
                <p:nvPr/>
              </p:nvSpPr>
              <p:spPr>
                <a:xfrm>
                  <a:off x="10501263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3" name="Полилиния: фигура 1062">
                  <a:extLst>
                    <a:ext uri="{FF2B5EF4-FFF2-40B4-BE49-F238E27FC236}">
                      <a16:creationId xmlns:a16="http://schemas.microsoft.com/office/drawing/2014/main" id="{1CB2CCF7-2284-479E-8C48-EE2ACC9BC009}"/>
                    </a:ext>
                  </a:extLst>
                </p:cNvPr>
                <p:cNvSpPr/>
                <p:nvPr/>
              </p:nvSpPr>
              <p:spPr>
                <a:xfrm>
                  <a:off x="10556739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4" name="Полилиния: фигура 1063">
                  <a:extLst>
                    <a:ext uri="{FF2B5EF4-FFF2-40B4-BE49-F238E27FC236}">
                      <a16:creationId xmlns:a16="http://schemas.microsoft.com/office/drawing/2014/main" id="{B5B867D5-3E8E-4344-B863-D6E2227810C7}"/>
                    </a:ext>
                  </a:extLst>
                </p:cNvPr>
                <p:cNvSpPr/>
                <p:nvPr/>
              </p:nvSpPr>
              <p:spPr>
                <a:xfrm>
                  <a:off x="10612214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5" name="Полилиния: фигура 1064">
                  <a:extLst>
                    <a:ext uri="{FF2B5EF4-FFF2-40B4-BE49-F238E27FC236}">
                      <a16:creationId xmlns:a16="http://schemas.microsoft.com/office/drawing/2014/main" id="{7F2DD8D1-CB76-48DA-9BC5-01980A4653C5}"/>
                    </a:ext>
                  </a:extLst>
                </p:cNvPr>
                <p:cNvSpPr/>
                <p:nvPr/>
              </p:nvSpPr>
              <p:spPr>
                <a:xfrm>
                  <a:off x="10667690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6" name="Полилиния: фигура 1065">
                  <a:extLst>
                    <a:ext uri="{FF2B5EF4-FFF2-40B4-BE49-F238E27FC236}">
                      <a16:creationId xmlns:a16="http://schemas.microsoft.com/office/drawing/2014/main" id="{31CC8AF2-0798-4028-B000-EC884DF6DD4C}"/>
                    </a:ext>
                  </a:extLst>
                </p:cNvPr>
                <p:cNvSpPr/>
                <p:nvPr/>
              </p:nvSpPr>
              <p:spPr>
                <a:xfrm>
                  <a:off x="10723166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7" name="Полилиния: фигура 1066">
                  <a:extLst>
                    <a:ext uri="{FF2B5EF4-FFF2-40B4-BE49-F238E27FC236}">
                      <a16:creationId xmlns:a16="http://schemas.microsoft.com/office/drawing/2014/main" id="{6833CC73-4C77-41CF-B6CE-C1A6D5FFA685}"/>
                    </a:ext>
                  </a:extLst>
                </p:cNvPr>
                <p:cNvSpPr/>
                <p:nvPr/>
              </p:nvSpPr>
              <p:spPr>
                <a:xfrm>
                  <a:off x="10778642" y="5225900"/>
                  <a:ext cx="10179" cy="12316"/>
                </a:xfrm>
                <a:custGeom>
                  <a:avLst/>
                  <a:gdLst>
                    <a:gd name="connsiteX0" fmla="*/ 0 w 10179"/>
                    <a:gd name="connsiteY0" fmla="*/ 0 h 12316"/>
                    <a:gd name="connsiteX1" fmla="*/ 0 w 10179"/>
                    <a:gd name="connsiteY1" fmla="*/ 12317 h 12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316">
                      <a:moveTo>
                        <a:pt x="0" y="0"/>
                      </a:moveTo>
                      <a:lnTo>
                        <a:pt x="0" y="12317"/>
                      </a:lnTo>
                    </a:path>
                  </a:pathLst>
                </a:custGeom>
                <a:ln w="5083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1068" name="Полилиния: фигура 1067">
              <a:extLst>
                <a:ext uri="{FF2B5EF4-FFF2-40B4-BE49-F238E27FC236}">
                  <a16:creationId xmlns:a16="http://schemas.microsoft.com/office/drawing/2014/main" id="{F808C69C-DEB5-4EA9-8460-F14FE5B054A8}"/>
                </a:ext>
              </a:extLst>
            </p:cNvPr>
            <p:cNvSpPr/>
            <p:nvPr/>
          </p:nvSpPr>
          <p:spPr>
            <a:xfrm>
              <a:off x="9974396" y="4679146"/>
              <a:ext cx="776558" cy="536779"/>
            </a:xfrm>
            <a:custGeom>
              <a:avLst/>
              <a:gdLst>
                <a:gd name="connsiteX0" fmla="*/ 0 w 776558"/>
                <a:gd name="connsiteY0" fmla="*/ 536779 h 536779"/>
                <a:gd name="connsiteX1" fmla="*/ 776559 w 776558"/>
                <a:gd name="connsiteY1" fmla="*/ 536779 h 536779"/>
                <a:gd name="connsiteX2" fmla="*/ 776559 w 776558"/>
                <a:gd name="connsiteY2" fmla="*/ 429391 h 536779"/>
                <a:gd name="connsiteX3" fmla="*/ 721694 w 776558"/>
                <a:gd name="connsiteY3" fmla="*/ 323121 h 536779"/>
                <a:gd name="connsiteX4" fmla="*/ 720981 w 776558"/>
                <a:gd name="connsiteY4" fmla="*/ 320780 h 536779"/>
                <a:gd name="connsiteX5" fmla="*/ 672122 w 776558"/>
                <a:gd name="connsiteY5" fmla="*/ 5739 h 536779"/>
                <a:gd name="connsiteX6" fmla="*/ 660314 w 776558"/>
                <a:gd name="connsiteY6" fmla="*/ 5943 h 536779"/>
                <a:gd name="connsiteX7" fmla="*/ 610641 w 776558"/>
                <a:gd name="connsiteY7" fmla="*/ 390507 h 536779"/>
                <a:gd name="connsiteX8" fmla="*/ 607994 w 776558"/>
                <a:gd name="connsiteY8" fmla="*/ 395291 h 536779"/>
                <a:gd name="connsiteX9" fmla="*/ 560152 w 776558"/>
                <a:gd name="connsiteY9" fmla="*/ 432342 h 536779"/>
                <a:gd name="connsiteX10" fmla="*/ 551602 w 776558"/>
                <a:gd name="connsiteY10" fmla="*/ 430001 h 536779"/>
                <a:gd name="connsiteX11" fmla="*/ 503353 w 776558"/>
                <a:gd name="connsiteY11" fmla="*/ 330450 h 536779"/>
                <a:gd name="connsiteX12" fmla="*/ 493683 w 776558"/>
                <a:gd name="connsiteY12" fmla="*/ 329229 h 536779"/>
                <a:gd name="connsiteX13" fmla="*/ 443806 w 776558"/>
                <a:gd name="connsiteY13" fmla="*/ 393560 h 536779"/>
                <a:gd name="connsiteX14" fmla="*/ 388330 w 776558"/>
                <a:gd name="connsiteY14" fmla="*/ 465119 h 536779"/>
                <a:gd name="connsiteX15" fmla="*/ 332855 w 776558"/>
                <a:gd name="connsiteY15" fmla="*/ 393560 h 536779"/>
                <a:gd name="connsiteX16" fmla="*/ 283995 w 776558"/>
                <a:gd name="connsiteY16" fmla="*/ 330552 h 536779"/>
                <a:gd name="connsiteX17" fmla="*/ 273918 w 776558"/>
                <a:gd name="connsiteY17" fmla="*/ 332791 h 536779"/>
                <a:gd name="connsiteX18" fmla="*/ 221903 w 776558"/>
                <a:gd name="connsiteY18" fmla="*/ 493824 h 536779"/>
                <a:gd name="connsiteX19" fmla="*/ 166427 w 776558"/>
                <a:gd name="connsiteY19" fmla="*/ 206877 h 536779"/>
                <a:gd name="connsiteX20" fmla="*/ 110952 w 776558"/>
                <a:gd name="connsiteY20" fmla="*/ 522529 h 536779"/>
                <a:gd name="connsiteX21" fmla="*/ 55476 w 776558"/>
                <a:gd name="connsiteY21" fmla="*/ 479573 h 536779"/>
                <a:gd name="connsiteX22" fmla="*/ 11502 w 776558"/>
                <a:gd name="connsiteY22" fmla="*/ 354880 h 536779"/>
                <a:gd name="connsiteX23" fmla="*/ 0 w 776558"/>
                <a:gd name="connsiteY23" fmla="*/ 357526 h 536779"/>
                <a:gd name="connsiteX24" fmla="*/ 0 w 776558"/>
                <a:gd name="connsiteY24" fmla="*/ 536779 h 536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76558" h="536779">
                  <a:moveTo>
                    <a:pt x="0" y="536779"/>
                  </a:moveTo>
                  <a:lnTo>
                    <a:pt x="776559" y="536779"/>
                  </a:lnTo>
                  <a:lnTo>
                    <a:pt x="776559" y="429391"/>
                  </a:lnTo>
                  <a:lnTo>
                    <a:pt x="721694" y="323121"/>
                  </a:lnTo>
                  <a:cubicBezTo>
                    <a:pt x="721287" y="322409"/>
                    <a:pt x="721083" y="321594"/>
                    <a:pt x="720981" y="320780"/>
                  </a:cubicBezTo>
                  <a:lnTo>
                    <a:pt x="672122" y="5739"/>
                  </a:lnTo>
                  <a:cubicBezTo>
                    <a:pt x="670900" y="-1997"/>
                    <a:pt x="661332" y="-1895"/>
                    <a:pt x="660314" y="5943"/>
                  </a:cubicBezTo>
                  <a:lnTo>
                    <a:pt x="610641" y="390507"/>
                  </a:lnTo>
                  <a:cubicBezTo>
                    <a:pt x="610437" y="392441"/>
                    <a:pt x="609419" y="394171"/>
                    <a:pt x="607994" y="395291"/>
                  </a:cubicBezTo>
                  <a:lnTo>
                    <a:pt x="560152" y="432342"/>
                  </a:lnTo>
                  <a:cubicBezTo>
                    <a:pt x="557201" y="434582"/>
                    <a:pt x="553333" y="433462"/>
                    <a:pt x="551602" y="430001"/>
                  </a:cubicBezTo>
                  <a:lnTo>
                    <a:pt x="503353" y="330450"/>
                  </a:lnTo>
                  <a:cubicBezTo>
                    <a:pt x="501317" y="326277"/>
                    <a:pt x="496432" y="325666"/>
                    <a:pt x="493683" y="329229"/>
                  </a:cubicBezTo>
                  <a:lnTo>
                    <a:pt x="443806" y="393560"/>
                  </a:lnTo>
                  <a:lnTo>
                    <a:pt x="388330" y="465119"/>
                  </a:lnTo>
                  <a:lnTo>
                    <a:pt x="332855" y="393560"/>
                  </a:lnTo>
                  <a:lnTo>
                    <a:pt x="283995" y="330552"/>
                  </a:lnTo>
                  <a:cubicBezTo>
                    <a:pt x="280941" y="326684"/>
                    <a:pt x="275547" y="327906"/>
                    <a:pt x="273918" y="332791"/>
                  </a:cubicBezTo>
                  <a:lnTo>
                    <a:pt x="221903" y="493824"/>
                  </a:lnTo>
                  <a:lnTo>
                    <a:pt x="166427" y="206877"/>
                  </a:lnTo>
                  <a:lnTo>
                    <a:pt x="110952" y="522529"/>
                  </a:lnTo>
                  <a:lnTo>
                    <a:pt x="55476" y="479573"/>
                  </a:lnTo>
                  <a:lnTo>
                    <a:pt x="11502" y="354880"/>
                  </a:lnTo>
                  <a:cubicBezTo>
                    <a:pt x="9059" y="347856"/>
                    <a:pt x="0" y="349892"/>
                    <a:pt x="0" y="357526"/>
                  </a:cubicBezTo>
                  <a:lnTo>
                    <a:pt x="0" y="536779"/>
                  </a:lnTo>
                  <a:close/>
                </a:path>
              </a:pathLst>
            </a:custGeom>
            <a:solidFill>
              <a:srgbClr val="FFFFFF"/>
            </a:solidFill>
            <a:ln w="10166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9" name="Полилиния: фигура 1068">
              <a:extLst>
                <a:ext uri="{FF2B5EF4-FFF2-40B4-BE49-F238E27FC236}">
                  <a16:creationId xmlns:a16="http://schemas.microsoft.com/office/drawing/2014/main" id="{04CE4806-15E2-41E4-801C-8211D854B01B}"/>
                </a:ext>
              </a:extLst>
            </p:cNvPr>
            <p:cNvSpPr/>
            <p:nvPr/>
          </p:nvSpPr>
          <p:spPr>
            <a:xfrm>
              <a:off x="9974294" y="4754457"/>
              <a:ext cx="776558" cy="461569"/>
            </a:xfrm>
            <a:custGeom>
              <a:avLst/>
              <a:gdLst>
                <a:gd name="connsiteX0" fmla="*/ 776558 w 776558"/>
                <a:gd name="connsiteY0" fmla="*/ 461570 h 461569"/>
                <a:gd name="connsiteX1" fmla="*/ 0 w 776558"/>
                <a:gd name="connsiteY1" fmla="*/ 461570 h 461569"/>
                <a:gd name="connsiteX2" fmla="*/ 0 w 776558"/>
                <a:gd name="connsiteY2" fmla="*/ 369246 h 461569"/>
                <a:gd name="connsiteX3" fmla="*/ 54865 w 776558"/>
                <a:gd name="connsiteY3" fmla="*/ 277838 h 461569"/>
                <a:gd name="connsiteX4" fmla="*/ 55577 w 776558"/>
                <a:gd name="connsiteY4" fmla="*/ 275802 h 461569"/>
                <a:gd name="connsiteX5" fmla="*/ 104437 w 776558"/>
                <a:gd name="connsiteY5" fmla="*/ 4938 h 461569"/>
                <a:gd name="connsiteX6" fmla="*/ 116244 w 776558"/>
                <a:gd name="connsiteY6" fmla="*/ 5141 h 461569"/>
                <a:gd name="connsiteX7" fmla="*/ 165918 w 776558"/>
                <a:gd name="connsiteY7" fmla="*/ 335859 h 461569"/>
                <a:gd name="connsiteX8" fmla="*/ 168565 w 776558"/>
                <a:gd name="connsiteY8" fmla="*/ 339930 h 461569"/>
                <a:gd name="connsiteX9" fmla="*/ 216406 w 776558"/>
                <a:gd name="connsiteY9" fmla="*/ 371790 h 461569"/>
                <a:gd name="connsiteX10" fmla="*/ 224957 w 776558"/>
                <a:gd name="connsiteY10" fmla="*/ 369755 h 461569"/>
                <a:gd name="connsiteX11" fmla="*/ 273205 w 776558"/>
                <a:gd name="connsiteY11" fmla="*/ 284149 h 461569"/>
                <a:gd name="connsiteX12" fmla="*/ 282875 w 776558"/>
                <a:gd name="connsiteY12" fmla="*/ 283029 h 461569"/>
                <a:gd name="connsiteX13" fmla="*/ 332753 w 776558"/>
                <a:gd name="connsiteY13" fmla="*/ 338403 h 461569"/>
                <a:gd name="connsiteX14" fmla="*/ 388228 w 776558"/>
                <a:gd name="connsiteY14" fmla="*/ 399986 h 461569"/>
                <a:gd name="connsiteX15" fmla="*/ 443704 w 776558"/>
                <a:gd name="connsiteY15" fmla="*/ 338403 h 461569"/>
                <a:gd name="connsiteX16" fmla="*/ 492563 w 776558"/>
                <a:gd name="connsiteY16" fmla="*/ 284149 h 461569"/>
                <a:gd name="connsiteX17" fmla="*/ 502641 w 776558"/>
                <a:gd name="connsiteY17" fmla="*/ 286083 h 461569"/>
                <a:gd name="connsiteX18" fmla="*/ 554656 w 776558"/>
                <a:gd name="connsiteY18" fmla="*/ 424518 h 461569"/>
                <a:gd name="connsiteX19" fmla="*/ 610131 w 776558"/>
                <a:gd name="connsiteY19" fmla="*/ 424518 h 461569"/>
                <a:gd name="connsiteX20" fmla="*/ 665607 w 776558"/>
                <a:gd name="connsiteY20" fmla="*/ 449151 h 461569"/>
                <a:gd name="connsiteX21" fmla="*/ 721083 w 776558"/>
                <a:gd name="connsiteY21" fmla="*/ 412201 h 461569"/>
                <a:gd name="connsiteX22" fmla="*/ 765056 w 776558"/>
                <a:gd name="connsiteY22" fmla="*/ 305016 h 461569"/>
                <a:gd name="connsiteX23" fmla="*/ 776558 w 776558"/>
                <a:gd name="connsiteY23" fmla="*/ 307255 h 461569"/>
                <a:gd name="connsiteX24" fmla="*/ 776558 w 776558"/>
                <a:gd name="connsiteY24" fmla="*/ 461468 h 46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76558" h="461569">
                  <a:moveTo>
                    <a:pt x="776558" y="461570"/>
                  </a:moveTo>
                  <a:lnTo>
                    <a:pt x="0" y="461570"/>
                  </a:lnTo>
                  <a:lnTo>
                    <a:pt x="0" y="369246"/>
                  </a:lnTo>
                  <a:lnTo>
                    <a:pt x="54865" y="277838"/>
                  </a:lnTo>
                  <a:cubicBezTo>
                    <a:pt x="55272" y="277227"/>
                    <a:pt x="55476" y="276515"/>
                    <a:pt x="55577" y="275802"/>
                  </a:cubicBezTo>
                  <a:lnTo>
                    <a:pt x="104437" y="4938"/>
                  </a:lnTo>
                  <a:cubicBezTo>
                    <a:pt x="105658" y="-1780"/>
                    <a:pt x="115226" y="-1576"/>
                    <a:pt x="116244" y="5141"/>
                  </a:cubicBezTo>
                  <a:lnTo>
                    <a:pt x="165918" y="335859"/>
                  </a:lnTo>
                  <a:cubicBezTo>
                    <a:pt x="166122" y="337487"/>
                    <a:pt x="167140" y="339014"/>
                    <a:pt x="168565" y="339930"/>
                  </a:cubicBezTo>
                  <a:lnTo>
                    <a:pt x="216406" y="371790"/>
                  </a:lnTo>
                  <a:cubicBezTo>
                    <a:pt x="219358" y="373725"/>
                    <a:pt x="223226" y="372808"/>
                    <a:pt x="224957" y="369755"/>
                  </a:cubicBezTo>
                  <a:lnTo>
                    <a:pt x="273205" y="284149"/>
                  </a:lnTo>
                  <a:cubicBezTo>
                    <a:pt x="275241" y="280586"/>
                    <a:pt x="280127" y="280077"/>
                    <a:pt x="282875" y="283029"/>
                  </a:cubicBezTo>
                  <a:lnTo>
                    <a:pt x="332753" y="338403"/>
                  </a:lnTo>
                  <a:lnTo>
                    <a:pt x="388228" y="399986"/>
                  </a:lnTo>
                  <a:lnTo>
                    <a:pt x="443704" y="338403"/>
                  </a:lnTo>
                  <a:lnTo>
                    <a:pt x="492563" y="284149"/>
                  </a:lnTo>
                  <a:cubicBezTo>
                    <a:pt x="495617" y="280790"/>
                    <a:pt x="501012" y="281808"/>
                    <a:pt x="502641" y="286083"/>
                  </a:cubicBezTo>
                  <a:lnTo>
                    <a:pt x="554656" y="424518"/>
                  </a:lnTo>
                  <a:lnTo>
                    <a:pt x="610131" y="424518"/>
                  </a:lnTo>
                  <a:lnTo>
                    <a:pt x="665607" y="449151"/>
                  </a:lnTo>
                  <a:lnTo>
                    <a:pt x="721083" y="412201"/>
                  </a:lnTo>
                  <a:lnTo>
                    <a:pt x="765056" y="305016"/>
                  </a:lnTo>
                  <a:cubicBezTo>
                    <a:pt x="767499" y="298909"/>
                    <a:pt x="776558" y="300741"/>
                    <a:pt x="776558" y="307255"/>
                  </a:cubicBezTo>
                  <a:lnTo>
                    <a:pt x="776558" y="461468"/>
                  </a:ln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070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10355804" y="4709620"/>
              <a:ext cx="210909" cy="201137"/>
              <a:chOff x="10355804" y="4709620"/>
              <a:chExt cx="210909" cy="201137"/>
            </a:xfrm>
          </p:grpSpPr>
          <p:grpSp>
            <p:nvGrpSpPr>
              <p:cNvPr id="1071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10394892" y="4709620"/>
                <a:ext cx="171822" cy="201137"/>
                <a:chOff x="10394892" y="4709620"/>
                <a:chExt cx="171822" cy="201137"/>
              </a:xfrm>
            </p:grpSpPr>
            <p:sp>
              <p:nvSpPr>
                <p:cNvPr id="1072" name="Полилиния: фигура 1071">
                  <a:extLst>
                    <a:ext uri="{FF2B5EF4-FFF2-40B4-BE49-F238E27FC236}">
                      <a16:creationId xmlns:a16="http://schemas.microsoft.com/office/drawing/2014/main" id="{680130AC-2161-4CAB-BAAB-9ACC6913933B}"/>
                    </a:ext>
                  </a:extLst>
                </p:cNvPr>
                <p:cNvSpPr/>
                <p:nvPr/>
              </p:nvSpPr>
              <p:spPr>
                <a:xfrm>
                  <a:off x="10394892" y="4709620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3" name="Полилиния: фигура 1072">
                  <a:extLst>
                    <a:ext uri="{FF2B5EF4-FFF2-40B4-BE49-F238E27FC236}">
                      <a16:creationId xmlns:a16="http://schemas.microsoft.com/office/drawing/2014/main" id="{CC100B62-168E-4ADD-8B0F-FFE01553765B}"/>
                    </a:ext>
                  </a:extLst>
                </p:cNvPr>
                <p:cNvSpPr/>
                <p:nvPr/>
              </p:nvSpPr>
              <p:spPr>
                <a:xfrm>
                  <a:off x="10394892" y="4749827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4" name="Полилиния: фигура 1073">
                  <a:extLst>
                    <a:ext uri="{FF2B5EF4-FFF2-40B4-BE49-F238E27FC236}">
                      <a16:creationId xmlns:a16="http://schemas.microsoft.com/office/drawing/2014/main" id="{9FF67B1F-C8BE-4245-AD53-AE1C920879E0}"/>
                    </a:ext>
                  </a:extLst>
                </p:cNvPr>
                <p:cNvSpPr/>
                <p:nvPr/>
              </p:nvSpPr>
              <p:spPr>
                <a:xfrm>
                  <a:off x="10394892" y="4790136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5" name="Полилиния: фигура 1074">
                  <a:extLst>
                    <a:ext uri="{FF2B5EF4-FFF2-40B4-BE49-F238E27FC236}">
                      <a16:creationId xmlns:a16="http://schemas.microsoft.com/office/drawing/2014/main" id="{D9A7D174-CCD5-4607-8C80-55167A60511D}"/>
                    </a:ext>
                  </a:extLst>
                </p:cNvPr>
                <p:cNvSpPr/>
                <p:nvPr/>
              </p:nvSpPr>
              <p:spPr>
                <a:xfrm>
                  <a:off x="10394892" y="4830343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6" name="Полилиния: фигура 1075">
                  <a:extLst>
                    <a:ext uri="{FF2B5EF4-FFF2-40B4-BE49-F238E27FC236}">
                      <a16:creationId xmlns:a16="http://schemas.microsoft.com/office/drawing/2014/main" id="{1EC46BC3-FC3A-4640-B9FD-E566DB7BF43C}"/>
                    </a:ext>
                  </a:extLst>
                </p:cNvPr>
                <p:cNvSpPr/>
                <p:nvPr/>
              </p:nvSpPr>
              <p:spPr>
                <a:xfrm>
                  <a:off x="10394892" y="4870550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7" name="Полилиния: фигура 1076">
                  <a:extLst>
                    <a:ext uri="{FF2B5EF4-FFF2-40B4-BE49-F238E27FC236}">
                      <a16:creationId xmlns:a16="http://schemas.microsoft.com/office/drawing/2014/main" id="{453C8646-A0E6-4AD5-B0C0-E4A504D1AB83}"/>
                    </a:ext>
                  </a:extLst>
                </p:cNvPr>
                <p:cNvSpPr/>
                <p:nvPr/>
              </p:nvSpPr>
              <p:spPr>
                <a:xfrm>
                  <a:off x="10394892" y="4910757"/>
                  <a:ext cx="171822" cy="10179"/>
                </a:xfrm>
                <a:custGeom>
                  <a:avLst/>
                  <a:gdLst>
                    <a:gd name="connsiteX0" fmla="*/ 0 w 171822"/>
                    <a:gd name="connsiteY0" fmla="*/ 0 h 10179"/>
                    <a:gd name="connsiteX1" fmla="*/ 171822 w 171822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822" h="10179">
                      <a:moveTo>
                        <a:pt x="0" y="0"/>
                      </a:moveTo>
                      <a:lnTo>
                        <a:pt x="171822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78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10355804" y="4709620"/>
                <a:ext cx="21477" cy="201137"/>
                <a:chOff x="10355804" y="4709620"/>
                <a:chExt cx="21477" cy="201137"/>
              </a:xfrm>
            </p:grpSpPr>
            <p:sp>
              <p:nvSpPr>
                <p:cNvPr id="1079" name="Полилиния: фигура 1078">
                  <a:extLst>
                    <a:ext uri="{FF2B5EF4-FFF2-40B4-BE49-F238E27FC236}">
                      <a16:creationId xmlns:a16="http://schemas.microsoft.com/office/drawing/2014/main" id="{A50FF56A-84F2-45F9-9982-8DEB55541F1D}"/>
                    </a:ext>
                  </a:extLst>
                </p:cNvPr>
                <p:cNvSpPr/>
                <p:nvPr/>
              </p:nvSpPr>
              <p:spPr>
                <a:xfrm>
                  <a:off x="10355804" y="4709620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0" name="Полилиния: фигура 1079">
                  <a:extLst>
                    <a:ext uri="{FF2B5EF4-FFF2-40B4-BE49-F238E27FC236}">
                      <a16:creationId xmlns:a16="http://schemas.microsoft.com/office/drawing/2014/main" id="{A2940B8C-AFD0-4C2D-8C2C-054E3A80B376}"/>
                    </a:ext>
                  </a:extLst>
                </p:cNvPr>
                <p:cNvSpPr/>
                <p:nvPr/>
              </p:nvSpPr>
              <p:spPr>
                <a:xfrm>
                  <a:off x="10355804" y="4749827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1" name="Полилиния: фигура 1080">
                  <a:extLst>
                    <a:ext uri="{FF2B5EF4-FFF2-40B4-BE49-F238E27FC236}">
                      <a16:creationId xmlns:a16="http://schemas.microsoft.com/office/drawing/2014/main" id="{38CE6711-F4A6-42A3-81CF-3354454ECCF2}"/>
                    </a:ext>
                  </a:extLst>
                </p:cNvPr>
                <p:cNvSpPr/>
                <p:nvPr/>
              </p:nvSpPr>
              <p:spPr>
                <a:xfrm>
                  <a:off x="10355804" y="4790136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2" name="Полилиния: фигура 1081">
                  <a:extLst>
                    <a:ext uri="{FF2B5EF4-FFF2-40B4-BE49-F238E27FC236}">
                      <a16:creationId xmlns:a16="http://schemas.microsoft.com/office/drawing/2014/main" id="{A7BEF7EB-169D-4985-92C5-4AEC64B1CD5F}"/>
                    </a:ext>
                  </a:extLst>
                </p:cNvPr>
                <p:cNvSpPr/>
                <p:nvPr/>
              </p:nvSpPr>
              <p:spPr>
                <a:xfrm>
                  <a:off x="10355804" y="4830343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3" name="Полилиния: фигура 1082">
                  <a:extLst>
                    <a:ext uri="{FF2B5EF4-FFF2-40B4-BE49-F238E27FC236}">
                      <a16:creationId xmlns:a16="http://schemas.microsoft.com/office/drawing/2014/main" id="{AF76560D-4C85-455C-B7FC-763536842117}"/>
                    </a:ext>
                  </a:extLst>
                </p:cNvPr>
                <p:cNvSpPr/>
                <p:nvPr/>
              </p:nvSpPr>
              <p:spPr>
                <a:xfrm>
                  <a:off x="10355804" y="4870550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4" name="Полилиния: фигура 1083">
                  <a:extLst>
                    <a:ext uri="{FF2B5EF4-FFF2-40B4-BE49-F238E27FC236}">
                      <a16:creationId xmlns:a16="http://schemas.microsoft.com/office/drawing/2014/main" id="{73045912-A885-424E-B4EC-36151A346FCB}"/>
                    </a:ext>
                  </a:extLst>
                </p:cNvPr>
                <p:cNvSpPr/>
                <p:nvPr/>
              </p:nvSpPr>
              <p:spPr>
                <a:xfrm>
                  <a:off x="10355804" y="4910757"/>
                  <a:ext cx="21477" cy="10179"/>
                </a:xfrm>
                <a:custGeom>
                  <a:avLst/>
                  <a:gdLst>
                    <a:gd name="connsiteX0" fmla="*/ 0 w 21477"/>
                    <a:gd name="connsiteY0" fmla="*/ 0 h 10179"/>
                    <a:gd name="connsiteX1" fmla="*/ 21478 w 21477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477" h="10179">
                      <a:moveTo>
                        <a:pt x="0" y="0"/>
                      </a:moveTo>
                      <a:lnTo>
                        <a:pt x="21478" y="0"/>
                      </a:lnTo>
                    </a:path>
                  </a:pathLst>
                </a:custGeom>
                <a:ln w="10166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1085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9913016" y="3598740"/>
            <a:ext cx="911939" cy="945937"/>
            <a:chOff x="9913016" y="3522540"/>
            <a:chExt cx="911939" cy="945937"/>
          </a:xfrm>
        </p:grpSpPr>
        <p:sp>
          <p:nvSpPr>
            <p:cNvPr id="1086" name="Полилиния: фигура 1085">
              <a:extLst>
                <a:ext uri="{FF2B5EF4-FFF2-40B4-BE49-F238E27FC236}">
                  <a16:creationId xmlns:a16="http://schemas.microsoft.com/office/drawing/2014/main" id="{AFDAE20D-5064-4005-9D83-856A0F0C1019}"/>
                </a:ext>
              </a:extLst>
            </p:cNvPr>
            <p:cNvSpPr/>
            <p:nvPr/>
          </p:nvSpPr>
          <p:spPr>
            <a:xfrm>
              <a:off x="9913729" y="3997901"/>
              <a:ext cx="364205" cy="315346"/>
            </a:xfrm>
            <a:custGeom>
              <a:avLst/>
              <a:gdLst>
                <a:gd name="connsiteX0" fmla="*/ 273104 w 364205"/>
                <a:gd name="connsiteY0" fmla="*/ 0 h 315346"/>
                <a:gd name="connsiteX1" fmla="*/ 91001 w 364205"/>
                <a:gd name="connsiteY1" fmla="*/ 0 h 315346"/>
                <a:gd name="connsiteX2" fmla="*/ 0 w 364205"/>
                <a:gd name="connsiteY2" fmla="*/ 157673 h 315346"/>
                <a:gd name="connsiteX3" fmla="*/ 91001 w 364205"/>
                <a:gd name="connsiteY3" fmla="*/ 315347 h 315346"/>
                <a:gd name="connsiteX4" fmla="*/ 273104 w 364205"/>
                <a:gd name="connsiteY4" fmla="*/ 315347 h 315346"/>
                <a:gd name="connsiteX5" fmla="*/ 364206 w 364205"/>
                <a:gd name="connsiteY5" fmla="*/ 157673 h 315346"/>
                <a:gd name="connsiteX6" fmla="*/ 273104 w 364205"/>
                <a:gd name="connsiteY6" fmla="*/ 0 h 31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346">
                  <a:moveTo>
                    <a:pt x="273104" y="0"/>
                  </a:moveTo>
                  <a:lnTo>
                    <a:pt x="91001" y="0"/>
                  </a:lnTo>
                  <a:lnTo>
                    <a:pt x="0" y="157673"/>
                  </a:lnTo>
                  <a:lnTo>
                    <a:pt x="91001" y="315347"/>
                  </a:lnTo>
                  <a:lnTo>
                    <a:pt x="273104" y="315347"/>
                  </a:lnTo>
                  <a:lnTo>
                    <a:pt x="364206" y="157673"/>
                  </a:lnTo>
                  <a:lnTo>
                    <a:pt x="273104" y="0"/>
                  </a:ln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7" name="Полилиния: фигура 1086">
              <a:extLst>
                <a:ext uri="{FF2B5EF4-FFF2-40B4-BE49-F238E27FC236}">
                  <a16:creationId xmlns:a16="http://schemas.microsoft.com/office/drawing/2014/main" id="{6CF2151C-ECF2-4C64-8AC4-98DAF6A92392}"/>
                </a:ext>
              </a:extLst>
            </p:cNvPr>
            <p:cNvSpPr/>
            <p:nvPr/>
          </p:nvSpPr>
          <p:spPr>
            <a:xfrm>
              <a:off x="9913016" y="3680723"/>
              <a:ext cx="364205" cy="315448"/>
            </a:xfrm>
            <a:custGeom>
              <a:avLst/>
              <a:gdLst>
                <a:gd name="connsiteX0" fmla="*/ 273205 w 364205"/>
                <a:gd name="connsiteY0" fmla="*/ 0 h 315448"/>
                <a:gd name="connsiteX1" fmla="*/ 91102 w 364205"/>
                <a:gd name="connsiteY1" fmla="*/ 0 h 315448"/>
                <a:gd name="connsiteX2" fmla="*/ 0 w 364205"/>
                <a:gd name="connsiteY2" fmla="*/ 157775 h 315448"/>
                <a:gd name="connsiteX3" fmla="*/ 91102 w 364205"/>
                <a:gd name="connsiteY3" fmla="*/ 315448 h 315448"/>
                <a:gd name="connsiteX4" fmla="*/ 273205 w 364205"/>
                <a:gd name="connsiteY4" fmla="*/ 315448 h 315448"/>
                <a:gd name="connsiteX5" fmla="*/ 364206 w 364205"/>
                <a:gd name="connsiteY5" fmla="*/ 157775 h 315448"/>
                <a:gd name="connsiteX6" fmla="*/ 273205 w 364205"/>
                <a:gd name="connsiteY6" fmla="*/ 0 h 31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448">
                  <a:moveTo>
                    <a:pt x="273205" y="0"/>
                  </a:moveTo>
                  <a:lnTo>
                    <a:pt x="91102" y="0"/>
                  </a:lnTo>
                  <a:lnTo>
                    <a:pt x="0" y="157775"/>
                  </a:lnTo>
                  <a:lnTo>
                    <a:pt x="91102" y="315448"/>
                  </a:lnTo>
                  <a:lnTo>
                    <a:pt x="273205" y="315448"/>
                  </a:lnTo>
                  <a:lnTo>
                    <a:pt x="364206" y="157775"/>
                  </a:lnTo>
                  <a:lnTo>
                    <a:pt x="273205" y="0"/>
                  </a:ln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8" name="Полилиния: фигура 1087">
              <a:extLst>
                <a:ext uri="{FF2B5EF4-FFF2-40B4-BE49-F238E27FC236}">
                  <a16:creationId xmlns:a16="http://schemas.microsoft.com/office/drawing/2014/main" id="{D2C1D9EF-B781-49B4-888C-18B42378A801}"/>
                </a:ext>
              </a:extLst>
            </p:cNvPr>
            <p:cNvSpPr/>
            <p:nvPr/>
          </p:nvSpPr>
          <p:spPr>
            <a:xfrm>
              <a:off x="10457493" y="3680723"/>
              <a:ext cx="364205" cy="315448"/>
            </a:xfrm>
            <a:custGeom>
              <a:avLst/>
              <a:gdLst>
                <a:gd name="connsiteX0" fmla="*/ 273103 w 364205"/>
                <a:gd name="connsiteY0" fmla="*/ 0 h 315448"/>
                <a:gd name="connsiteX1" fmla="*/ 91001 w 364205"/>
                <a:gd name="connsiteY1" fmla="*/ 0 h 315448"/>
                <a:gd name="connsiteX2" fmla="*/ 0 w 364205"/>
                <a:gd name="connsiteY2" fmla="*/ 157775 h 315448"/>
                <a:gd name="connsiteX3" fmla="*/ 91001 w 364205"/>
                <a:gd name="connsiteY3" fmla="*/ 315448 h 315448"/>
                <a:gd name="connsiteX4" fmla="*/ 273103 w 364205"/>
                <a:gd name="connsiteY4" fmla="*/ 315448 h 315448"/>
                <a:gd name="connsiteX5" fmla="*/ 364206 w 364205"/>
                <a:gd name="connsiteY5" fmla="*/ 157775 h 315448"/>
                <a:gd name="connsiteX6" fmla="*/ 273103 w 364205"/>
                <a:gd name="connsiteY6" fmla="*/ 0 h 31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448">
                  <a:moveTo>
                    <a:pt x="273103" y="0"/>
                  </a:moveTo>
                  <a:lnTo>
                    <a:pt x="91001" y="0"/>
                  </a:lnTo>
                  <a:lnTo>
                    <a:pt x="0" y="157775"/>
                  </a:lnTo>
                  <a:lnTo>
                    <a:pt x="91001" y="315448"/>
                  </a:lnTo>
                  <a:lnTo>
                    <a:pt x="273103" y="315448"/>
                  </a:lnTo>
                  <a:lnTo>
                    <a:pt x="364206" y="157775"/>
                  </a:lnTo>
                  <a:lnTo>
                    <a:pt x="273103" y="0"/>
                  </a:ln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9" name="Полилиния: фигура 1088">
              <a:extLst>
                <a:ext uri="{FF2B5EF4-FFF2-40B4-BE49-F238E27FC236}">
                  <a16:creationId xmlns:a16="http://schemas.microsoft.com/office/drawing/2014/main" id="{742739E8-1C33-43DF-AF1B-8ADC6B7037CF}"/>
                </a:ext>
              </a:extLst>
            </p:cNvPr>
            <p:cNvSpPr/>
            <p:nvPr/>
          </p:nvSpPr>
          <p:spPr>
            <a:xfrm>
              <a:off x="10187647" y="4153132"/>
              <a:ext cx="364205" cy="315346"/>
            </a:xfrm>
            <a:custGeom>
              <a:avLst/>
              <a:gdLst>
                <a:gd name="connsiteX0" fmla="*/ 273103 w 364205"/>
                <a:gd name="connsiteY0" fmla="*/ 0 h 315346"/>
                <a:gd name="connsiteX1" fmla="*/ 91001 w 364205"/>
                <a:gd name="connsiteY1" fmla="*/ 0 h 315346"/>
                <a:gd name="connsiteX2" fmla="*/ 0 w 364205"/>
                <a:gd name="connsiteY2" fmla="*/ 157673 h 315346"/>
                <a:gd name="connsiteX3" fmla="*/ 91001 w 364205"/>
                <a:gd name="connsiteY3" fmla="*/ 315347 h 315346"/>
                <a:gd name="connsiteX4" fmla="*/ 273103 w 364205"/>
                <a:gd name="connsiteY4" fmla="*/ 315347 h 315346"/>
                <a:gd name="connsiteX5" fmla="*/ 364206 w 364205"/>
                <a:gd name="connsiteY5" fmla="*/ 157673 h 315346"/>
                <a:gd name="connsiteX6" fmla="*/ 273103 w 364205"/>
                <a:gd name="connsiteY6" fmla="*/ 0 h 315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346">
                  <a:moveTo>
                    <a:pt x="273103" y="0"/>
                  </a:moveTo>
                  <a:lnTo>
                    <a:pt x="91001" y="0"/>
                  </a:lnTo>
                  <a:lnTo>
                    <a:pt x="0" y="157673"/>
                  </a:lnTo>
                  <a:lnTo>
                    <a:pt x="91001" y="315347"/>
                  </a:lnTo>
                  <a:lnTo>
                    <a:pt x="273103" y="315347"/>
                  </a:lnTo>
                  <a:lnTo>
                    <a:pt x="364206" y="157673"/>
                  </a:lnTo>
                  <a:lnTo>
                    <a:pt x="273103" y="0"/>
                  </a:ln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0" name="Полилиния: фигура 1089">
              <a:extLst>
                <a:ext uri="{FF2B5EF4-FFF2-40B4-BE49-F238E27FC236}">
                  <a16:creationId xmlns:a16="http://schemas.microsoft.com/office/drawing/2014/main" id="{02F7AEB8-BC62-436B-8D28-852B0314B755}"/>
                </a:ext>
              </a:extLst>
            </p:cNvPr>
            <p:cNvSpPr/>
            <p:nvPr/>
          </p:nvSpPr>
          <p:spPr>
            <a:xfrm>
              <a:off x="10186833" y="3840126"/>
              <a:ext cx="364205" cy="315448"/>
            </a:xfrm>
            <a:custGeom>
              <a:avLst/>
              <a:gdLst>
                <a:gd name="connsiteX0" fmla="*/ 273205 w 364205"/>
                <a:gd name="connsiteY0" fmla="*/ 0 h 315448"/>
                <a:gd name="connsiteX1" fmla="*/ 91102 w 364205"/>
                <a:gd name="connsiteY1" fmla="*/ 0 h 315448"/>
                <a:gd name="connsiteX2" fmla="*/ 0 w 364205"/>
                <a:gd name="connsiteY2" fmla="*/ 157775 h 315448"/>
                <a:gd name="connsiteX3" fmla="*/ 91102 w 364205"/>
                <a:gd name="connsiteY3" fmla="*/ 315448 h 315448"/>
                <a:gd name="connsiteX4" fmla="*/ 273205 w 364205"/>
                <a:gd name="connsiteY4" fmla="*/ 315448 h 315448"/>
                <a:gd name="connsiteX5" fmla="*/ 364206 w 364205"/>
                <a:gd name="connsiteY5" fmla="*/ 157775 h 315448"/>
                <a:gd name="connsiteX6" fmla="*/ 273205 w 364205"/>
                <a:gd name="connsiteY6" fmla="*/ 0 h 31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448">
                  <a:moveTo>
                    <a:pt x="273205" y="0"/>
                  </a:moveTo>
                  <a:lnTo>
                    <a:pt x="91102" y="0"/>
                  </a:lnTo>
                  <a:lnTo>
                    <a:pt x="0" y="157775"/>
                  </a:lnTo>
                  <a:lnTo>
                    <a:pt x="91102" y="315448"/>
                  </a:lnTo>
                  <a:lnTo>
                    <a:pt x="273205" y="315448"/>
                  </a:lnTo>
                  <a:lnTo>
                    <a:pt x="364206" y="157775"/>
                  </a:lnTo>
                  <a:lnTo>
                    <a:pt x="273205" y="0"/>
                  </a:lnTo>
                  <a:close/>
                </a:path>
              </a:pathLst>
            </a:custGeom>
            <a:solidFill>
              <a:srgbClr val="006D3F"/>
            </a:solidFill>
            <a:ln w="10166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1" name="Полилиния: фигура 1090">
              <a:extLst>
                <a:ext uri="{FF2B5EF4-FFF2-40B4-BE49-F238E27FC236}">
                  <a16:creationId xmlns:a16="http://schemas.microsoft.com/office/drawing/2014/main" id="{59B98584-28F2-4C8B-8C3B-B25DC9B67580}"/>
                </a:ext>
              </a:extLst>
            </p:cNvPr>
            <p:cNvSpPr/>
            <p:nvPr/>
          </p:nvSpPr>
          <p:spPr>
            <a:xfrm>
              <a:off x="10179300" y="3522540"/>
              <a:ext cx="364205" cy="315448"/>
            </a:xfrm>
            <a:custGeom>
              <a:avLst/>
              <a:gdLst>
                <a:gd name="connsiteX0" fmla="*/ 273104 w 364205"/>
                <a:gd name="connsiteY0" fmla="*/ 0 h 315448"/>
                <a:gd name="connsiteX1" fmla="*/ 91001 w 364205"/>
                <a:gd name="connsiteY1" fmla="*/ 0 h 315448"/>
                <a:gd name="connsiteX2" fmla="*/ 0 w 364205"/>
                <a:gd name="connsiteY2" fmla="*/ 157775 h 315448"/>
                <a:gd name="connsiteX3" fmla="*/ 91001 w 364205"/>
                <a:gd name="connsiteY3" fmla="*/ 315449 h 315448"/>
                <a:gd name="connsiteX4" fmla="*/ 273104 w 364205"/>
                <a:gd name="connsiteY4" fmla="*/ 315449 h 315448"/>
                <a:gd name="connsiteX5" fmla="*/ 364206 w 364205"/>
                <a:gd name="connsiteY5" fmla="*/ 157775 h 315448"/>
                <a:gd name="connsiteX6" fmla="*/ 273104 w 364205"/>
                <a:gd name="connsiteY6" fmla="*/ 0 h 31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448">
                  <a:moveTo>
                    <a:pt x="273104" y="0"/>
                  </a:moveTo>
                  <a:lnTo>
                    <a:pt x="91001" y="0"/>
                  </a:lnTo>
                  <a:lnTo>
                    <a:pt x="0" y="157775"/>
                  </a:lnTo>
                  <a:lnTo>
                    <a:pt x="91001" y="315449"/>
                  </a:lnTo>
                  <a:lnTo>
                    <a:pt x="273104" y="315449"/>
                  </a:lnTo>
                  <a:lnTo>
                    <a:pt x="364206" y="157775"/>
                  </a:lnTo>
                  <a:lnTo>
                    <a:pt x="273104" y="0"/>
                  </a:ln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2" name="Полилиния: фигура 1091">
              <a:extLst>
                <a:ext uri="{FF2B5EF4-FFF2-40B4-BE49-F238E27FC236}">
                  <a16:creationId xmlns:a16="http://schemas.microsoft.com/office/drawing/2014/main" id="{50B44E2F-B245-44A3-AE5B-FF97BC61BD68}"/>
                </a:ext>
              </a:extLst>
            </p:cNvPr>
            <p:cNvSpPr/>
            <p:nvPr/>
          </p:nvSpPr>
          <p:spPr>
            <a:xfrm>
              <a:off x="10460750" y="3995357"/>
              <a:ext cx="364205" cy="315448"/>
            </a:xfrm>
            <a:custGeom>
              <a:avLst/>
              <a:gdLst>
                <a:gd name="connsiteX0" fmla="*/ 273206 w 364205"/>
                <a:gd name="connsiteY0" fmla="*/ 0 h 315448"/>
                <a:gd name="connsiteX1" fmla="*/ 91102 w 364205"/>
                <a:gd name="connsiteY1" fmla="*/ 0 h 315448"/>
                <a:gd name="connsiteX2" fmla="*/ 0 w 364205"/>
                <a:gd name="connsiteY2" fmla="*/ 157775 h 315448"/>
                <a:gd name="connsiteX3" fmla="*/ 91102 w 364205"/>
                <a:gd name="connsiteY3" fmla="*/ 315448 h 315448"/>
                <a:gd name="connsiteX4" fmla="*/ 273206 w 364205"/>
                <a:gd name="connsiteY4" fmla="*/ 315448 h 315448"/>
                <a:gd name="connsiteX5" fmla="*/ 364206 w 364205"/>
                <a:gd name="connsiteY5" fmla="*/ 157775 h 315448"/>
                <a:gd name="connsiteX6" fmla="*/ 273206 w 364205"/>
                <a:gd name="connsiteY6" fmla="*/ 0 h 315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205" h="315448">
                  <a:moveTo>
                    <a:pt x="273206" y="0"/>
                  </a:moveTo>
                  <a:lnTo>
                    <a:pt x="91102" y="0"/>
                  </a:lnTo>
                  <a:lnTo>
                    <a:pt x="0" y="157775"/>
                  </a:lnTo>
                  <a:lnTo>
                    <a:pt x="91102" y="315448"/>
                  </a:lnTo>
                  <a:lnTo>
                    <a:pt x="273206" y="315448"/>
                  </a:lnTo>
                  <a:lnTo>
                    <a:pt x="364206" y="157775"/>
                  </a:lnTo>
                  <a:lnTo>
                    <a:pt x="273206" y="0"/>
                  </a:lnTo>
                  <a:close/>
                </a:path>
              </a:pathLst>
            </a:custGeom>
            <a:noFill/>
            <a:ln w="10166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93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7383425" y="3974143"/>
            <a:ext cx="1237872" cy="1155625"/>
            <a:chOff x="7383425" y="3897943"/>
            <a:chExt cx="1237872" cy="1155625"/>
          </a:xfrm>
          <a:solidFill>
            <a:srgbClr val="263238"/>
          </a:solidFill>
        </p:grpSpPr>
        <p:sp>
          <p:nvSpPr>
            <p:cNvPr id="1094" name="Полилиния: фигура 1093">
              <a:extLst>
                <a:ext uri="{FF2B5EF4-FFF2-40B4-BE49-F238E27FC236}">
                  <a16:creationId xmlns:a16="http://schemas.microsoft.com/office/drawing/2014/main" id="{4C266C26-C8B7-4F5C-AE14-D17CF9205CA2}"/>
                </a:ext>
              </a:extLst>
            </p:cNvPr>
            <p:cNvSpPr/>
            <p:nvPr/>
          </p:nvSpPr>
          <p:spPr>
            <a:xfrm>
              <a:off x="7383425" y="3897943"/>
              <a:ext cx="581833" cy="364613"/>
            </a:xfrm>
            <a:custGeom>
              <a:avLst/>
              <a:gdLst>
                <a:gd name="connsiteX0" fmla="*/ 53338 w 581833"/>
                <a:gd name="connsiteY0" fmla="*/ 22394 h 364613"/>
                <a:gd name="connsiteX1" fmla="*/ 10586 w 581833"/>
                <a:gd name="connsiteY1" fmla="*/ 22394 h 364613"/>
                <a:gd name="connsiteX2" fmla="*/ 0 w 581833"/>
                <a:gd name="connsiteY2" fmla="*/ 11808 h 364613"/>
                <a:gd name="connsiteX3" fmla="*/ 10586 w 581833"/>
                <a:gd name="connsiteY3" fmla="*/ 1221 h 364613"/>
                <a:gd name="connsiteX4" fmla="*/ 53338 w 581833"/>
                <a:gd name="connsiteY4" fmla="*/ 1221 h 364613"/>
                <a:gd name="connsiteX5" fmla="*/ 63924 w 581833"/>
                <a:gd name="connsiteY5" fmla="*/ 11808 h 364613"/>
                <a:gd name="connsiteX6" fmla="*/ 53338 w 581833"/>
                <a:gd name="connsiteY6" fmla="*/ 22394 h 364613"/>
                <a:gd name="connsiteX7" fmla="*/ 63924 w 581833"/>
                <a:gd name="connsiteY7" fmla="*/ 60667 h 364613"/>
                <a:gd name="connsiteX8" fmla="*/ 53338 w 581833"/>
                <a:gd name="connsiteY8" fmla="*/ 50081 h 364613"/>
                <a:gd name="connsiteX9" fmla="*/ 10586 w 581833"/>
                <a:gd name="connsiteY9" fmla="*/ 50081 h 364613"/>
                <a:gd name="connsiteX10" fmla="*/ 0 w 581833"/>
                <a:gd name="connsiteY10" fmla="*/ 60667 h 364613"/>
                <a:gd name="connsiteX11" fmla="*/ 10586 w 581833"/>
                <a:gd name="connsiteY11" fmla="*/ 71253 h 364613"/>
                <a:gd name="connsiteX12" fmla="*/ 53338 w 581833"/>
                <a:gd name="connsiteY12" fmla="*/ 71253 h 364613"/>
                <a:gd name="connsiteX13" fmla="*/ 63924 w 581833"/>
                <a:gd name="connsiteY13" fmla="*/ 60667 h 364613"/>
                <a:gd name="connsiteX14" fmla="*/ 63924 w 581833"/>
                <a:gd name="connsiteY14" fmla="*/ 109527 h 364613"/>
                <a:gd name="connsiteX15" fmla="*/ 53338 w 581833"/>
                <a:gd name="connsiteY15" fmla="*/ 98940 h 364613"/>
                <a:gd name="connsiteX16" fmla="*/ 10586 w 581833"/>
                <a:gd name="connsiteY16" fmla="*/ 98940 h 364613"/>
                <a:gd name="connsiteX17" fmla="*/ 0 w 581833"/>
                <a:gd name="connsiteY17" fmla="*/ 109527 h 364613"/>
                <a:gd name="connsiteX18" fmla="*/ 10586 w 581833"/>
                <a:gd name="connsiteY18" fmla="*/ 120113 h 364613"/>
                <a:gd name="connsiteX19" fmla="*/ 53338 w 581833"/>
                <a:gd name="connsiteY19" fmla="*/ 120113 h 364613"/>
                <a:gd name="connsiteX20" fmla="*/ 63924 w 581833"/>
                <a:gd name="connsiteY20" fmla="*/ 109527 h 364613"/>
                <a:gd name="connsiteX21" fmla="*/ 63924 w 581833"/>
                <a:gd name="connsiteY21" fmla="*/ 158386 h 364613"/>
                <a:gd name="connsiteX22" fmla="*/ 53338 w 581833"/>
                <a:gd name="connsiteY22" fmla="*/ 147800 h 364613"/>
                <a:gd name="connsiteX23" fmla="*/ 10586 w 581833"/>
                <a:gd name="connsiteY23" fmla="*/ 147800 h 364613"/>
                <a:gd name="connsiteX24" fmla="*/ 0 w 581833"/>
                <a:gd name="connsiteY24" fmla="*/ 158386 h 364613"/>
                <a:gd name="connsiteX25" fmla="*/ 10586 w 581833"/>
                <a:gd name="connsiteY25" fmla="*/ 168972 h 364613"/>
                <a:gd name="connsiteX26" fmla="*/ 53338 w 581833"/>
                <a:gd name="connsiteY26" fmla="*/ 168972 h 364613"/>
                <a:gd name="connsiteX27" fmla="*/ 63924 w 581833"/>
                <a:gd name="connsiteY27" fmla="*/ 158386 h 364613"/>
                <a:gd name="connsiteX28" fmla="*/ 63924 w 581833"/>
                <a:gd name="connsiteY28" fmla="*/ 207245 h 364613"/>
                <a:gd name="connsiteX29" fmla="*/ 53338 w 581833"/>
                <a:gd name="connsiteY29" fmla="*/ 196659 h 364613"/>
                <a:gd name="connsiteX30" fmla="*/ 10586 w 581833"/>
                <a:gd name="connsiteY30" fmla="*/ 196659 h 364613"/>
                <a:gd name="connsiteX31" fmla="*/ 0 w 581833"/>
                <a:gd name="connsiteY31" fmla="*/ 207245 h 364613"/>
                <a:gd name="connsiteX32" fmla="*/ 10586 w 581833"/>
                <a:gd name="connsiteY32" fmla="*/ 217831 h 364613"/>
                <a:gd name="connsiteX33" fmla="*/ 53338 w 581833"/>
                <a:gd name="connsiteY33" fmla="*/ 217831 h 364613"/>
                <a:gd name="connsiteX34" fmla="*/ 63924 w 581833"/>
                <a:gd name="connsiteY34" fmla="*/ 207245 h 364613"/>
                <a:gd name="connsiteX35" fmla="*/ 63924 w 581833"/>
                <a:gd name="connsiteY35" fmla="*/ 256105 h 364613"/>
                <a:gd name="connsiteX36" fmla="*/ 53338 w 581833"/>
                <a:gd name="connsiteY36" fmla="*/ 245518 h 364613"/>
                <a:gd name="connsiteX37" fmla="*/ 10586 w 581833"/>
                <a:gd name="connsiteY37" fmla="*/ 245518 h 364613"/>
                <a:gd name="connsiteX38" fmla="*/ 0 w 581833"/>
                <a:gd name="connsiteY38" fmla="*/ 256105 h 364613"/>
                <a:gd name="connsiteX39" fmla="*/ 10586 w 581833"/>
                <a:gd name="connsiteY39" fmla="*/ 266691 h 364613"/>
                <a:gd name="connsiteX40" fmla="*/ 53338 w 581833"/>
                <a:gd name="connsiteY40" fmla="*/ 266691 h 364613"/>
                <a:gd name="connsiteX41" fmla="*/ 63924 w 581833"/>
                <a:gd name="connsiteY41" fmla="*/ 256105 h 364613"/>
                <a:gd name="connsiteX42" fmla="*/ 63924 w 581833"/>
                <a:gd name="connsiteY42" fmla="*/ 304964 h 364613"/>
                <a:gd name="connsiteX43" fmla="*/ 53338 w 581833"/>
                <a:gd name="connsiteY43" fmla="*/ 294378 h 364613"/>
                <a:gd name="connsiteX44" fmla="*/ 10586 w 581833"/>
                <a:gd name="connsiteY44" fmla="*/ 294378 h 364613"/>
                <a:gd name="connsiteX45" fmla="*/ 0 w 581833"/>
                <a:gd name="connsiteY45" fmla="*/ 304964 h 364613"/>
                <a:gd name="connsiteX46" fmla="*/ 10586 w 581833"/>
                <a:gd name="connsiteY46" fmla="*/ 315550 h 364613"/>
                <a:gd name="connsiteX47" fmla="*/ 53338 w 581833"/>
                <a:gd name="connsiteY47" fmla="*/ 315550 h 364613"/>
                <a:gd name="connsiteX48" fmla="*/ 63924 w 581833"/>
                <a:gd name="connsiteY48" fmla="*/ 304964 h 364613"/>
                <a:gd name="connsiteX49" fmla="*/ 63924 w 581833"/>
                <a:gd name="connsiteY49" fmla="*/ 353823 h 364613"/>
                <a:gd name="connsiteX50" fmla="*/ 53338 w 581833"/>
                <a:gd name="connsiteY50" fmla="*/ 343237 h 364613"/>
                <a:gd name="connsiteX51" fmla="*/ 10586 w 581833"/>
                <a:gd name="connsiteY51" fmla="*/ 343237 h 364613"/>
                <a:gd name="connsiteX52" fmla="*/ 0 w 581833"/>
                <a:gd name="connsiteY52" fmla="*/ 353823 h 364613"/>
                <a:gd name="connsiteX53" fmla="*/ 10586 w 581833"/>
                <a:gd name="connsiteY53" fmla="*/ 364410 h 364613"/>
                <a:gd name="connsiteX54" fmla="*/ 53338 w 581833"/>
                <a:gd name="connsiteY54" fmla="*/ 364410 h 364613"/>
                <a:gd name="connsiteX55" fmla="*/ 63924 w 581833"/>
                <a:gd name="connsiteY55" fmla="*/ 353823 h 364613"/>
                <a:gd name="connsiteX56" fmla="*/ 223837 w 581833"/>
                <a:gd name="connsiteY56" fmla="*/ 12011 h 364613"/>
                <a:gd name="connsiteX57" fmla="*/ 213251 w 581833"/>
                <a:gd name="connsiteY57" fmla="*/ 1425 h 364613"/>
                <a:gd name="connsiteX58" fmla="*/ 101078 w 581833"/>
                <a:gd name="connsiteY58" fmla="*/ 1425 h 364613"/>
                <a:gd name="connsiteX59" fmla="*/ 90492 w 581833"/>
                <a:gd name="connsiteY59" fmla="*/ 12011 h 364613"/>
                <a:gd name="connsiteX60" fmla="*/ 101078 w 581833"/>
                <a:gd name="connsiteY60" fmla="*/ 22597 h 364613"/>
                <a:gd name="connsiteX61" fmla="*/ 213251 w 581833"/>
                <a:gd name="connsiteY61" fmla="*/ 22597 h 364613"/>
                <a:gd name="connsiteX62" fmla="*/ 223837 w 581833"/>
                <a:gd name="connsiteY62" fmla="*/ 12011 h 364613"/>
                <a:gd name="connsiteX63" fmla="*/ 223837 w 581833"/>
                <a:gd name="connsiteY63" fmla="*/ 60871 h 364613"/>
                <a:gd name="connsiteX64" fmla="*/ 213251 w 581833"/>
                <a:gd name="connsiteY64" fmla="*/ 50284 h 364613"/>
                <a:gd name="connsiteX65" fmla="*/ 101078 w 581833"/>
                <a:gd name="connsiteY65" fmla="*/ 50284 h 364613"/>
                <a:gd name="connsiteX66" fmla="*/ 90492 w 581833"/>
                <a:gd name="connsiteY66" fmla="*/ 60871 h 364613"/>
                <a:gd name="connsiteX67" fmla="*/ 101078 w 581833"/>
                <a:gd name="connsiteY67" fmla="*/ 71457 h 364613"/>
                <a:gd name="connsiteX68" fmla="*/ 213251 w 581833"/>
                <a:gd name="connsiteY68" fmla="*/ 71457 h 364613"/>
                <a:gd name="connsiteX69" fmla="*/ 223837 w 581833"/>
                <a:gd name="connsiteY69" fmla="*/ 60871 h 364613"/>
                <a:gd name="connsiteX70" fmla="*/ 223837 w 581833"/>
                <a:gd name="connsiteY70" fmla="*/ 109730 h 364613"/>
                <a:gd name="connsiteX71" fmla="*/ 213251 w 581833"/>
                <a:gd name="connsiteY71" fmla="*/ 99144 h 364613"/>
                <a:gd name="connsiteX72" fmla="*/ 101078 w 581833"/>
                <a:gd name="connsiteY72" fmla="*/ 99144 h 364613"/>
                <a:gd name="connsiteX73" fmla="*/ 90492 w 581833"/>
                <a:gd name="connsiteY73" fmla="*/ 109730 h 364613"/>
                <a:gd name="connsiteX74" fmla="*/ 101078 w 581833"/>
                <a:gd name="connsiteY74" fmla="*/ 120316 h 364613"/>
                <a:gd name="connsiteX75" fmla="*/ 213251 w 581833"/>
                <a:gd name="connsiteY75" fmla="*/ 120316 h 364613"/>
                <a:gd name="connsiteX76" fmla="*/ 223837 w 581833"/>
                <a:gd name="connsiteY76" fmla="*/ 109730 h 364613"/>
                <a:gd name="connsiteX77" fmla="*/ 223837 w 581833"/>
                <a:gd name="connsiteY77" fmla="*/ 158590 h 364613"/>
                <a:gd name="connsiteX78" fmla="*/ 213251 w 581833"/>
                <a:gd name="connsiteY78" fmla="*/ 148003 h 364613"/>
                <a:gd name="connsiteX79" fmla="*/ 101078 w 581833"/>
                <a:gd name="connsiteY79" fmla="*/ 148003 h 364613"/>
                <a:gd name="connsiteX80" fmla="*/ 90492 w 581833"/>
                <a:gd name="connsiteY80" fmla="*/ 158590 h 364613"/>
                <a:gd name="connsiteX81" fmla="*/ 101078 w 581833"/>
                <a:gd name="connsiteY81" fmla="*/ 169176 h 364613"/>
                <a:gd name="connsiteX82" fmla="*/ 213251 w 581833"/>
                <a:gd name="connsiteY82" fmla="*/ 169176 h 364613"/>
                <a:gd name="connsiteX83" fmla="*/ 223837 w 581833"/>
                <a:gd name="connsiteY83" fmla="*/ 158590 h 364613"/>
                <a:gd name="connsiteX84" fmla="*/ 223837 w 581833"/>
                <a:gd name="connsiteY84" fmla="*/ 207449 h 364613"/>
                <a:gd name="connsiteX85" fmla="*/ 213251 w 581833"/>
                <a:gd name="connsiteY85" fmla="*/ 196863 h 364613"/>
                <a:gd name="connsiteX86" fmla="*/ 101078 w 581833"/>
                <a:gd name="connsiteY86" fmla="*/ 196863 h 364613"/>
                <a:gd name="connsiteX87" fmla="*/ 90492 w 581833"/>
                <a:gd name="connsiteY87" fmla="*/ 207449 h 364613"/>
                <a:gd name="connsiteX88" fmla="*/ 101078 w 581833"/>
                <a:gd name="connsiteY88" fmla="*/ 218035 h 364613"/>
                <a:gd name="connsiteX89" fmla="*/ 213251 w 581833"/>
                <a:gd name="connsiteY89" fmla="*/ 218035 h 364613"/>
                <a:gd name="connsiteX90" fmla="*/ 223837 w 581833"/>
                <a:gd name="connsiteY90" fmla="*/ 207449 h 364613"/>
                <a:gd name="connsiteX91" fmla="*/ 358098 w 581833"/>
                <a:gd name="connsiteY91" fmla="*/ 256308 h 364613"/>
                <a:gd name="connsiteX92" fmla="*/ 347512 w 581833"/>
                <a:gd name="connsiteY92" fmla="*/ 245722 h 364613"/>
                <a:gd name="connsiteX93" fmla="*/ 235339 w 581833"/>
                <a:gd name="connsiteY93" fmla="*/ 245722 h 364613"/>
                <a:gd name="connsiteX94" fmla="*/ 224753 w 581833"/>
                <a:gd name="connsiteY94" fmla="*/ 256308 h 364613"/>
                <a:gd name="connsiteX95" fmla="*/ 235339 w 581833"/>
                <a:gd name="connsiteY95" fmla="*/ 266894 h 364613"/>
                <a:gd name="connsiteX96" fmla="*/ 347512 w 581833"/>
                <a:gd name="connsiteY96" fmla="*/ 266894 h 364613"/>
                <a:gd name="connsiteX97" fmla="*/ 358098 w 581833"/>
                <a:gd name="connsiteY97" fmla="*/ 256308 h 364613"/>
                <a:gd name="connsiteX98" fmla="*/ 358098 w 581833"/>
                <a:gd name="connsiteY98" fmla="*/ 305168 h 364613"/>
                <a:gd name="connsiteX99" fmla="*/ 347512 w 581833"/>
                <a:gd name="connsiteY99" fmla="*/ 294581 h 364613"/>
                <a:gd name="connsiteX100" fmla="*/ 235339 w 581833"/>
                <a:gd name="connsiteY100" fmla="*/ 294581 h 364613"/>
                <a:gd name="connsiteX101" fmla="*/ 224753 w 581833"/>
                <a:gd name="connsiteY101" fmla="*/ 305168 h 364613"/>
                <a:gd name="connsiteX102" fmla="*/ 235339 w 581833"/>
                <a:gd name="connsiteY102" fmla="*/ 315754 h 364613"/>
                <a:gd name="connsiteX103" fmla="*/ 347512 w 581833"/>
                <a:gd name="connsiteY103" fmla="*/ 315754 h 364613"/>
                <a:gd name="connsiteX104" fmla="*/ 358098 w 581833"/>
                <a:gd name="connsiteY104" fmla="*/ 305168 h 364613"/>
                <a:gd name="connsiteX105" fmla="*/ 358098 w 581833"/>
                <a:gd name="connsiteY105" fmla="*/ 354027 h 364613"/>
                <a:gd name="connsiteX106" fmla="*/ 347512 w 581833"/>
                <a:gd name="connsiteY106" fmla="*/ 343441 h 364613"/>
                <a:gd name="connsiteX107" fmla="*/ 235339 w 581833"/>
                <a:gd name="connsiteY107" fmla="*/ 343441 h 364613"/>
                <a:gd name="connsiteX108" fmla="*/ 224753 w 581833"/>
                <a:gd name="connsiteY108" fmla="*/ 354027 h 364613"/>
                <a:gd name="connsiteX109" fmla="*/ 235339 w 581833"/>
                <a:gd name="connsiteY109" fmla="*/ 364613 h 364613"/>
                <a:gd name="connsiteX110" fmla="*/ 347512 w 581833"/>
                <a:gd name="connsiteY110" fmla="*/ 364613 h 364613"/>
                <a:gd name="connsiteX111" fmla="*/ 358098 w 581833"/>
                <a:gd name="connsiteY111" fmla="*/ 354027 h 364613"/>
                <a:gd name="connsiteX112" fmla="*/ 273205 w 581833"/>
                <a:gd name="connsiteY112" fmla="*/ 12215 h 364613"/>
                <a:gd name="connsiteX113" fmla="*/ 260990 w 581833"/>
                <a:gd name="connsiteY113" fmla="*/ 0 h 364613"/>
                <a:gd name="connsiteX114" fmla="*/ 248776 w 581833"/>
                <a:gd name="connsiteY114" fmla="*/ 12215 h 364613"/>
                <a:gd name="connsiteX115" fmla="*/ 260990 w 581833"/>
                <a:gd name="connsiteY115" fmla="*/ 24430 h 364613"/>
                <a:gd name="connsiteX116" fmla="*/ 273205 w 581833"/>
                <a:gd name="connsiteY116" fmla="*/ 12215 h 364613"/>
                <a:gd name="connsiteX117" fmla="*/ 309850 w 581833"/>
                <a:gd name="connsiteY117" fmla="*/ 12215 h 364613"/>
                <a:gd name="connsiteX118" fmla="*/ 297635 w 581833"/>
                <a:gd name="connsiteY118" fmla="*/ 0 h 364613"/>
                <a:gd name="connsiteX119" fmla="*/ 285420 w 581833"/>
                <a:gd name="connsiteY119" fmla="*/ 12215 h 364613"/>
                <a:gd name="connsiteX120" fmla="*/ 297635 w 581833"/>
                <a:gd name="connsiteY120" fmla="*/ 24430 h 364613"/>
                <a:gd name="connsiteX121" fmla="*/ 309850 w 581833"/>
                <a:gd name="connsiteY121" fmla="*/ 12215 h 364613"/>
                <a:gd name="connsiteX122" fmla="*/ 346494 w 581833"/>
                <a:gd name="connsiteY122" fmla="*/ 12215 h 364613"/>
                <a:gd name="connsiteX123" fmla="*/ 334280 w 581833"/>
                <a:gd name="connsiteY123" fmla="*/ 0 h 364613"/>
                <a:gd name="connsiteX124" fmla="*/ 322065 w 581833"/>
                <a:gd name="connsiteY124" fmla="*/ 12215 h 364613"/>
                <a:gd name="connsiteX125" fmla="*/ 334280 w 581833"/>
                <a:gd name="connsiteY125" fmla="*/ 24430 h 364613"/>
                <a:gd name="connsiteX126" fmla="*/ 346494 w 581833"/>
                <a:gd name="connsiteY126" fmla="*/ 12215 h 364613"/>
                <a:gd name="connsiteX127" fmla="*/ 383139 w 581833"/>
                <a:gd name="connsiteY127" fmla="*/ 12215 h 364613"/>
                <a:gd name="connsiteX128" fmla="*/ 370924 w 581833"/>
                <a:gd name="connsiteY128" fmla="*/ 0 h 364613"/>
                <a:gd name="connsiteX129" fmla="*/ 358709 w 581833"/>
                <a:gd name="connsiteY129" fmla="*/ 12215 h 364613"/>
                <a:gd name="connsiteX130" fmla="*/ 370924 w 581833"/>
                <a:gd name="connsiteY130" fmla="*/ 24430 h 364613"/>
                <a:gd name="connsiteX131" fmla="*/ 383139 w 581833"/>
                <a:gd name="connsiteY131" fmla="*/ 12215 h 364613"/>
                <a:gd name="connsiteX132" fmla="*/ 419783 w 581833"/>
                <a:gd name="connsiteY132" fmla="*/ 12215 h 364613"/>
                <a:gd name="connsiteX133" fmla="*/ 407569 w 581833"/>
                <a:gd name="connsiteY133" fmla="*/ 0 h 364613"/>
                <a:gd name="connsiteX134" fmla="*/ 395354 w 581833"/>
                <a:gd name="connsiteY134" fmla="*/ 12215 h 364613"/>
                <a:gd name="connsiteX135" fmla="*/ 407569 w 581833"/>
                <a:gd name="connsiteY135" fmla="*/ 24430 h 364613"/>
                <a:gd name="connsiteX136" fmla="*/ 419783 w 581833"/>
                <a:gd name="connsiteY136" fmla="*/ 12215 h 364613"/>
                <a:gd name="connsiteX137" fmla="*/ 456428 w 581833"/>
                <a:gd name="connsiteY137" fmla="*/ 12215 h 364613"/>
                <a:gd name="connsiteX138" fmla="*/ 444213 w 581833"/>
                <a:gd name="connsiteY138" fmla="*/ 0 h 364613"/>
                <a:gd name="connsiteX139" fmla="*/ 431998 w 581833"/>
                <a:gd name="connsiteY139" fmla="*/ 12215 h 364613"/>
                <a:gd name="connsiteX140" fmla="*/ 444213 w 581833"/>
                <a:gd name="connsiteY140" fmla="*/ 24430 h 364613"/>
                <a:gd name="connsiteX141" fmla="*/ 456428 w 581833"/>
                <a:gd name="connsiteY141" fmla="*/ 12215 h 364613"/>
                <a:gd name="connsiteX142" fmla="*/ 273307 w 581833"/>
                <a:gd name="connsiteY142" fmla="*/ 109934 h 364613"/>
                <a:gd name="connsiteX143" fmla="*/ 261092 w 581833"/>
                <a:gd name="connsiteY143" fmla="*/ 97719 h 364613"/>
                <a:gd name="connsiteX144" fmla="*/ 248877 w 581833"/>
                <a:gd name="connsiteY144" fmla="*/ 109934 h 364613"/>
                <a:gd name="connsiteX145" fmla="*/ 261092 w 581833"/>
                <a:gd name="connsiteY145" fmla="*/ 122148 h 364613"/>
                <a:gd name="connsiteX146" fmla="*/ 273307 w 581833"/>
                <a:gd name="connsiteY146" fmla="*/ 109934 h 364613"/>
                <a:gd name="connsiteX147" fmla="*/ 309952 w 581833"/>
                <a:gd name="connsiteY147" fmla="*/ 109934 h 364613"/>
                <a:gd name="connsiteX148" fmla="*/ 297737 w 581833"/>
                <a:gd name="connsiteY148" fmla="*/ 97719 h 364613"/>
                <a:gd name="connsiteX149" fmla="*/ 285522 w 581833"/>
                <a:gd name="connsiteY149" fmla="*/ 109934 h 364613"/>
                <a:gd name="connsiteX150" fmla="*/ 297737 w 581833"/>
                <a:gd name="connsiteY150" fmla="*/ 122148 h 364613"/>
                <a:gd name="connsiteX151" fmla="*/ 309952 w 581833"/>
                <a:gd name="connsiteY151" fmla="*/ 109934 h 364613"/>
                <a:gd name="connsiteX152" fmla="*/ 346596 w 581833"/>
                <a:gd name="connsiteY152" fmla="*/ 109934 h 364613"/>
                <a:gd name="connsiteX153" fmla="*/ 334381 w 581833"/>
                <a:gd name="connsiteY153" fmla="*/ 97719 h 364613"/>
                <a:gd name="connsiteX154" fmla="*/ 322167 w 581833"/>
                <a:gd name="connsiteY154" fmla="*/ 109934 h 364613"/>
                <a:gd name="connsiteX155" fmla="*/ 334381 w 581833"/>
                <a:gd name="connsiteY155" fmla="*/ 122148 h 364613"/>
                <a:gd name="connsiteX156" fmla="*/ 346596 w 581833"/>
                <a:gd name="connsiteY156" fmla="*/ 109934 h 364613"/>
                <a:gd name="connsiteX157" fmla="*/ 383241 w 581833"/>
                <a:gd name="connsiteY157" fmla="*/ 109934 h 364613"/>
                <a:gd name="connsiteX158" fmla="*/ 371026 w 581833"/>
                <a:gd name="connsiteY158" fmla="*/ 97719 h 364613"/>
                <a:gd name="connsiteX159" fmla="*/ 358811 w 581833"/>
                <a:gd name="connsiteY159" fmla="*/ 109934 h 364613"/>
                <a:gd name="connsiteX160" fmla="*/ 371026 w 581833"/>
                <a:gd name="connsiteY160" fmla="*/ 122148 h 364613"/>
                <a:gd name="connsiteX161" fmla="*/ 383241 w 581833"/>
                <a:gd name="connsiteY161" fmla="*/ 109934 h 364613"/>
                <a:gd name="connsiteX162" fmla="*/ 419885 w 581833"/>
                <a:gd name="connsiteY162" fmla="*/ 109934 h 364613"/>
                <a:gd name="connsiteX163" fmla="*/ 407670 w 581833"/>
                <a:gd name="connsiteY163" fmla="*/ 97719 h 364613"/>
                <a:gd name="connsiteX164" fmla="*/ 395456 w 581833"/>
                <a:gd name="connsiteY164" fmla="*/ 109934 h 364613"/>
                <a:gd name="connsiteX165" fmla="*/ 407670 w 581833"/>
                <a:gd name="connsiteY165" fmla="*/ 122148 h 364613"/>
                <a:gd name="connsiteX166" fmla="*/ 419885 w 581833"/>
                <a:gd name="connsiteY166" fmla="*/ 109934 h 364613"/>
                <a:gd name="connsiteX167" fmla="*/ 456530 w 581833"/>
                <a:gd name="connsiteY167" fmla="*/ 109934 h 364613"/>
                <a:gd name="connsiteX168" fmla="*/ 444315 w 581833"/>
                <a:gd name="connsiteY168" fmla="*/ 97719 h 364613"/>
                <a:gd name="connsiteX169" fmla="*/ 432100 w 581833"/>
                <a:gd name="connsiteY169" fmla="*/ 109934 h 364613"/>
                <a:gd name="connsiteX170" fmla="*/ 444315 w 581833"/>
                <a:gd name="connsiteY170" fmla="*/ 122148 h 364613"/>
                <a:gd name="connsiteX171" fmla="*/ 456530 w 581833"/>
                <a:gd name="connsiteY171" fmla="*/ 109934 h 364613"/>
                <a:gd name="connsiteX172" fmla="*/ 398509 w 581833"/>
                <a:gd name="connsiteY172" fmla="*/ 250302 h 364613"/>
                <a:gd name="connsiteX173" fmla="*/ 386294 w 581833"/>
                <a:gd name="connsiteY173" fmla="*/ 238088 h 364613"/>
                <a:gd name="connsiteX174" fmla="*/ 374080 w 581833"/>
                <a:gd name="connsiteY174" fmla="*/ 250302 h 364613"/>
                <a:gd name="connsiteX175" fmla="*/ 386294 w 581833"/>
                <a:gd name="connsiteY175" fmla="*/ 262517 h 364613"/>
                <a:gd name="connsiteX176" fmla="*/ 398509 w 581833"/>
                <a:gd name="connsiteY176" fmla="*/ 250302 h 364613"/>
                <a:gd name="connsiteX177" fmla="*/ 435154 w 581833"/>
                <a:gd name="connsiteY177" fmla="*/ 250302 h 364613"/>
                <a:gd name="connsiteX178" fmla="*/ 422939 w 581833"/>
                <a:gd name="connsiteY178" fmla="*/ 238088 h 364613"/>
                <a:gd name="connsiteX179" fmla="*/ 410724 w 581833"/>
                <a:gd name="connsiteY179" fmla="*/ 250302 h 364613"/>
                <a:gd name="connsiteX180" fmla="*/ 422939 w 581833"/>
                <a:gd name="connsiteY180" fmla="*/ 262517 h 364613"/>
                <a:gd name="connsiteX181" fmla="*/ 435154 w 581833"/>
                <a:gd name="connsiteY181" fmla="*/ 250302 h 364613"/>
                <a:gd name="connsiteX182" fmla="*/ 471798 w 581833"/>
                <a:gd name="connsiteY182" fmla="*/ 250302 h 364613"/>
                <a:gd name="connsiteX183" fmla="*/ 459583 w 581833"/>
                <a:gd name="connsiteY183" fmla="*/ 238088 h 364613"/>
                <a:gd name="connsiteX184" fmla="*/ 447369 w 581833"/>
                <a:gd name="connsiteY184" fmla="*/ 250302 h 364613"/>
                <a:gd name="connsiteX185" fmla="*/ 459583 w 581833"/>
                <a:gd name="connsiteY185" fmla="*/ 262517 h 364613"/>
                <a:gd name="connsiteX186" fmla="*/ 471798 w 581833"/>
                <a:gd name="connsiteY186" fmla="*/ 250302 h 364613"/>
                <a:gd name="connsiteX187" fmla="*/ 508443 w 581833"/>
                <a:gd name="connsiteY187" fmla="*/ 250302 h 364613"/>
                <a:gd name="connsiteX188" fmla="*/ 496228 w 581833"/>
                <a:gd name="connsiteY188" fmla="*/ 238088 h 364613"/>
                <a:gd name="connsiteX189" fmla="*/ 484013 w 581833"/>
                <a:gd name="connsiteY189" fmla="*/ 250302 h 364613"/>
                <a:gd name="connsiteX190" fmla="*/ 496228 w 581833"/>
                <a:gd name="connsiteY190" fmla="*/ 262517 h 364613"/>
                <a:gd name="connsiteX191" fmla="*/ 508443 w 581833"/>
                <a:gd name="connsiteY191" fmla="*/ 250302 h 364613"/>
                <a:gd name="connsiteX192" fmla="*/ 545087 w 581833"/>
                <a:gd name="connsiteY192" fmla="*/ 250302 h 364613"/>
                <a:gd name="connsiteX193" fmla="*/ 532873 w 581833"/>
                <a:gd name="connsiteY193" fmla="*/ 238088 h 364613"/>
                <a:gd name="connsiteX194" fmla="*/ 520658 w 581833"/>
                <a:gd name="connsiteY194" fmla="*/ 250302 h 364613"/>
                <a:gd name="connsiteX195" fmla="*/ 532873 w 581833"/>
                <a:gd name="connsiteY195" fmla="*/ 262517 h 364613"/>
                <a:gd name="connsiteX196" fmla="*/ 545087 w 581833"/>
                <a:gd name="connsiteY196" fmla="*/ 250302 h 364613"/>
                <a:gd name="connsiteX197" fmla="*/ 581732 w 581833"/>
                <a:gd name="connsiteY197" fmla="*/ 250302 h 364613"/>
                <a:gd name="connsiteX198" fmla="*/ 569517 w 581833"/>
                <a:gd name="connsiteY198" fmla="*/ 238088 h 364613"/>
                <a:gd name="connsiteX199" fmla="*/ 557302 w 581833"/>
                <a:gd name="connsiteY199" fmla="*/ 250302 h 364613"/>
                <a:gd name="connsiteX200" fmla="*/ 569517 w 581833"/>
                <a:gd name="connsiteY200" fmla="*/ 262517 h 364613"/>
                <a:gd name="connsiteX201" fmla="*/ 581732 w 581833"/>
                <a:gd name="connsiteY201" fmla="*/ 250302 h 364613"/>
                <a:gd name="connsiteX202" fmla="*/ 398611 w 581833"/>
                <a:gd name="connsiteY202" fmla="*/ 351075 h 364613"/>
                <a:gd name="connsiteX203" fmla="*/ 386396 w 581833"/>
                <a:gd name="connsiteY203" fmla="*/ 338860 h 364613"/>
                <a:gd name="connsiteX204" fmla="*/ 374181 w 581833"/>
                <a:gd name="connsiteY204" fmla="*/ 351075 h 364613"/>
                <a:gd name="connsiteX205" fmla="*/ 386396 w 581833"/>
                <a:gd name="connsiteY205" fmla="*/ 363290 h 364613"/>
                <a:gd name="connsiteX206" fmla="*/ 398611 w 581833"/>
                <a:gd name="connsiteY206" fmla="*/ 351075 h 364613"/>
                <a:gd name="connsiteX207" fmla="*/ 435256 w 581833"/>
                <a:gd name="connsiteY207" fmla="*/ 351075 h 364613"/>
                <a:gd name="connsiteX208" fmla="*/ 423041 w 581833"/>
                <a:gd name="connsiteY208" fmla="*/ 338860 h 364613"/>
                <a:gd name="connsiteX209" fmla="*/ 410826 w 581833"/>
                <a:gd name="connsiteY209" fmla="*/ 351075 h 364613"/>
                <a:gd name="connsiteX210" fmla="*/ 423041 w 581833"/>
                <a:gd name="connsiteY210" fmla="*/ 363290 h 364613"/>
                <a:gd name="connsiteX211" fmla="*/ 435256 w 581833"/>
                <a:gd name="connsiteY211" fmla="*/ 351075 h 364613"/>
                <a:gd name="connsiteX212" fmla="*/ 471900 w 581833"/>
                <a:gd name="connsiteY212" fmla="*/ 351075 h 364613"/>
                <a:gd name="connsiteX213" fmla="*/ 459685 w 581833"/>
                <a:gd name="connsiteY213" fmla="*/ 338860 h 364613"/>
                <a:gd name="connsiteX214" fmla="*/ 447470 w 581833"/>
                <a:gd name="connsiteY214" fmla="*/ 351075 h 364613"/>
                <a:gd name="connsiteX215" fmla="*/ 459685 w 581833"/>
                <a:gd name="connsiteY215" fmla="*/ 363290 h 364613"/>
                <a:gd name="connsiteX216" fmla="*/ 471900 w 581833"/>
                <a:gd name="connsiteY216" fmla="*/ 351075 h 364613"/>
                <a:gd name="connsiteX217" fmla="*/ 508545 w 581833"/>
                <a:gd name="connsiteY217" fmla="*/ 351075 h 364613"/>
                <a:gd name="connsiteX218" fmla="*/ 496330 w 581833"/>
                <a:gd name="connsiteY218" fmla="*/ 338860 h 364613"/>
                <a:gd name="connsiteX219" fmla="*/ 484115 w 581833"/>
                <a:gd name="connsiteY219" fmla="*/ 351075 h 364613"/>
                <a:gd name="connsiteX220" fmla="*/ 496330 w 581833"/>
                <a:gd name="connsiteY220" fmla="*/ 363290 h 364613"/>
                <a:gd name="connsiteX221" fmla="*/ 508545 w 581833"/>
                <a:gd name="connsiteY221" fmla="*/ 351075 h 364613"/>
                <a:gd name="connsiteX222" fmla="*/ 545189 w 581833"/>
                <a:gd name="connsiteY222" fmla="*/ 351075 h 364613"/>
                <a:gd name="connsiteX223" fmla="*/ 532974 w 581833"/>
                <a:gd name="connsiteY223" fmla="*/ 338860 h 364613"/>
                <a:gd name="connsiteX224" fmla="*/ 520759 w 581833"/>
                <a:gd name="connsiteY224" fmla="*/ 351075 h 364613"/>
                <a:gd name="connsiteX225" fmla="*/ 532974 w 581833"/>
                <a:gd name="connsiteY225" fmla="*/ 363290 h 364613"/>
                <a:gd name="connsiteX226" fmla="*/ 545189 w 581833"/>
                <a:gd name="connsiteY226" fmla="*/ 351075 h 364613"/>
                <a:gd name="connsiteX227" fmla="*/ 581834 w 581833"/>
                <a:gd name="connsiteY227" fmla="*/ 351075 h 364613"/>
                <a:gd name="connsiteX228" fmla="*/ 569619 w 581833"/>
                <a:gd name="connsiteY228" fmla="*/ 338860 h 364613"/>
                <a:gd name="connsiteX229" fmla="*/ 557404 w 581833"/>
                <a:gd name="connsiteY229" fmla="*/ 351075 h 364613"/>
                <a:gd name="connsiteX230" fmla="*/ 569619 w 581833"/>
                <a:gd name="connsiteY230" fmla="*/ 363290 h 364613"/>
                <a:gd name="connsiteX231" fmla="*/ 581834 w 581833"/>
                <a:gd name="connsiteY231" fmla="*/ 351075 h 36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581833" h="364613">
                  <a:moveTo>
                    <a:pt x="53338" y="22394"/>
                  </a:moveTo>
                  <a:lnTo>
                    <a:pt x="10586" y="22394"/>
                  </a:lnTo>
                  <a:cubicBezTo>
                    <a:pt x="4784" y="22394"/>
                    <a:pt x="0" y="17712"/>
                    <a:pt x="0" y="11808"/>
                  </a:cubicBezTo>
                  <a:cubicBezTo>
                    <a:pt x="0" y="5904"/>
                    <a:pt x="4682" y="1221"/>
                    <a:pt x="10586" y="1221"/>
                  </a:cubicBezTo>
                  <a:lnTo>
                    <a:pt x="53338" y="1221"/>
                  </a:lnTo>
                  <a:cubicBezTo>
                    <a:pt x="59140" y="1221"/>
                    <a:pt x="63924" y="5904"/>
                    <a:pt x="63924" y="11808"/>
                  </a:cubicBezTo>
                  <a:cubicBezTo>
                    <a:pt x="63924" y="17712"/>
                    <a:pt x="59242" y="22394"/>
                    <a:pt x="53338" y="22394"/>
                  </a:cubicBezTo>
                  <a:close/>
                  <a:moveTo>
                    <a:pt x="63924" y="60667"/>
                  </a:moveTo>
                  <a:cubicBezTo>
                    <a:pt x="63924" y="54865"/>
                    <a:pt x="59242" y="50081"/>
                    <a:pt x="53338" y="50081"/>
                  </a:cubicBezTo>
                  <a:lnTo>
                    <a:pt x="10586" y="50081"/>
                  </a:lnTo>
                  <a:cubicBezTo>
                    <a:pt x="4784" y="50081"/>
                    <a:pt x="0" y="54763"/>
                    <a:pt x="0" y="60667"/>
                  </a:cubicBezTo>
                  <a:cubicBezTo>
                    <a:pt x="0" y="66571"/>
                    <a:pt x="4682" y="71253"/>
                    <a:pt x="10586" y="71253"/>
                  </a:cubicBezTo>
                  <a:lnTo>
                    <a:pt x="53338" y="71253"/>
                  </a:lnTo>
                  <a:cubicBezTo>
                    <a:pt x="59140" y="71253"/>
                    <a:pt x="63924" y="66571"/>
                    <a:pt x="63924" y="60667"/>
                  </a:cubicBezTo>
                  <a:close/>
                  <a:moveTo>
                    <a:pt x="63924" y="109527"/>
                  </a:moveTo>
                  <a:cubicBezTo>
                    <a:pt x="63924" y="103724"/>
                    <a:pt x="59242" y="98940"/>
                    <a:pt x="53338" y="98940"/>
                  </a:cubicBezTo>
                  <a:lnTo>
                    <a:pt x="10586" y="98940"/>
                  </a:lnTo>
                  <a:cubicBezTo>
                    <a:pt x="4784" y="98940"/>
                    <a:pt x="0" y="103623"/>
                    <a:pt x="0" y="109527"/>
                  </a:cubicBezTo>
                  <a:cubicBezTo>
                    <a:pt x="0" y="115430"/>
                    <a:pt x="4682" y="120113"/>
                    <a:pt x="10586" y="120113"/>
                  </a:cubicBezTo>
                  <a:lnTo>
                    <a:pt x="53338" y="120113"/>
                  </a:lnTo>
                  <a:cubicBezTo>
                    <a:pt x="59140" y="120113"/>
                    <a:pt x="63924" y="115430"/>
                    <a:pt x="63924" y="109527"/>
                  </a:cubicBezTo>
                  <a:close/>
                  <a:moveTo>
                    <a:pt x="63924" y="158386"/>
                  </a:moveTo>
                  <a:cubicBezTo>
                    <a:pt x="63924" y="152584"/>
                    <a:pt x="59242" y="147800"/>
                    <a:pt x="53338" y="147800"/>
                  </a:cubicBezTo>
                  <a:lnTo>
                    <a:pt x="10586" y="147800"/>
                  </a:lnTo>
                  <a:cubicBezTo>
                    <a:pt x="4784" y="147800"/>
                    <a:pt x="0" y="152482"/>
                    <a:pt x="0" y="158386"/>
                  </a:cubicBezTo>
                  <a:cubicBezTo>
                    <a:pt x="0" y="164290"/>
                    <a:pt x="4682" y="168972"/>
                    <a:pt x="10586" y="168972"/>
                  </a:cubicBezTo>
                  <a:lnTo>
                    <a:pt x="53338" y="168972"/>
                  </a:lnTo>
                  <a:cubicBezTo>
                    <a:pt x="59140" y="168972"/>
                    <a:pt x="63924" y="164290"/>
                    <a:pt x="63924" y="158386"/>
                  </a:cubicBezTo>
                  <a:close/>
                  <a:moveTo>
                    <a:pt x="63924" y="207245"/>
                  </a:moveTo>
                  <a:cubicBezTo>
                    <a:pt x="63924" y="201443"/>
                    <a:pt x="59242" y="196659"/>
                    <a:pt x="53338" y="196659"/>
                  </a:cubicBezTo>
                  <a:lnTo>
                    <a:pt x="10586" y="196659"/>
                  </a:lnTo>
                  <a:cubicBezTo>
                    <a:pt x="4784" y="196659"/>
                    <a:pt x="0" y="201341"/>
                    <a:pt x="0" y="207245"/>
                  </a:cubicBezTo>
                  <a:cubicBezTo>
                    <a:pt x="0" y="213149"/>
                    <a:pt x="4682" y="217831"/>
                    <a:pt x="10586" y="217831"/>
                  </a:cubicBezTo>
                  <a:lnTo>
                    <a:pt x="53338" y="217831"/>
                  </a:lnTo>
                  <a:cubicBezTo>
                    <a:pt x="59140" y="217831"/>
                    <a:pt x="63924" y="213149"/>
                    <a:pt x="63924" y="207245"/>
                  </a:cubicBezTo>
                  <a:close/>
                  <a:moveTo>
                    <a:pt x="63924" y="256105"/>
                  </a:moveTo>
                  <a:cubicBezTo>
                    <a:pt x="63924" y="250302"/>
                    <a:pt x="59242" y="245518"/>
                    <a:pt x="53338" y="245518"/>
                  </a:cubicBezTo>
                  <a:lnTo>
                    <a:pt x="10586" y="245518"/>
                  </a:lnTo>
                  <a:cubicBezTo>
                    <a:pt x="4784" y="245518"/>
                    <a:pt x="0" y="250201"/>
                    <a:pt x="0" y="256105"/>
                  </a:cubicBezTo>
                  <a:cubicBezTo>
                    <a:pt x="0" y="262009"/>
                    <a:pt x="4682" y="266691"/>
                    <a:pt x="10586" y="266691"/>
                  </a:cubicBezTo>
                  <a:lnTo>
                    <a:pt x="53338" y="266691"/>
                  </a:lnTo>
                  <a:cubicBezTo>
                    <a:pt x="59140" y="266691"/>
                    <a:pt x="63924" y="262009"/>
                    <a:pt x="63924" y="256105"/>
                  </a:cubicBezTo>
                  <a:close/>
                  <a:moveTo>
                    <a:pt x="63924" y="304964"/>
                  </a:moveTo>
                  <a:cubicBezTo>
                    <a:pt x="63924" y="299162"/>
                    <a:pt x="59242" y="294378"/>
                    <a:pt x="53338" y="294378"/>
                  </a:cubicBezTo>
                  <a:lnTo>
                    <a:pt x="10586" y="294378"/>
                  </a:lnTo>
                  <a:cubicBezTo>
                    <a:pt x="4784" y="294378"/>
                    <a:pt x="0" y="299060"/>
                    <a:pt x="0" y="304964"/>
                  </a:cubicBezTo>
                  <a:cubicBezTo>
                    <a:pt x="0" y="310868"/>
                    <a:pt x="4682" y="315550"/>
                    <a:pt x="10586" y="315550"/>
                  </a:cubicBezTo>
                  <a:lnTo>
                    <a:pt x="53338" y="315550"/>
                  </a:lnTo>
                  <a:cubicBezTo>
                    <a:pt x="59140" y="315550"/>
                    <a:pt x="63924" y="310868"/>
                    <a:pt x="63924" y="304964"/>
                  </a:cubicBezTo>
                  <a:close/>
                  <a:moveTo>
                    <a:pt x="63924" y="353823"/>
                  </a:moveTo>
                  <a:cubicBezTo>
                    <a:pt x="63924" y="348021"/>
                    <a:pt x="59242" y="343237"/>
                    <a:pt x="53338" y="343237"/>
                  </a:cubicBezTo>
                  <a:lnTo>
                    <a:pt x="10586" y="343237"/>
                  </a:lnTo>
                  <a:cubicBezTo>
                    <a:pt x="4784" y="343237"/>
                    <a:pt x="0" y="347920"/>
                    <a:pt x="0" y="353823"/>
                  </a:cubicBezTo>
                  <a:cubicBezTo>
                    <a:pt x="0" y="359727"/>
                    <a:pt x="4682" y="364410"/>
                    <a:pt x="10586" y="364410"/>
                  </a:cubicBezTo>
                  <a:lnTo>
                    <a:pt x="53338" y="364410"/>
                  </a:lnTo>
                  <a:cubicBezTo>
                    <a:pt x="59140" y="364410"/>
                    <a:pt x="63924" y="359727"/>
                    <a:pt x="63924" y="353823"/>
                  </a:cubicBezTo>
                  <a:close/>
                  <a:moveTo>
                    <a:pt x="223837" y="12011"/>
                  </a:moveTo>
                  <a:cubicBezTo>
                    <a:pt x="223837" y="6209"/>
                    <a:pt x="219155" y="1425"/>
                    <a:pt x="213251" y="1425"/>
                  </a:cubicBezTo>
                  <a:lnTo>
                    <a:pt x="101078" y="1425"/>
                  </a:lnTo>
                  <a:cubicBezTo>
                    <a:pt x="95276" y="1425"/>
                    <a:pt x="90492" y="6107"/>
                    <a:pt x="90492" y="12011"/>
                  </a:cubicBezTo>
                  <a:cubicBezTo>
                    <a:pt x="90492" y="17915"/>
                    <a:pt x="95174" y="22597"/>
                    <a:pt x="101078" y="22597"/>
                  </a:cubicBezTo>
                  <a:lnTo>
                    <a:pt x="213251" y="22597"/>
                  </a:lnTo>
                  <a:cubicBezTo>
                    <a:pt x="219053" y="22597"/>
                    <a:pt x="223837" y="17915"/>
                    <a:pt x="223837" y="12011"/>
                  </a:cubicBezTo>
                  <a:close/>
                  <a:moveTo>
                    <a:pt x="223837" y="60871"/>
                  </a:moveTo>
                  <a:cubicBezTo>
                    <a:pt x="223837" y="55069"/>
                    <a:pt x="219155" y="50284"/>
                    <a:pt x="213251" y="50284"/>
                  </a:cubicBezTo>
                  <a:lnTo>
                    <a:pt x="101078" y="50284"/>
                  </a:lnTo>
                  <a:cubicBezTo>
                    <a:pt x="95276" y="50284"/>
                    <a:pt x="90492" y="54967"/>
                    <a:pt x="90492" y="60871"/>
                  </a:cubicBezTo>
                  <a:cubicBezTo>
                    <a:pt x="90492" y="66774"/>
                    <a:pt x="95174" y="71457"/>
                    <a:pt x="101078" y="71457"/>
                  </a:cubicBezTo>
                  <a:lnTo>
                    <a:pt x="213251" y="71457"/>
                  </a:lnTo>
                  <a:cubicBezTo>
                    <a:pt x="219053" y="71457"/>
                    <a:pt x="223837" y="66774"/>
                    <a:pt x="223837" y="60871"/>
                  </a:cubicBezTo>
                  <a:close/>
                  <a:moveTo>
                    <a:pt x="223837" y="109730"/>
                  </a:moveTo>
                  <a:cubicBezTo>
                    <a:pt x="223837" y="103928"/>
                    <a:pt x="219155" y="99144"/>
                    <a:pt x="213251" y="99144"/>
                  </a:cubicBezTo>
                  <a:lnTo>
                    <a:pt x="101078" y="99144"/>
                  </a:lnTo>
                  <a:cubicBezTo>
                    <a:pt x="95276" y="99144"/>
                    <a:pt x="90492" y="103826"/>
                    <a:pt x="90492" y="109730"/>
                  </a:cubicBezTo>
                  <a:cubicBezTo>
                    <a:pt x="90492" y="115634"/>
                    <a:pt x="95174" y="120316"/>
                    <a:pt x="101078" y="120316"/>
                  </a:cubicBezTo>
                  <a:lnTo>
                    <a:pt x="213251" y="120316"/>
                  </a:lnTo>
                  <a:cubicBezTo>
                    <a:pt x="219053" y="120316"/>
                    <a:pt x="223837" y="115634"/>
                    <a:pt x="223837" y="109730"/>
                  </a:cubicBezTo>
                  <a:close/>
                  <a:moveTo>
                    <a:pt x="223837" y="158590"/>
                  </a:moveTo>
                  <a:cubicBezTo>
                    <a:pt x="223837" y="152787"/>
                    <a:pt x="219155" y="148003"/>
                    <a:pt x="213251" y="148003"/>
                  </a:cubicBezTo>
                  <a:lnTo>
                    <a:pt x="101078" y="148003"/>
                  </a:lnTo>
                  <a:cubicBezTo>
                    <a:pt x="95276" y="148003"/>
                    <a:pt x="90492" y="152686"/>
                    <a:pt x="90492" y="158590"/>
                  </a:cubicBezTo>
                  <a:cubicBezTo>
                    <a:pt x="90492" y="164493"/>
                    <a:pt x="95174" y="169176"/>
                    <a:pt x="101078" y="169176"/>
                  </a:cubicBezTo>
                  <a:lnTo>
                    <a:pt x="213251" y="169176"/>
                  </a:lnTo>
                  <a:cubicBezTo>
                    <a:pt x="219053" y="169176"/>
                    <a:pt x="223837" y="164493"/>
                    <a:pt x="223837" y="158590"/>
                  </a:cubicBezTo>
                  <a:close/>
                  <a:moveTo>
                    <a:pt x="223837" y="207449"/>
                  </a:moveTo>
                  <a:cubicBezTo>
                    <a:pt x="223837" y="201647"/>
                    <a:pt x="219155" y="196863"/>
                    <a:pt x="213251" y="196863"/>
                  </a:cubicBezTo>
                  <a:lnTo>
                    <a:pt x="101078" y="196863"/>
                  </a:lnTo>
                  <a:cubicBezTo>
                    <a:pt x="95276" y="196863"/>
                    <a:pt x="90492" y="201545"/>
                    <a:pt x="90492" y="207449"/>
                  </a:cubicBezTo>
                  <a:cubicBezTo>
                    <a:pt x="90492" y="213353"/>
                    <a:pt x="95174" y="218035"/>
                    <a:pt x="101078" y="218035"/>
                  </a:cubicBezTo>
                  <a:lnTo>
                    <a:pt x="213251" y="218035"/>
                  </a:lnTo>
                  <a:cubicBezTo>
                    <a:pt x="219053" y="218035"/>
                    <a:pt x="223837" y="213353"/>
                    <a:pt x="223837" y="207449"/>
                  </a:cubicBezTo>
                  <a:close/>
                  <a:moveTo>
                    <a:pt x="358098" y="256308"/>
                  </a:moveTo>
                  <a:cubicBezTo>
                    <a:pt x="358098" y="250506"/>
                    <a:pt x="353416" y="245722"/>
                    <a:pt x="347512" y="245722"/>
                  </a:cubicBezTo>
                  <a:lnTo>
                    <a:pt x="235339" y="245722"/>
                  </a:lnTo>
                  <a:cubicBezTo>
                    <a:pt x="229537" y="245722"/>
                    <a:pt x="224753" y="250404"/>
                    <a:pt x="224753" y="256308"/>
                  </a:cubicBezTo>
                  <a:cubicBezTo>
                    <a:pt x="224753" y="262212"/>
                    <a:pt x="229435" y="266894"/>
                    <a:pt x="235339" y="266894"/>
                  </a:cubicBezTo>
                  <a:lnTo>
                    <a:pt x="347512" y="266894"/>
                  </a:lnTo>
                  <a:cubicBezTo>
                    <a:pt x="353314" y="266894"/>
                    <a:pt x="358098" y="262212"/>
                    <a:pt x="358098" y="256308"/>
                  </a:cubicBezTo>
                  <a:close/>
                  <a:moveTo>
                    <a:pt x="358098" y="305168"/>
                  </a:moveTo>
                  <a:cubicBezTo>
                    <a:pt x="358098" y="299365"/>
                    <a:pt x="353416" y="294581"/>
                    <a:pt x="347512" y="294581"/>
                  </a:cubicBezTo>
                  <a:lnTo>
                    <a:pt x="235339" y="294581"/>
                  </a:lnTo>
                  <a:cubicBezTo>
                    <a:pt x="229537" y="294581"/>
                    <a:pt x="224753" y="299264"/>
                    <a:pt x="224753" y="305168"/>
                  </a:cubicBezTo>
                  <a:cubicBezTo>
                    <a:pt x="224753" y="311071"/>
                    <a:pt x="229435" y="315754"/>
                    <a:pt x="235339" y="315754"/>
                  </a:cubicBezTo>
                  <a:lnTo>
                    <a:pt x="347512" y="315754"/>
                  </a:lnTo>
                  <a:cubicBezTo>
                    <a:pt x="353314" y="315754"/>
                    <a:pt x="358098" y="311071"/>
                    <a:pt x="358098" y="305168"/>
                  </a:cubicBezTo>
                  <a:close/>
                  <a:moveTo>
                    <a:pt x="358098" y="354027"/>
                  </a:moveTo>
                  <a:cubicBezTo>
                    <a:pt x="358098" y="348225"/>
                    <a:pt x="353416" y="343441"/>
                    <a:pt x="347512" y="343441"/>
                  </a:cubicBezTo>
                  <a:lnTo>
                    <a:pt x="235339" y="343441"/>
                  </a:lnTo>
                  <a:cubicBezTo>
                    <a:pt x="229537" y="343441"/>
                    <a:pt x="224753" y="348123"/>
                    <a:pt x="224753" y="354027"/>
                  </a:cubicBezTo>
                  <a:cubicBezTo>
                    <a:pt x="224753" y="359931"/>
                    <a:pt x="229435" y="364613"/>
                    <a:pt x="235339" y="364613"/>
                  </a:cubicBezTo>
                  <a:lnTo>
                    <a:pt x="347512" y="364613"/>
                  </a:lnTo>
                  <a:cubicBezTo>
                    <a:pt x="353314" y="364613"/>
                    <a:pt x="358098" y="359931"/>
                    <a:pt x="358098" y="354027"/>
                  </a:cubicBezTo>
                  <a:close/>
                  <a:moveTo>
                    <a:pt x="273205" y="12215"/>
                  </a:moveTo>
                  <a:cubicBezTo>
                    <a:pt x="273205" y="5497"/>
                    <a:pt x="267709" y="0"/>
                    <a:pt x="260990" y="0"/>
                  </a:cubicBezTo>
                  <a:cubicBezTo>
                    <a:pt x="254272" y="0"/>
                    <a:pt x="248776" y="5497"/>
                    <a:pt x="248776" y="12215"/>
                  </a:cubicBezTo>
                  <a:cubicBezTo>
                    <a:pt x="248776" y="18933"/>
                    <a:pt x="254272" y="24430"/>
                    <a:pt x="260990" y="24430"/>
                  </a:cubicBezTo>
                  <a:cubicBezTo>
                    <a:pt x="267709" y="24430"/>
                    <a:pt x="273205" y="18933"/>
                    <a:pt x="273205" y="12215"/>
                  </a:cubicBezTo>
                  <a:close/>
                  <a:moveTo>
                    <a:pt x="309850" y="12215"/>
                  </a:moveTo>
                  <a:cubicBezTo>
                    <a:pt x="309850" y="5497"/>
                    <a:pt x="304353" y="0"/>
                    <a:pt x="297635" y="0"/>
                  </a:cubicBezTo>
                  <a:cubicBezTo>
                    <a:pt x="290917" y="0"/>
                    <a:pt x="285420" y="5497"/>
                    <a:pt x="285420" y="12215"/>
                  </a:cubicBezTo>
                  <a:cubicBezTo>
                    <a:pt x="285420" y="18933"/>
                    <a:pt x="290917" y="24430"/>
                    <a:pt x="297635" y="24430"/>
                  </a:cubicBezTo>
                  <a:cubicBezTo>
                    <a:pt x="304353" y="24430"/>
                    <a:pt x="309850" y="18933"/>
                    <a:pt x="309850" y="12215"/>
                  </a:cubicBezTo>
                  <a:close/>
                  <a:moveTo>
                    <a:pt x="346494" y="12215"/>
                  </a:moveTo>
                  <a:cubicBezTo>
                    <a:pt x="346494" y="5497"/>
                    <a:pt x="340998" y="0"/>
                    <a:pt x="334280" y="0"/>
                  </a:cubicBezTo>
                  <a:cubicBezTo>
                    <a:pt x="327561" y="0"/>
                    <a:pt x="322065" y="5497"/>
                    <a:pt x="322065" y="12215"/>
                  </a:cubicBezTo>
                  <a:cubicBezTo>
                    <a:pt x="322065" y="18933"/>
                    <a:pt x="327561" y="24430"/>
                    <a:pt x="334280" y="24430"/>
                  </a:cubicBezTo>
                  <a:cubicBezTo>
                    <a:pt x="340998" y="24430"/>
                    <a:pt x="346494" y="18933"/>
                    <a:pt x="346494" y="12215"/>
                  </a:cubicBezTo>
                  <a:close/>
                  <a:moveTo>
                    <a:pt x="383139" y="12215"/>
                  </a:moveTo>
                  <a:cubicBezTo>
                    <a:pt x="383139" y="5497"/>
                    <a:pt x="377642" y="0"/>
                    <a:pt x="370924" y="0"/>
                  </a:cubicBezTo>
                  <a:cubicBezTo>
                    <a:pt x="364206" y="0"/>
                    <a:pt x="358709" y="5497"/>
                    <a:pt x="358709" y="12215"/>
                  </a:cubicBezTo>
                  <a:cubicBezTo>
                    <a:pt x="358709" y="18933"/>
                    <a:pt x="364206" y="24430"/>
                    <a:pt x="370924" y="24430"/>
                  </a:cubicBezTo>
                  <a:cubicBezTo>
                    <a:pt x="377642" y="24430"/>
                    <a:pt x="383139" y="18933"/>
                    <a:pt x="383139" y="12215"/>
                  </a:cubicBezTo>
                  <a:close/>
                  <a:moveTo>
                    <a:pt x="419783" y="12215"/>
                  </a:moveTo>
                  <a:cubicBezTo>
                    <a:pt x="419783" y="5497"/>
                    <a:pt x="414287" y="0"/>
                    <a:pt x="407569" y="0"/>
                  </a:cubicBezTo>
                  <a:cubicBezTo>
                    <a:pt x="400850" y="0"/>
                    <a:pt x="395354" y="5497"/>
                    <a:pt x="395354" y="12215"/>
                  </a:cubicBezTo>
                  <a:cubicBezTo>
                    <a:pt x="395354" y="18933"/>
                    <a:pt x="400850" y="24430"/>
                    <a:pt x="407569" y="24430"/>
                  </a:cubicBezTo>
                  <a:cubicBezTo>
                    <a:pt x="414287" y="24430"/>
                    <a:pt x="419783" y="18933"/>
                    <a:pt x="419783" y="12215"/>
                  </a:cubicBezTo>
                  <a:close/>
                  <a:moveTo>
                    <a:pt x="456428" y="12215"/>
                  </a:moveTo>
                  <a:cubicBezTo>
                    <a:pt x="456428" y="5497"/>
                    <a:pt x="450931" y="0"/>
                    <a:pt x="444213" y="0"/>
                  </a:cubicBezTo>
                  <a:cubicBezTo>
                    <a:pt x="437495" y="0"/>
                    <a:pt x="431998" y="5497"/>
                    <a:pt x="431998" y="12215"/>
                  </a:cubicBezTo>
                  <a:cubicBezTo>
                    <a:pt x="431998" y="18933"/>
                    <a:pt x="437495" y="24430"/>
                    <a:pt x="444213" y="24430"/>
                  </a:cubicBezTo>
                  <a:cubicBezTo>
                    <a:pt x="450931" y="24430"/>
                    <a:pt x="456428" y="18933"/>
                    <a:pt x="456428" y="12215"/>
                  </a:cubicBezTo>
                  <a:close/>
                  <a:moveTo>
                    <a:pt x="273307" y="109934"/>
                  </a:moveTo>
                  <a:cubicBezTo>
                    <a:pt x="273307" y="103216"/>
                    <a:pt x="267810" y="97719"/>
                    <a:pt x="261092" y="97719"/>
                  </a:cubicBezTo>
                  <a:cubicBezTo>
                    <a:pt x="254374" y="97719"/>
                    <a:pt x="248877" y="103216"/>
                    <a:pt x="248877" y="109934"/>
                  </a:cubicBezTo>
                  <a:cubicBezTo>
                    <a:pt x="248877" y="116652"/>
                    <a:pt x="254374" y="122148"/>
                    <a:pt x="261092" y="122148"/>
                  </a:cubicBezTo>
                  <a:cubicBezTo>
                    <a:pt x="267810" y="122148"/>
                    <a:pt x="273307" y="116652"/>
                    <a:pt x="273307" y="109934"/>
                  </a:cubicBezTo>
                  <a:close/>
                  <a:moveTo>
                    <a:pt x="309952" y="109934"/>
                  </a:moveTo>
                  <a:cubicBezTo>
                    <a:pt x="309952" y="103216"/>
                    <a:pt x="304455" y="97719"/>
                    <a:pt x="297737" y="97719"/>
                  </a:cubicBezTo>
                  <a:cubicBezTo>
                    <a:pt x="291019" y="97719"/>
                    <a:pt x="285522" y="103216"/>
                    <a:pt x="285522" y="109934"/>
                  </a:cubicBezTo>
                  <a:cubicBezTo>
                    <a:pt x="285522" y="116652"/>
                    <a:pt x="291019" y="122148"/>
                    <a:pt x="297737" y="122148"/>
                  </a:cubicBezTo>
                  <a:cubicBezTo>
                    <a:pt x="304455" y="122148"/>
                    <a:pt x="309952" y="116652"/>
                    <a:pt x="309952" y="109934"/>
                  </a:cubicBezTo>
                  <a:close/>
                  <a:moveTo>
                    <a:pt x="346596" y="109934"/>
                  </a:moveTo>
                  <a:cubicBezTo>
                    <a:pt x="346596" y="103216"/>
                    <a:pt x="341099" y="97719"/>
                    <a:pt x="334381" y="97719"/>
                  </a:cubicBezTo>
                  <a:cubicBezTo>
                    <a:pt x="327663" y="97719"/>
                    <a:pt x="322167" y="103216"/>
                    <a:pt x="322167" y="109934"/>
                  </a:cubicBezTo>
                  <a:cubicBezTo>
                    <a:pt x="322167" y="116652"/>
                    <a:pt x="327663" y="122148"/>
                    <a:pt x="334381" y="122148"/>
                  </a:cubicBezTo>
                  <a:cubicBezTo>
                    <a:pt x="341099" y="122148"/>
                    <a:pt x="346596" y="116652"/>
                    <a:pt x="346596" y="109934"/>
                  </a:cubicBezTo>
                  <a:close/>
                  <a:moveTo>
                    <a:pt x="383241" y="109934"/>
                  </a:moveTo>
                  <a:cubicBezTo>
                    <a:pt x="383241" y="103216"/>
                    <a:pt x="377744" y="97719"/>
                    <a:pt x="371026" y="97719"/>
                  </a:cubicBezTo>
                  <a:cubicBezTo>
                    <a:pt x="364308" y="97719"/>
                    <a:pt x="358811" y="103216"/>
                    <a:pt x="358811" y="109934"/>
                  </a:cubicBezTo>
                  <a:cubicBezTo>
                    <a:pt x="358811" y="116652"/>
                    <a:pt x="364308" y="122148"/>
                    <a:pt x="371026" y="122148"/>
                  </a:cubicBezTo>
                  <a:cubicBezTo>
                    <a:pt x="377744" y="122148"/>
                    <a:pt x="383241" y="116652"/>
                    <a:pt x="383241" y="109934"/>
                  </a:cubicBezTo>
                  <a:close/>
                  <a:moveTo>
                    <a:pt x="419885" y="109934"/>
                  </a:moveTo>
                  <a:cubicBezTo>
                    <a:pt x="419885" y="103216"/>
                    <a:pt x="414389" y="97719"/>
                    <a:pt x="407670" y="97719"/>
                  </a:cubicBezTo>
                  <a:cubicBezTo>
                    <a:pt x="400952" y="97719"/>
                    <a:pt x="395456" y="103216"/>
                    <a:pt x="395456" y="109934"/>
                  </a:cubicBezTo>
                  <a:cubicBezTo>
                    <a:pt x="395456" y="116652"/>
                    <a:pt x="400952" y="122148"/>
                    <a:pt x="407670" y="122148"/>
                  </a:cubicBezTo>
                  <a:cubicBezTo>
                    <a:pt x="414389" y="122148"/>
                    <a:pt x="419885" y="116652"/>
                    <a:pt x="419885" y="109934"/>
                  </a:cubicBezTo>
                  <a:close/>
                  <a:moveTo>
                    <a:pt x="456530" y="109934"/>
                  </a:moveTo>
                  <a:cubicBezTo>
                    <a:pt x="456530" y="103216"/>
                    <a:pt x="451033" y="97719"/>
                    <a:pt x="444315" y="97719"/>
                  </a:cubicBezTo>
                  <a:cubicBezTo>
                    <a:pt x="437597" y="97719"/>
                    <a:pt x="432100" y="103216"/>
                    <a:pt x="432100" y="109934"/>
                  </a:cubicBezTo>
                  <a:cubicBezTo>
                    <a:pt x="432100" y="116652"/>
                    <a:pt x="437597" y="122148"/>
                    <a:pt x="444315" y="122148"/>
                  </a:cubicBezTo>
                  <a:cubicBezTo>
                    <a:pt x="451033" y="122148"/>
                    <a:pt x="456530" y="116652"/>
                    <a:pt x="456530" y="109934"/>
                  </a:cubicBezTo>
                  <a:close/>
                  <a:moveTo>
                    <a:pt x="398509" y="250302"/>
                  </a:moveTo>
                  <a:cubicBezTo>
                    <a:pt x="398509" y="243585"/>
                    <a:pt x="393013" y="238088"/>
                    <a:pt x="386294" y="238088"/>
                  </a:cubicBezTo>
                  <a:cubicBezTo>
                    <a:pt x="379576" y="238088"/>
                    <a:pt x="374080" y="243585"/>
                    <a:pt x="374080" y="250302"/>
                  </a:cubicBezTo>
                  <a:cubicBezTo>
                    <a:pt x="374080" y="257021"/>
                    <a:pt x="379576" y="262517"/>
                    <a:pt x="386294" y="262517"/>
                  </a:cubicBezTo>
                  <a:cubicBezTo>
                    <a:pt x="393013" y="262517"/>
                    <a:pt x="398509" y="257021"/>
                    <a:pt x="398509" y="250302"/>
                  </a:cubicBezTo>
                  <a:close/>
                  <a:moveTo>
                    <a:pt x="435154" y="250302"/>
                  </a:moveTo>
                  <a:cubicBezTo>
                    <a:pt x="435154" y="243585"/>
                    <a:pt x="429657" y="238088"/>
                    <a:pt x="422939" y="238088"/>
                  </a:cubicBezTo>
                  <a:cubicBezTo>
                    <a:pt x="416221" y="238088"/>
                    <a:pt x="410724" y="243585"/>
                    <a:pt x="410724" y="250302"/>
                  </a:cubicBezTo>
                  <a:cubicBezTo>
                    <a:pt x="410724" y="257021"/>
                    <a:pt x="416221" y="262517"/>
                    <a:pt x="422939" y="262517"/>
                  </a:cubicBezTo>
                  <a:cubicBezTo>
                    <a:pt x="429657" y="262517"/>
                    <a:pt x="435154" y="257021"/>
                    <a:pt x="435154" y="250302"/>
                  </a:cubicBezTo>
                  <a:close/>
                  <a:moveTo>
                    <a:pt x="471798" y="250302"/>
                  </a:moveTo>
                  <a:cubicBezTo>
                    <a:pt x="471798" y="243585"/>
                    <a:pt x="466302" y="238088"/>
                    <a:pt x="459583" y="238088"/>
                  </a:cubicBezTo>
                  <a:cubicBezTo>
                    <a:pt x="452865" y="238088"/>
                    <a:pt x="447369" y="243585"/>
                    <a:pt x="447369" y="250302"/>
                  </a:cubicBezTo>
                  <a:cubicBezTo>
                    <a:pt x="447369" y="257021"/>
                    <a:pt x="452865" y="262517"/>
                    <a:pt x="459583" y="262517"/>
                  </a:cubicBezTo>
                  <a:cubicBezTo>
                    <a:pt x="466302" y="262517"/>
                    <a:pt x="471798" y="257021"/>
                    <a:pt x="471798" y="250302"/>
                  </a:cubicBezTo>
                  <a:close/>
                  <a:moveTo>
                    <a:pt x="508443" y="250302"/>
                  </a:moveTo>
                  <a:cubicBezTo>
                    <a:pt x="508443" y="243585"/>
                    <a:pt x="502946" y="238088"/>
                    <a:pt x="496228" y="238088"/>
                  </a:cubicBezTo>
                  <a:cubicBezTo>
                    <a:pt x="489510" y="238088"/>
                    <a:pt x="484013" y="243585"/>
                    <a:pt x="484013" y="250302"/>
                  </a:cubicBezTo>
                  <a:cubicBezTo>
                    <a:pt x="484013" y="257021"/>
                    <a:pt x="489510" y="262517"/>
                    <a:pt x="496228" y="262517"/>
                  </a:cubicBezTo>
                  <a:cubicBezTo>
                    <a:pt x="502946" y="262517"/>
                    <a:pt x="508443" y="257021"/>
                    <a:pt x="508443" y="250302"/>
                  </a:cubicBezTo>
                  <a:close/>
                  <a:moveTo>
                    <a:pt x="545087" y="250302"/>
                  </a:moveTo>
                  <a:cubicBezTo>
                    <a:pt x="545087" y="243585"/>
                    <a:pt x="539591" y="238088"/>
                    <a:pt x="532873" y="238088"/>
                  </a:cubicBezTo>
                  <a:cubicBezTo>
                    <a:pt x="526154" y="238088"/>
                    <a:pt x="520658" y="243585"/>
                    <a:pt x="520658" y="250302"/>
                  </a:cubicBezTo>
                  <a:cubicBezTo>
                    <a:pt x="520658" y="257021"/>
                    <a:pt x="526154" y="262517"/>
                    <a:pt x="532873" y="262517"/>
                  </a:cubicBezTo>
                  <a:cubicBezTo>
                    <a:pt x="539591" y="262517"/>
                    <a:pt x="545087" y="257021"/>
                    <a:pt x="545087" y="250302"/>
                  </a:cubicBezTo>
                  <a:close/>
                  <a:moveTo>
                    <a:pt x="581732" y="250302"/>
                  </a:moveTo>
                  <a:cubicBezTo>
                    <a:pt x="581732" y="243585"/>
                    <a:pt x="576235" y="238088"/>
                    <a:pt x="569517" y="238088"/>
                  </a:cubicBezTo>
                  <a:cubicBezTo>
                    <a:pt x="562799" y="238088"/>
                    <a:pt x="557302" y="243585"/>
                    <a:pt x="557302" y="250302"/>
                  </a:cubicBezTo>
                  <a:cubicBezTo>
                    <a:pt x="557302" y="257021"/>
                    <a:pt x="562799" y="262517"/>
                    <a:pt x="569517" y="262517"/>
                  </a:cubicBezTo>
                  <a:cubicBezTo>
                    <a:pt x="576235" y="262517"/>
                    <a:pt x="581732" y="257021"/>
                    <a:pt x="581732" y="250302"/>
                  </a:cubicBezTo>
                  <a:close/>
                  <a:moveTo>
                    <a:pt x="398611" y="351075"/>
                  </a:moveTo>
                  <a:cubicBezTo>
                    <a:pt x="398611" y="344357"/>
                    <a:pt x="393114" y="338860"/>
                    <a:pt x="386396" y="338860"/>
                  </a:cubicBezTo>
                  <a:cubicBezTo>
                    <a:pt x="379678" y="338860"/>
                    <a:pt x="374181" y="344357"/>
                    <a:pt x="374181" y="351075"/>
                  </a:cubicBezTo>
                  <a:cubicBezTo>
                    <a:pt x="374181" y="357793"/>
                    <a:pt x="379678" y="363290"/>
                    <a:pt x="386396" y="363290"/>
                  </a:cubicBezTo>
                  <a:cubicBezTo>
                    <a:pt x="393114" y="363290"/>
                    <a:pt x="398611" y="357793"/>
                    <a:pt x="398611" y="351075"/>
                  </a:cubicBezTo>
                  <a:close/>
                  <a:moveTo>
                    <a:pt x="435256" y="351075"/>
                  </a:moveTo>
                  <a:cubicBezTo>
                    <a:pt x="435256" y="344357"/>
                    <a:pt x="429759" y="338860"/>
                    <a:pt x="423041" y="338860"/>
                  </a:cubicBezTo>
                  <a:cubicBezTo>
                    <a:pt x="416323" y="338860"/>
                    <a:pt x="410826" y="344357"/>
                    <a:pt x="410826" y="351075"/>
                  </a:cubicBezTo>
                  <a:cubicBezTo>
                    <a:pt x="410826" y="357793"/>
                    <a:pt x="416323" y="363290"/>
                    <a:pt x="423041" y="363290"/>
                  </a:cubicBezTo>
                  <a:cubicBezTo>
                    <a:pt x="429759" y="363290"/>
                    <a:pt x="435256" y="357793"/>
                    <a:pt x="435256" y="351075"/>
                  </a:cubicBezTo>
                  <a:close/>
                  <a:moveTo>
                    <a:pt x="471900" y="351075"/>
                  </a:moveTo>
                  <a:cubicBezTo>
                    <a:pt x="471900" y="344357"/>
                    <a:pt x="466403" y="338860"/>
                    <a:pt x="459685" y="338860"/>
                  </a:cubicBezTo>
                  <a:cubicBezTo>
                    <a:pt x="452967" y="338860"/>
                    <a:pt x="447470" y="344357"/>
                    <a:pt x="447470" y="351075"/>
                  </a:cubicBezTo>
                  <a:cubicBezTo>
                    <a:pt x="447470" y="357793"/>
                    <a:pt x="452967" y="363290"/>
                    <a:pt x="459685" y="363290"/>
                  </a:cubicBezTo>
                  <a:cubicBezTo>
                    <a:pt x="466403" y="363290"/>
                    <a:pt x="471900" y="357793"/>
                    <a:pt x="471900" y="351075"/>
                  </a:cubicBezTo>
                  <a:close/>
                  <a:moveTo>
                    <a:pt x="508545" y="351075"/>
                  </a:moveTo>
                  <a:cubicBezTo>
                    <a:pt x="508545" y="344357"/>
                    <a:pt x="503048" y="338860"/>
                    <a:pt x="496330" y="338860"/>
                  </a:cubicBezTo>
                  <a:cubicBezTo>
                    <a:pt x="489612" y="338860"/>
                    <a:pt x="484115" y="344357"/>
                    <a:pt x="484115" y="351075"/>
                  </a:cubicBezTo>
                  <a:cubicBezTo>
                    <a:pt x="484115" y="357793"/>
                    <a:pt x="489612" y="363290"/>
                    <a:pt x="496330" y="363290"/>
                  </a:cubicBezTo>
                  <a:cubicBezTo>
                    <a:pt x="503048" y="363290"/>
                    <a:pt x="508545" y="357793"/>
                    <a:pt x="508545" y="351075"/>
                  </a:cubicBezTo>
                  <a:close/>
                  <a:moveTo>
                    <a:pt x="545189" y="351075"/>
                  </a:moveTo>
                  <a:cubicBezTo>
                    <a:pt x="545189" y="344357"/>
                    <a:pt x="539692" y="338860"/>
                    <a:pt x="532974" y="338860"/>
                  </a:cubicBezTo>
                  <a:cubicBezTo>
                    <a:pt x="526256" y="338860"/>
                    <a:pt x="520759" y="344357"/>
                    <a:pt x="520759" y="351075"/>
                  </a:cubicBezTo>
                  <a:cubicBezTo>
                    <a:pt x="520759" y="357793"/>
                    <a:pt x="526256" y="363290"/>
                    <a:pt x="532974" y="363290"/>
                  </a:cubicBezTo>
                  <a:cubicBezTo>
                    <a:pt x="539692" y="363290"/>
                    <a:pt x="545189" y="357793"/>
                    <a:pt x="545189" y="351075"/>
                  </a:cubicBezTo>
                  <a:close/>
                  <a:moveTo>
                    <a:pt x="581834" y="351075"/>
                  </a:moveTo>
                  <a:cubicBezTo>
                    <a:pt x="581834" y="344357"/>
                    <a:pt x="576337" y="338860"/>
                    <a:pt x="569619" y="338860"/>
                  </a:cubicBezTo>
                  <a:cubicBezTo>
                    <a:pt x="562901" y="338860"/>
                    <a:pt x="557404" y="344357"/>
                    <a:pt x="557404" y="351075"/>
                  </a:cubicBezTo>
                  <a:cubicBezTo>
                    <a:pt x="557404" y="357793"/>
                    <a:pt x="562901" y="363290"/>
                    <a:pt x="569619" y="363290"/>
                  </a:cubicBezTo>
                  <a:cubicBezTo>
                    <a:pt x="576337" y="363290"/>
                    <a:pt x="581834" y="357793"/>
                    <a:pt x="581834" y="35107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5" name="Полилиния: фигура 1094">
              <a:extLst>
                <a:ext uri="{FF2B5EF4-FFF2-40B4-BE49-F238E27FC236}">
                  <a16:creationId xmlns:a16="http://schemas.microsoft.com/office/drawing/2014/main" id="{E4714943-0F5E-493D-9F45-83A9309FD960}"/>
                </a:ext>
              </a:extLst>
            </p:cNvPr>
            <p:cNvSpPr/>
            <p:nvPr/>
          </p:nvSpPr>
          <p:spPr>
            <a:xfrm>
              <a:off x="7383425" y="4288717"/>
              <a:ext cx="581833" cy="364613"/>
            </a:xfrm>
            <a:custGeom>
              <a:avLst/>
              <a:gdLst>
                <a:gd name="connsiteX0" fmla="*/ 53338 w 581833"/>
                <a:gd name="connsiteY0" fmla="*/ 22394 h 364613"/>
                <a:gd name="connsiteX1" fmla="*/ 10586 w 581833"/>
                <a:gd name="connsiteY1" fmla="*/ 22394 h 364613"/>
                <a:gd name="connsiteX2" fmla="*/ 0 w 581833"/>
                <a:gd name="connsiteY2" fmla="*/ 11808 h 364613"/>
                <a:gd name="connsiteX3" fmla="*/ 10586 w 581833"/>
                <a:gd name="connsiteY3" fmla="*/ 1221 h 364613"/>
                <a:gd name="connsiteX4" fmla="*/ 53338 w 581833"/>
                <a:gd name="connsiteY4" fmla="*/ 1221 h 364613"/>
                <a:gd name="connsiteX5" fmla="*/ 63924 w 581833"/>
                <a:gd name="connsiteY5" fmla="*/ 11808 h 364613"/>
                <a:gd name="connsiteX6" fmla="*/ 53338 w 581833"/>
                <a:gd name="connsiteY6" fmla="*/ 22394 h 364613"/>
                <a:gd name="connsiteX7" fmla="*/ 63924 w 581833"/>
                <a:gd name="connsiteY7" fmla="*/ 60667 h 364613"/>
                <a:gd name="connsiteX8" fmla="*/ 53338 w 581833"/>
                <a:gd name="connsiteY8" fmla="*/ 50081 h 364613"/>
                <a:gd name="connsiteX9" fmla="*/ 10586 w 581833"/>
                <a:gd name="connsiteY9" fmla="*/ 50081 h 364613"/>
                <a:gd name="connsiteX10" fmla="*/ 0 w 581833"/>
                <a:gd name="connsiteY10" fmla="*/ 60667 h 364613"/>
                <a:gd name="connsiteX11" fmla="*/ 10586 w 581833"/>
                <a:gd name="connsiteY11" fmla="*/ 71253 h 364613"/>
                <a:gd name="connsiteX12" fmla="*/ 53338 w 581833"/>
                <a:gd name="connsiteY12" fmla="*/ 71253 h 364613"/>
                <a:gd name="connsiteX13" fmla="*/ 63924 w 581833"/>
                <a:gd name="connsiteY13" fmla="*/ 60667 h 364613"/>
                <a:gd name="connsiteX14" fmla="*/ 63924 w 581833"/>
                <a:gd name="connsiteY14" fmla="*/ 109526 h 364613"/>
                <a:gd name="connsiteX15" fmla="*/ 53338 w 581833"/>
                <a:gd name="connsiteY15" fmla="*/ 98940 h 364613"/>
                <a:gd name="connsiteX16" fmla="*/ 10586 w 581833"/>
                <a:gd name="connsiteY16" fmla="*/ 98940 h 364613"/>
                <a:gd name="connsiteX17" fmla="*/ 0 w 581833"/>
                <a:gd name="connsiteY17" fmla="*/ 109526 h 364613"/>
                <a:gd name="connsiteX18" fmla="*/ 10586 w 581833"/>
                <a:gd name="connsiteY18" fmla="*/ 120112 h 364613"/>
                <a:gd name="connsiteX19" fmla="*/ 53338 w 581833"/>
                <a:gd name="connsiteY19" fmla="*/ 120112 h 364613"/>
                <a:gd name="connsiteX20" fmla="*/ 63924 w 581833"/>
                <a:gd name="connsiteY20" fmla="*/ 109526 h 364613"/>
                <a:gd name="connsiteX21" fmla="*/ 63924 w 581833"/>
                <a:gd name="connsiteY21" fmla="*/ 158386 h 364613"/>
                <a:gd name="connsiteX22" fmla="*/ 53338 w 581833"/>
                <a:gd name="connsiteY22" fmla="*/ 147799 h 364613"/>
                <a:gd name="connsiteX23" fmla="*/ 10586 w 581833"/>
                <a:gd name="connsiteY23" fmla="*/ 147799 h 364613"/>
                <a:gd name="connsiteX24" fmla="*/ 0 w 581833"/>
                <a:gd name="connsiteY24" fmla="*/ 158386 h 364613"/>
                <a:gd name="connsiteX25" fmla="*/ 10586 w 581833"/>
                <a:gd name="connsiteY25" fmla="*/ 168972 h 364613"/>
                <a:gd name="connsiteX26" fmla="*/ 53338 w 581833"/>
                <a:gd name="connsiteY26" fmla="*/ 168972 h 364613"/>
                <a:gd name="connsiteX27" fmla="*/ 63924 w 581833"/>
                <a:gd name="connsiteY27" fmla="*/ 158386 h 364613"/>
                <a:gd name="connsiteX28" fmla="*/ 63924 w 581833"/>
                <a:gd name="connsiteY28" fmla="*/ 207245 h 364613"/>
                <a:gd name="connsiteX29" fmla="*/ 53338 w 581833"/>
                <a:gd name="connsiteY29" fmla="*/ 196659 h 364613"/>
                <a:gd name="connsiteX30" fmla="*/ 10586 w 581833"/>
                <a:gd name="connsiteY30" fmla="*/ 196659 h 364613"/>
                <a:gd name="connsiteX31" fmla="*/ 0 w 581833"/>
                <a:gd name="connsiteY31" fmla="*/ 207245 h 364613"/>
                <a:gd name="connsiteX32" fmla="*/ 10586 w 581833"/>
                <a:gd name="connsiteY32" fmla="*/ 217831 h 364613"/>
                <a:gd name="connsiteX33" fmla="*/ 53338 w 581833"/>
                <a:gd name="connsiteY33" fmla="*/ 217831 h 364613"/>
                <a:gd name="connsiteX34" fmla="*/ 63924 w 581833"/>
                <a:gd name="connsiteY34" fmla="*/ 207245 h 364613"/>
                <a:gd name="connsiteX35" fmla="*/ 63924 w 581833"/>
                <a:gd name="connsiteY35" fmla="*/ 256105 h 364613"/>
                <a:gd name="connsiteX36" fmla="*/ 53338 w 581833"/>
                <a:gd name="connsiteY36" fmla="*/ 245518 h 364613"/>
                <a:gd name="connsiteX37" fmla="*/ 10586 w 581833"/>
                <a:gd name="connsiteY37" fmla="*/ 245518 h 364613"/>
                <a:gd name="connsiteX38" fmla="*/ 0 w 581833"/>
                <a:gd name="connsiteY38" fmla="*/ 256105 h 364613"/>
                <a:gd name="connsiteX39" fmla="*/ 10586 w 581833"/>
                <a:gd name="connsiteY39" fmla="*/ 266691 h 364613"/>
                <a:gd name="connsiteX40" fmla="*/ 53338 w 581833"/>
                <a:gd name="connsiteY40" fmla="*/ 266691 h 364613"/>
                <a:gd name="connsiteX41" fmla="*/ 63924 w 581833"/>
                <a:gd name="connsiteY41" fmla="*/ 256105 h 364613"/>
                <a:gd name="connsiteX42" fmla="*/ 63924 w 581833"/>
                <a:gd name="connsiteY42" fmla="*/ 304964 h 364613"/>
                <a:gd name="connsiteX43" fmla="*/ 53338 w 581833"/>
                <a:gd name="connsiteY43" fmla="*/ 294378 h 364613"/>
                <a:gd name="connsiteX44" fmla="*/ 10586 w 581833"/>
                <a:gd name="connsiteY44" fmla="*/ 294378 h 364613"/>
                <a:gd name="connsiteX45" fmla="*/ 0 w 581833"/>
                <a:gd name="connsiteY45" fmla="*/ 304964 h 364613"/>
                <a:gd name="connsiteX46" fmla="*/ 10586 w 581833"/>
                <a:gd name="connsiteY46" fmla="*/ 315550 h 364613"/>
                <a:gd name="connsiteX47" fmla="*/ 53338 w 581833"/>
                <a:gd name="connsiteY47" fmla="*/ 315550 h 364613"/>
                <a:gd name="connsiteX48" fmla="*/ 63924 w 581833"/>
                <a:gd name="connsiteY48" fmla="*/ 304964 h 364613"/>
                <a:gd name="connsiteX49" fmla="*/ 63924 w 581833"/>
                <a:gd name="connsiteY49" fmla="*/ 353823 h 364613"/>
                <a:gd name="connsiteX50" fmla="*/ 53338 w 581833"/>
                <a:gd name="connsiteY50" fmla="*/ 343237 h 364613"/>
                <a:gd name="connsiteX51" fmla="*/ 10586 w 581833"/>
                <a:gd name="connsiteY51" fmla="*/ 343237 h 364613"/>
                <a:gd name="connsiteX52" fmla="*/ 0 w 581833"/>
                <a:gd name="connsiteY52" fmla="*/ 353823 h 364613"/>
                <a:gd name="connsiteX53" fmla="*/ 10586 w 581833"/>
                <a:gd name="connsiteY53" fmla="*/ 364409 h 364613"/>
                <a:gd name="connsiteX54" fmla="*/ 53338 w 581833"/>
                <a:gd name="connsiteY54" fmla="*/ 364409 h 364613"/>
                <a:gd name="connsiteX55" fmla="*/ 63924 w 581833"/>
                <a:gd name="connsiteY55" fmla="*/ 353823 h 364613"/>
                <a:gd name="connsiteX56" fmla="*/ 223837 w 581833"/>
                <a:gd name="connsiteY56" fmla="*/ 12011 h 364613"/>
                <a:gd name="connsiteX57" fmla="*/ 213251 w 581833"/>
                <a:gd name="connsiteY57" fmla="*/ 1425 h 364613"/>
                <a:gd name="connsiteX58" fmla="*/ 101078 w 581833"/>
                <a:gd name="connsiteY58" fmla="*/ 1425 h 364613"/>
                <a:gd name="connsiteX59" fmla="*/ 90492 w 581833"/>
                <a:gd name="connsiteY59" fmla="*/ 12011 h 364613"/>
                <a:gd name="connsiteX60" fmla="*/ 101078 w 581833"/>
                <a:gd name="connsiteY60" fmla="*/ 22597 h 364613"/>
                <a:gd name="connsiteX61" fmla="*/ 213251 w 581833"/>
                <a:gd name="connsiteY61" fmla="*/ 22597 h 364613"/>
                <a:gd name="connsiteX62" fmla="*/ 223837 w 581833"/>
                <a:gd name="connsiteY62" fmla="*/ 12011 h 364613"/>
                <a:gd name="connsiteX63" fmla="*/ 223837 w 581833"/>
                <a:gd name="connsiteY63" fmla="*/ 60870 h 364613"/>
                <a:gd name="connsiteX64" fmla="*/ 213251 w 581833"/>
                <a:gd name="connsiteY64" fmla="*/ 50284 h 364613"/>
                <a:gd name="connsiteX65" fmla="*/ 101078 w 581833"/>
                <a:gd name="connsiteY65" fmla="*/ 50284 h 364613"/>
                <a:gd name="connsiteX66" fmla="*/ 90492 w 581833"/>
                <a:gd name="connsiteY66" fmla="*/ 60870 h 364613"/>
                <a:gd name="connsiteX67" fmla="*/ 101078 w 581833"/>
                <a:gd name="connsiteY67" fmla="*/ 71457 h 364613"/>
                <a:gd name="connsiteX68" fmla="*/ 213251 w 581833"/>
                <a:gd name="connsiteY68" fmla="*/ 71457 h 364613"/>
                <a:gd name="connsiteX69" fmla="*/ 223837 w 581833"/>
                <a:gd name="connsiteY69" fmla="*/ 60870 h 364613"/>
                <a:gd name="connsiteX70" fmla="*/ 223837 w 581833"/>
                <a:gd name="connsiteY70" fmla="*/ 109730 h 364613"/>
                <a:gd name="connsiteX71" fmla="*/ 213251 w 581833"/>
                <a:gd name="connsiteY71" fmla="*/ 99144 h 364613"/>
                <a:gd name="connsiteX72" fmla="*/ 101078 w 581833"/>
                <a:gd name="connsiteY72" fmla="*/ 99144 h 364613"/>
                <a:gd name="connsiteX73" fmla="*/ 90492 w 581833"/>
                <a:gd name="connsiteY73" fmla="*/ 109730 h 364613"/>
                <a:gd name="connsiteX74" fmla="*/ 101078 w 581833"/>
                <a:gd name="connsiteY74" fmla="*/ 120316 h 364613"/>
                <a:gd name="connsiteX75" fmla="*/ 213251 w 581833"/>
                <a:gd name="connsiteY75" fmla="*/ 120316 h 364613"/>
                <a:gd name="connsiteX76" fmla="*/ 223837 w 581833"/>
                <a:gd name="connsiteY76" fmla="*/ 109730 h 364613"/>
                <a:gd name="connsiteX77" fmla="*/ 223837 w 581833"/>
                <a:gd name="connsiteY77" fmla="*/ 158589 h 364613"/>
                <a:gd name="connsiteX78" fmla="*/ 213251 w 581833"/>
                <a:gd name="connsiteY78" fmla="*/ 148003 h 364613"/>
                <a:gd name="connsiteX79" fmla="*/ 101078 w 581833"/>
                <a:gd name="connsiteY79" fmla="*/ 148003 h 364613"/>
                <a:gd name="connsiteX80" fmla="*/ 90492 w 581833"/>
                <a:gd name="connsiteY80" fmla="*/ 158589 h 364613"/>
                <a:gd name="connsiteX81" fmla="*/ 101078 w 581833"/>
                <a:gd name="connsiteY81" fmla="*/ 169176 h 364613"/>
                <a:gd name="connsiteX82" fmla="*/ 213251 w 581833"/>
                <a:gd name="connsiteY82" fmla="*/ 169176 h 364613"/>
                <a:gd name="connsiteX83" fmla="*/ 223837 w 581833"/>
                <a:gd name="connsiteY83" fmla="*/ 158589 h 364613"/>
                <a:gd name="connsiteX84" fmla="*/ 223837 w 581833"/>
                <a:gd name="connsiteY84" fmla="*/ 207449 h 364613"/>
                <a:gd name="connsiteX85" fmla="*/ 213251 w 581833"/>
                <a:gd name="connsiteY85" fmla="*/ 196863 h 364613"/>
                <a:gd name="connsiteX86" fmla="*/ 101078 w 581833"/>
                <a:gd name="connsiteY86" fmla="*/ 196863 h 364613"/>
                <a:gd name="connsiteX87" fmla="*/ 90492 w 581833"/>
                <a:gd name="connsiteY87" fmla="*/ 207449 h 364613"/>
                <a:gd name="connsiteX88" fmla="*/ 101078 w 581833"/>
                <a:gd name="connsiteY88" fmla="*/ 218035 h 364613"/>
                <a:gd name="connsiteX89" fmla="*/ 213251 w 581833"/>
                <a:gd name="connsiteY89" fmla="*/ 218035 h 364613"/>
                <a:gd name="connsiteX90" fmla="*/ 223837 w 581833"/>
                <a:gd name="connsiteY90" fmla="*/ 207449 h 364613"/>
                <a:gd name="connsiteX91" fmla="*/ 358098 w 581833"/>
                <a:gd name="connsiteY91" fmla="*/ 256308 h 364613"/>
                <a:gd name="connsiteX92" fmla="*/ 347512 w 581833"/>
                <a:gd name="connsiteY92" fmla="*/ 245722 h 364613"/>
                <a:gd name="connsiteX93" fmla="*/ 235339 w 581833"/>
                <a:gd name="connsiteY93" fmla="*/ 245722 h 364613"/>
                <a:gd name="connsiteX94" fmla="*/ 224753 w 581833"/>
                <a:gd name="connsiteY94" fmla="*/ 256308 h 364613"/>
                <a:gd name="connsiteX95" fmla="*/ 235339 w 581833"/>
                <a:gd name="connsiteY95" fmla="*/ 266894 h 364613"/>
                <a:gd name="connsiteX96" fmla="*/ 347512 w 581833"/>
                <a:gd name="connsiteY96" fmla="*/ 266894 h 364613"/>
                <a:gd name="connsiteX97" fmla="*/ 358098 w 581833"/>
                <a:gd name="connsiteY97" fmla="*/ 256308 h 364613"/>
                <a:gd name="connsiteX98" fmla="*/ 358098 w 581833"/>
                <a:gd name="connsiteY98" fmla="*/ 305167 h 364613"/>
                <a:gd name="connsiteX99" fmla="*/ 347512 w 581833"/>
                <a:gd name="connsiteY99" fmla="*/ 294581 h 364613"/>
                <a:gd name="connsiteX100" fmla="*/ 235339 w 581833"/>
                <a:gd name="connsiteY100" fmla="*/ 294581 h 364613"/>
                <a:gd name="connsiteX101" fmla="*/ 224753 w 581833"/>
                <a:gd name="connsiteY101" fmla="*/ 305167 h 364613"/>
                <a:gd name="connsiteX102" fmla="*/ 235339 w 581833"/>
                <a:gd name="connsiteY102" fmla="*/ 315754 h 364613"/>
                <a:gd name="connsiteX103" fmla="*/ 347512 w 581833"/>
                <a:gd name="connsiteY103" fmla="*/ 315754 h 364613"/>
                <a:gd name="connsiteX104" fmla="*/ 358098 w 581833"/>
                <a:gd name="connsiteY104" fmla="*/ 305167 h 364613"/>
                <a:gd name="connsiteX105" fmla="*/ 358098 w 581833"/>
                <a:gd name="connsiteY105" fmla="*/ 354027 h 364613"/>
                <a:gd name="connsiteX106" fmla="*/ 347512 w 581833"/>
                <a:gd name="connsiteY106" fmla="*/ 343441 h 364613"/>
                <a:gd name="connsiteX107" fmla="*/ 235339 w 581833"/>
                <a:gd name="connsiteY107" fmla="*/ 343441 h 364613"/>
                <a:gd name="connsiteX108" fmla="*/ 224753 w 581833"/>
                <a:gd name="connsiteY108" fmla="*/ 354027 h 364613"/>
                <a:gd name="connsiteX109" fmla="*/ 235339 w 581833"/>
                <a:gd name="connsiteY109" fmla="*/ 364613 h 364613"/>
                <a:gd name="connsiteX110" fmla="*/ 347512 w 581833"/>
                <a:gd name="connsiteY110" fmla="*/ 364613 h 364613"/>
                <a:gd name="connsiteX111" fmla="*/ 358098 w 581833"/>
                <a:gd name="connsiteY111" fmla="*/ 354027 h 364613"/>
                <a:gd name="connsiteX112" fmla="*/ 273205 w 581833"/>
                <a:gd name="connsiteY112" fmla="*/ 12215 h 364613"/>
                <a:gd name="connsiteX113" fmla="*/ 260990 w 581833"/>
                <a:gd name="connsiteY113" fmla="*/ 0 h 364613"/>
                <a:gd name="connsiteX114" fmla="*/ 248776 w 581833"/>
                <a:gd name="connsiteY114" fmla="*/ 12215 h 364613"/>
                <a:gd name="connsiteX115" fmla="*/ 260990 w 581833"/>
                <a:gd name="connsiteY115" fmla="*/ 24430 h 364613"/>
                <a:gd name="connsiteX116" fmla="*/ 273205 w 581833"/>
                <a:gd name="connsiteY116" fmla="*/ 12215 h 364613"/>
                <a:gd name="connsiteX117" fmla="*/ 309850 w 581833"/>
                <a:gd name="connsiteY117" fmla="*/ 12215 h 364613"/>
                <a:gd name="connsiteX118" fmla="*/ 297635 w 581833"/>
                <a:gd name="connsiteY118" fmla="*/ 0 h 364613"/>
                <a:gd name="connsiteX119" fmla="*/ 285420 w 581833"/>
                <a:gd name="connsiteY119" fmla="*/ 12215 h 364613"/>
                <a:gd name="connsiteX120" fmla="*/ 297635 w 581833"/>
                <a:gd name="connsiteY120" fmla="*/ 24430 h 364613"/>
                <a:gd name="connsiteX121" fmla="*/ 309850 w 581833"/>
                <a:gd name="connsiteY121" fmla="*/ 12215 h 364613"/>
                <a:gd name="connsiteX122" fmla="*/ 346494 w 581833"/>
                <a:gd name="connsiteY122" fmla="*/ 12215 h 364613"/>
                <a:gd name="connsiteX123" fmla="*/ 334280 w 581833"/>
                <a:gd name="connsiteY123" fmla="*/ 0 h 364613"/>
                <a:gd name="connsiteX124" fmla="*/ 322065 w 581833"/>
                <a:gd name="connsiteY124" fmla="*/ 12215 h 364613"/>
                <a:gd name="connsiteX125" fmla="*/ 334280 w 581833"/>
                <a:gd name="connsiteY125" fmla="*/ 24430 h 364613"/>
                <a:gd name="connsiteX126" fmla="*/ 346494 w 581833"/>
                <a:gd name="connsiteY126" fmla="*/ 12215 h 364613"/>
                <a:gd name="connsiteX127" fmla="*/ 383139 w 581833"/>
                <a:gd name="connsiteY127" fmla="*/ 12215 h 364613"/>
                <a:gd name="connsiteX128" fmla="*/ 370924 w 581833"/>
                <a:gd name="connsiteY128" fmla="*/ 0 h 364613"/>
                <a:gd name="connsiteX129" fmla="*/ 358709 w 581833"/>
                <a:gd name="connsiteY129" fmla="*/ 12215 h 364613"/>
                <a:gd name="connsiteX130" fmla="*/ 370924 w 581833"/>
                <a:gd name="connsiteY130" fmla="*/ 24430 h 364613"/>
                <a:gd name="connsiteX131" fmla="*/ 383139 w 581833"/>
                <a:gd name="connsiteY131" fmla="*/ 12215 h 364613"/>
                <a:gd name="connsiteX132" fmla="*/ 419783 w 581833"/>
                <a:gd name="connsiteY132" fmla="*/ 12215 h 364613"/>
                <a:gd name="connsiteX133" fmla="*/ 407569 w 581833"/>
                <a:gd name="connsiteY133" fmla="*/ 0 h 364613"/>
                <a:gd name="connsiteX134" fmla="*/ 395354 w 581833"/>
                <a:gd name="connsiteY134" fmla="*/ 12215 h 364613"/>
                <a:gd name="connsiteX135" fmla="*/ 407569 w 581833"/>
                <a:gd name="connsiteY135" fmla="*/ 24430 h 364613"/>
                <a:gd name="connsiteX136" fmla="*/ 419783 w 581833"/>
                <a:gd name="connsiteY136" fmla="*/ 12215 h 364613"/>
                <a:gd name="connsiteX137" fmla="*/ 456428 w 581833"/>
                <a:gd name="connsiteY137" fmla="*/ 12215 h 364613"/>
                <a:gd name="connsiteX138" fmla="*/ 444213 w 581833"/>
                <a:gd name="connsiteY138" fmla="*/ 0 h 364613"/>
                <a:gd name="connsiteX139" fmla="*/ 431998 w 581833"/>
                <a:gd name="connsiteY139" fmla="*/ 12215 h 364613"/>
                <a:gd name="connsiteX140" fmla="*/ 444213 w 581833"/>
                <a:gd name="connsiteY140" fmla="*/ 24430 h 364613"/>
                <a:gd name="connsiteX141" fmla="*/ 456428 w 581833"/>
                <a:gd name="connsiteY141" fmla="*/ 12215 h 364613"/>
                <a:gd name="connsiteX142" fmla="*/ 273307 w 581833"/>
                <a:gd name="connsiteY142" fmla="*/ 109933 h 364613"/>
                <a:gd name="connsiteX143" fmla="*/ 261092 w 581833"/>
                <a:gd name="connsiteY143" fmla="*/ 97719 h 364613"/>
                <a:gd name="connsiteX144" fmla="*/ 248877 w 581833"/>
                <a:gd name="connsiteY144" fmla="*/ 109933 h 364613"/>
                <a:gd name="connsiteX145" fmla="*/ 261092 w 581833"/>
                <a:gd name="connsiteY145" fmla="*/ 122148 h 364613"/>
                <a:gd name="connsiteX146" fmla="*/ 273307 w 581833"/>
                <a:gd name="connsiteY146" fmla="*/ 109933 h 364613"/>
                <a:gd name="connsiteX147" fmla="*/ 309952 w 581833"/>
                <a:gd name="connsiteY147" fmla="*/ 109933 h 364613"/>
                <a:gd name="connsiteX148" fmla="*/ 297737 w 581833"/>
                <a:gd name="connsiteY148" fmla="*/ 97719 h 364613"/>
                <a:gd name="connsiteX149" fmla="*/ 285522 w 581833"/>
                <a:gd name="connsiteY149" fmla="*/ 109933 h 364613"/>
                <a:gd name="connsiteX150" fmla="*/ 297737 w 581833"/>
                <a:gd name="connsiteY150" fmla="*/ 122148 h 364613"/>
                <a:gd name="connsiteX151" fmla="*/ 309952 w 581833"/>
                <a:gd name="connsiteY151" fmla="*/ 109933 h 364613"/>
                <a:gd name="connsiteX152" fmla="*/ 346596 w 581833"/>
                <a:gd name="connsiteY152" fmla="*/ 109933 h 364613"/>
                <a:gd name="connsiteX153" fmla="*/ 334381 w 581833"/>
                <a:gd name="connsiteY153" fmla="*/ 97719 h 364613"/>
                <a:gd name="connsiteX154" fmla="*/ 322167 w 581833"/>
                <a:gd name="connsiteY154" fmla="*/ 109933 h 364613"/>
                <a:gd name="connsiteX155" fmla="*/ 334381 w 581833"/>
                <a:gd name="connsiteY155" fmla="*/ 122148 h 364613"/>
                <a:gd name="connsiteX156" fmla="*/ 346596 w 581833"/>
                <a:gd name="connsiteY156" fmla="*/ 109933 h 364613"/>
                <a:gd name="connsiteX157" fmla="*/ 383241 w 581833"/>
                <a:gd name="connsiteY157" fmla="*/ 109933 h 364613"/>
                <a:gd name="connsiteX158" fmla="*/ 371026 w 581833"/>
                <a:gd name="connsiteY158" fmla="*/ 97719 h 364613"/>
                <a:gd name="connsiteX159" fmla="*/ 358811 w 581833"/>
                <a:gd name="connsiteY159" fmla="*/ 109933 h 364613"/>
                <a:gd name="connsiteX160" fmla="*/ 371026 w 581833"/>
                <a:gd name="connsiteY160" fmla="*/ 122148 h 364613"/>
                <a:gd name="connsiteX161" fmla="*/ 383241 w 581833"/>
                <a:gd name="connsiteY161" fmla="*/ 109933 h 364613"/>
                <a:gd name="connsiteX162" fmla="*/ 419885 w 581833"/>
                <a:gd name="connsiteY162" fmla="*/ 109933 h 364613"/>
                <a:gd name="connsiteX163" fmla="*/ 407670 w 581833"/>
                <a:gd name="connsiteY163" fmla="*/ 97719 h 364613"/>
                <a:gd name="connsiteX164" fmla="*/ 395456 w 581833"/>
                <a:gd name="connsiteY164" fmla="*/ 109933 h 364613"/>
                <a:gd name="connsiteX165" fmla="*/ 407670 w 581833"/>
                <a:gd name="connsiteY165" fmla="*/ 122148 h 364613"/>
                <a:gd name="connsiteX166" fmla="*/ 419885 w 581833"/>
                <a:gd name="connsiteY166" fmla="*/ 109933 h 364613"/>
                <a:gd name="connsiteX167" fmla="*/ 456530 w 581833"/>
                <a:gd name="connsiteY167" fmla="*/ 109933 h 364613"/>
                <a:gd name="connsiteX168" fmla="*/ 444315 w 581833"/>
                <a:gd name="connsiteY168" fmla="*/ 97719 h 364613"/>
                <a:gd name="connsiteX169" fmla="*/ 432100 w 581833"/>
                <a:gd name="connsiteY169" fmla="*/ 109933 h 364613"/>
                <a:gd name="connsiteX170" fmla="*/ 444315 w 581833"/>
                <a:gd name="connsiteY170" fmla="*/ 122148 h 364613"/>
                <a:gd name="connsiteX171" fmla="*/ 456530 w 581833"/>
                <a:gd name="connsiteY171" fmla="*/ 109933 h 364613"/>
                <a:gd name="connsiteX172" fmla="*/ 398509 w 581833"/>
                <a:gd name="connsiteY172" fmla="*/ 250302 h 364613"/>
                <a:gd name="connsiteX173" fmla="*/ 386294 w 581833"/>
                <a:gd name="connsiteY173" fmla="*/ 238087 h 364613"/>
                <a:gd name="connsiteX174" fmla="*/ 374080 w 581833"/>
                <a:gd name="connsiteY174" fmla="*/ 250302 h 364613"/>
                <a:gd name="connsiteX175" fmla="*/ 386294 w 581833"/>
                <a:gd name="connsiteY175" fmla="*/ 262517 h 364613"/>
                <a:gd name="connsiteX176" fmla="*/ 398509 w 581833"/>
                <a:gd name="connsiteY176" fmla="*/ 250302 h 364613"/>
                <a:gd name="connsiteX177" fmla="*/ 435154 w 581833"/>
                <a:gd name="connsiteY177" fmla="*/ 250302 h 364613"/>
                <a:gd name="connsiteX178" fmla="*/ 422939 w 581833"/>
                <a:gd name="connsiteY178" fmla="*/ 238087 h 364613"/>
                <a:gd name="connsiteX179" fmla="*/ 410724 w 581833"/>
                <a:gd name="connsiteY179" fmla="*/ 250302 h 364613"/>
                <a:gd name="connsiteX180" fmla="*/ 422939 w 581833"/>
                <a:gd name="connsiteY180" fmla="*/ 262517 h 364613"/>
                <a:gd name="connsiteX181" fmla="*/ 435154 w 581833"/>
                <a:gd name="connsiteY181" fmla="*/ 250302 h 364613"/>
                <a:gd name="connsiteX182" fmla="*/ 471798 w 581833"/>
                <a:gd name="connsiteY182" fmla="*/ 250302 h 364613"/>
                <a:gd name="connsiteX183" fmla="*/ 459583 w 581833"/>
                <a:gd name="connsiteY183" fmla="*/ 238087 h 364613"/>
                <a:gd name="connsiteX184" fmla="*/ 447369 w 581833"/>
                <a:gd name="connsiteY184" fmla="*/ 250302 h 364613"/>
                <a:gd name="connsiteX185" fmla="*/ 459583 w 581833"/>
                <a:gd name="connsiteY185" fmla="*/ 262517 h 364613"/>
                <a:gd name="connsiteX186" fmla="*/ 471798 w 581833"/>
                <a:gd name="connsiteY186" fmla="*/ 250302 h 364613"/>
                <a:gd name="connsiteX187" fmla="*/ 508443 w 581833"/>
                <a:gd name="connsiteY187" fmla="*/ 250302 h 364613"/>
                <a:gd name="connsiteX188" fmla="*/ 496228 w 581833"/>
                <a:gd name="connsiteY188" fmla="*/ 238087 h 364613"/>
                <a:gd name="connsiteX189" fmla="*/ 484013 w 581833"/>
                <a:gd name="connsiteY189" fmla="*/ 250302 h 364613"/>
                <a:gd name="connsiteX190" fmla="*/ 496228 w 581833"/>
                <a:gd name="connsiteY190" fmla="*/ 262517 h 364613"/>
                <a:gd name="connsiteX191" fmla="*/ 508443 w 581833"/>
                <a:gd name="connsiteY191" fmla="*/ 250302 h 364613"/>
                <a:gd name="connsiteX192" fmla="*/ 545087 w 581833"/>
                <a:gd name="connsiteY192" fmla="*/ 250302 h 364613"/>
                <a:gd name="connsiteX193" fmla="*/ 532873 w 581833"/>
                <a:gd name="connsiteY193" fmla="*/ 238087 h 364613"/>
                <a:gd name="connsiteX194" fmla="*/ 520658 w 581833"/>
                <a:gd name="connsiteY194" fmla="*/ 250302 h 364613"/>
                <a:gd name="connsiteX195" fmla="*/ 532873 w 581833"/>
                <a:gd name="connsiteY195" fmla="*/ 262517 h 364613"/>
                <a:gd name="connsiteX196" fmla="*/ 545087 w 581833"/>
                <a:gd name="connsiteY196" fmla="*/ 250302 h 364613"/>
                <a:gd name="connsiteX197" fmla="*/ 581732 w 581833"/>
                <a:gd name="connsiteY197" fmla="*/ 250302 h 364613"/>
                <a:gd name="connsiteX198" fmla="*/ 569517 w 581833"/>
                <a:gd name="connsiteY198" fmla="*/ 238087 h 364613"/>
                <a:gd name="connsiteX199" fmla="*/ 557302 w 581833"/>
                <a:gd name="connsiteY199" fmla="*/ 250302 h 364613"/>
                <a:gd name="connsiteX200" fmla="*/ 569517 w 581833"/>
                <a:gd name="connsiteY200" fmla="*/ 262517 h 364613"/>
                <a:gd name="connsiteX201" fmla="*/ 581732 w 581833"/>
                <a:gd name="connsiteY201" fmla="*/ 250302 h 364613"/>
                <a:gd name="connsiteX202" fmla="*/ 398611 w 581833"/>
                <a:gd name="connsiteY202" fmla="*/ 351075 h 364613"/>
                <a:gd name="connsiteX203" fmla="*/ 386396 w 581833"/>
                <a:gd name="connsiteY203" fmla="*/ 338860 h 364613"/>
                <a:gd name="connsiteX204" fmla="*/ 374181 w 581833"/>
                <a:gd name="connsiteY204" fmla="*/ 351075 h 364613"/>
                <a:gd name="connsiteX205" fmla="*/ 386396 w 581833"/>
                <a:gd name="connsiteY205" fmla="*/ 363290 h 364613"/>
                <a:gd name="connsiteX206" fmla="*/ 398611 w 581833"/>
                <a:gd name="connsiteY206" fmla="*/ 351075 h 364613"/>
                <a:gd name="connsiteX207" fmla="*/ 435256 w 581833"/>
                <a:gd name="connsiteY207" fmla="*/ 351075 h 364613"/>
                <a:gd name="connsiteX208" fmla="*/ 423041 w 581833"/>
                <a:gd name="connsiteY208" fmla="*/ 338860 h 364613"/>
                <a:gd name="connsiteX209" fmla="*/ 410826 w 581833"/>
                <a:gd name="connsiteY209" fmla="*/ 351075 h 364613"/>
                <a:gd name="connsiteX210" fmla="*/ 423041 w 581833"/>
                <a:gd name="connsiteY210" fmla="*/ 363290 h 364613"/>
                <a:gd name="connsiteX211" fmla="*/ 435256 w 581833"/>
                <a:gd name="connsiteY211" fmla="*/ 351075 h 364613"/>
                <a:gd name="connsiteX212" fmla="*/ 471900 w 581833"/>
                <a:gd name="connsiteY212" fmla="*/ 351075 h 364613"/>
                <a:gd name="connsiteX213" fmla="*/ 459685 w 581833"/>
                <a:gd name="connsiteY213" fmla="*/ 338860 h 364613"/>
                <a:gd name="connsiteX214" fmla="*/ 447470 w 581833"/>
                <a:gd name="connsiteY214" fmla="*/ 351075 h 364613"/>
                <a:gd name="connsiteX215" fmla="*/ 459685 w 581833"/>
                <a:gd name="connsiteY215" fmla="*/ 363290 h 364613"/>
                <a:gd name="connsiteX216" fmla="*/ 471900 w 581833"/>
                <a:gd name="connsiteY216" fmla="*/ 351075 h 364613"/>
                <a:gd name="connsiteX217" fmla="*/ 508545 w 581833"/>
                <a:gd name="connsiteY217" fmla="*/ 351075 h 364613"/>
                <a:gd name="connsiteX218" fmla="*/ 496330 w 581833"/>
                <a:gd name="connsiteY218" fmla="*/ 338860 h 364613"/>
                <a:gd name="connsiteX219" fmla="*/ 484115 w 581833"/>
                <a:gd name="connsiteY219" fmla="*/ 351075 h 364613"/>
                <a:gd name="connsiteX220" fmla="*/ 496330 w 581833"/>
                <a:gd name="connsiteY220" fmla="*/ 363290 h 364613"/>
                <a:gd name="connsiteX221" fmla="*/ 508545 w 581833"/>
                <a:gd name="connsiteY221" fmla="*/ 351075 h 364613"/>
                <a:gd name="connsiteX222" fmla="*/ 545189 w 581833"/>
                <a:gd name="connsiteY222" fmla="*/ 351075 h 364613"/>
                <a:gd name="connsiteX223" fmla="*/ 532974 w 581833"/>
                <a:gd name="connsiteY223" fmla="*/ 338860 h 364613"/>
                <a:gd name="connsiteX224" fmla="*/ 520759 w 581833"/>
                <a:gd name="connsiteY224" fmla="*/ 351075 h 364613"/>
                <a:gd name="connsiteX225" fmla="*/ 532974 w 581833"/>
                <a:gd name="connsiteY225" fmla="*/ 363290 h 364613"/>
                <a:gd name="connsiteX226" fmla="*/ 545189 w 581833"/>
                <a:gd name="connsiteY226" fmla="*/ 351075 h 364613"/>
                <a:gd name="connsiteX227" fmla="*/ 581834 w 581833"/>
                <a:gd name="connsiteY227" fmla="*/ 351075 h 364613"/>
                <a:gd name="connsiteX228" fmla="*/ 569619 w 581833"/>
                <a:gd name="connsiteY228" fmla="*/ 338860 h 364613"/>
                <a:gd name="connsiteX229" fmla="*/ 557404 w 581833"/>
                <a:gd name="connsiteY229" fmla="*/ 351075 h 364613"/>
                <a:gd name="connsiteX230" fmla="*/ 569619 w 581833"/>
                <a:gd name="connsiteY230" fmla="*/ 363290 h 364613"/>
                <a:gd name="connsiteX231" fmla="*/ 581834 w 581833"/>
                <a:gd name="connsiteY231" fmla="*/ 351075 h 36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581833" h="364613">
                  <a:moveTo>
                    <a:pt x="53338" y="22394"/>
                  </a:moveTo>
                  <a:lnTo>
                    <a:pt x="10586" y="22394"/>
                  </a:lnTo>
                  <a:cubicBezTo>
                    <a:pt x="4784" y="22394"/>
                    <a:pt x="0" y="17711"/>
                    <a:pt x="0" y="11808"/>
                  </a:cubicBezTo>
                  <a:cubicBezTo>
                    <a:pt x="0" y="5904"/>
                    <a:pt x="4682" y="1221"/>
                    <a:pt x="10586" y="1221"/>
                  </a:cubicBezTo>
                  <a:lnTo>
                    <a:pt x="53338" y="1221"/>
                  </a:lnTo>
                  <a:cubicBezTo>
                    <a:pt x="59140" y="1221"/>
                    <a:pt x="63924" y="5904"/>
                    <a:pt x="63924" y="11808"/>
                  </a:cubicBezTo>
                  <a:cubicBezTo>
                    <a:pt x="63924" y="17711"/>
                    <a:pt x="59242" y="22394"/>
                    <a:pt x="53338" y="22394"/>
                  </a:cubicBezTo>
                  <a:close/>
                  <a:moveTo>
                    <a:pt x="63924" y="60667"/>
                  </a:moveTo>
                  <a:cubicBezTo>
                    <a:pt x="63924" y="54865"/>
                    <a:pt x="59242" y="50081"/>
                    <a:pt x="53338" y="50081"/>
                  </a:cubicBezTo>
                  <a:lnTo>
                    <a:pt x="10586" y="50081"/>
                  </a:lnTo>
                  <a:cubicBezTo>
                    <a:pt x="4784" y="50081"/>
                    <a:pt x="0" y="54763"/>
                    <a:pt x="0" y="60667"/>
                  </a:cubicBezTo>
                  <a:cubicBezTo>
                    <a:pt x="0" y="66571"/>
                    <a:pt x="4682" y="71253"/>
                    <a:pt x="10586" y="71253"/>
                  </a:cubicBezTo>
                  <a:lnTo>
                    <a:pt x="53338" y="71253"/>
                  </a:lnTo>
                  <a:cubicBezTo>
                    <a:pt x="59140" y="71253"/>
                    <a:pt x="63924" y="66571"/>
                    <a:pt x="63924" y="60667"/>
                  </a:cubicBezTo>
                  <a:close/>
                  <a:moveTo>
                    <a:pt x="63924" y="109526"/>
                  </a:moveTo>
                  <a:cubicBezTo>
                    <a:pt x="63924" y="103724"/>
                    <a:pt x="59242" y="98940"/>
                    <a:pt x="53338" y="98940"/>
                  </a:cubicBezTo>
                  <a:lnTo>
                    <a:pt x="10586" y="98940"/>
                  </a:lnTo>
                  <a:cubicBezTo>
                    <a:pt x="4784" y="98940"/>
                    <a:pt x="0" y="103623"/>
                    <a:pt x="0" y="109526"/>
                  </a:cubicBezTo>
                  <a:cubicBezTo>
                    <a:pt x="0" y="115430"/>
                    <a:pt x="4682" y="120112"/>
                    <a:pt x="10586" y="120112"/>
                  </a:cubicBezTo>
                  <a:lnTo>
                    <a:pt x="53338" y="120112"/>
                  </a:lnTo>
                  <a:cubicBezTo>
                    <a:pt x="59140" y="120112"/>
                    <a:pt x="63924" y="115430"/>
                    <a:pt x="63924" y="109526"/>
                  </a:cubicBezTo>
                  <a:close/>
                  <a:moveTo>
                    <a:pt x="63924" y="158386"/>
                  </a:moveTo>
                  <a:cubicBezTo>
                    <a:pt x="63924" y="152584"/>
                    <a:pt x="59242" y="147799"/>
                    <a:pt x="53338" y="147799"/>
                  </a:cubicBezTo>
                  <a:lnTo>
                    <a:pt x="10586" y="147799"/>
                  </a:lnTo>
                  <a:cubicBezTo>
                    <a:pt x="4784" y="147799"/>
                    <a:pt x="0" y="152482"/>
                    <a:pt x="0" y="158386"/>
                  </a:cubicBezTo>
                  <a:cubicBezTo>
                    <a:pt x="0" y="164289"/>
                    <a:pt x="4682" y="168972"/>
                    <a:pt x="10586" y="168972"/>
                  </a:cubicBezTo>
                  <a:lnTo>
                    <a:pt x="53338" y="168972"/>
                  </a:lnTo>
                  <a:cubicBezTo>
                    <a:pt x="59140" y="168972"/>
                    <a:pt x="63924" y="164289"/>
                    <a:pt x="63924" y="158386"/>
                  </a:cubicBezTo>
                  <a:close/>
                  <a:moveTo>
                    <a:pt x="63924" y="207245"/>
                  </a:moveTo>
                  <a:cubicBezTo>
                    <a:pt x="63924" y="201443"/>
                    <a:pt x="59242" y="196659"/>
                    <a:pt x="53338" y="196659"/>
                  </a:cubicBezTo>
                  <a:lnTo>
                    <a:pt x="10586" y="196659"/>
                  </a:lnTo>
                  <a:cubicBezTo>
                    <a:pt x="4784" y="196659"/>
                    <a:pt x="0" y="201341"/>
                    <a:pt x="0" y="207245"/>
                  </a:cubicBezTo>
                  <a:cubicBezTo>
                    <a:pt x="0" y="213149"/>
                    <a:pt x="4682" y="217831"/>
                    <a:pt x="10586" y="217831"/>
                  </a:cubicBezTo>
                  <a:lnTo>
                    <a:pt x="53338" y="217831"/>
                  </a:lnTo>
                  <a:cubicBezTo>
                    <a:pt x="59140" y="217831"/>
                    <a:pt x="63924" y="213149"/>
                    <a:pt x="63924" y="207245"/>
                  </a:cubicBezTo>
                  <a:close/>
                  <a:moveTo>
                    <a:pt x="63924" y="256105"/>
                  </a:moveTo>
                  <a:cubicBezTo>
                    <a:pt x="63924" y="250302"/>
                    <a:pt x="59242" y="245518"/>
                    <a:pt x="53338" y="245518"/>
                  </a:cubicBezTo>
                  <a:lnTo>
                    <a:pt x="10586" y="245518"/>
                  </a:lnTo>
                  <a:cubicBezTo>
                    <a:pt x="4784" y="245518"/>
                    <a:pt x="0" y="250201"/>
                    <a:pt x="0" y="256105"/>
                  </a:cubicBezTo>
                  <a:cubicBezTo>
                    <a:pt x="0" y="262008"/>
                    <a:pt x="4682" y="266691"/>
                    <a:pt x="10586" y="266691"/>
                  </a:cubicBezTo>
                  <a:lnTo>
                    <a:pt x="53338" y="266691"/>
                  </a:lnTo>
                  <a:cubicBezTo>
                    <a:pt x="59140" y="266691"/>
                    <a:pt x="63924" y="262008"/>
                    <a:pt x="63924" y="256105"/>
                  </a:cubicBezTo>
                  <a:close/>
                  <a:moveTo>
                    <a:pt x="63924" y="304964"/>
                  </a:moveTo>
                  <a:cubicBezTo>
                    <a:pt x="63924" y="299162"/>
                    <a:pt x="59242" y="294378"/>
                    <a:pt x="53338" y="294378"/>
                  </a:cubicBezTo>
                  <a:lnTo>
                    <a:pt x="10586" y="294378"/>
                  </a:lnTo>
                  <a:cubicBezTo>
                    <a:pt x="4784" y="294378"/>
                    <a:pt x="0" y="299060"/>
                    <a:pt x="0" y="304964"/>
                  </a:cubicBezTo>
                  <a:cubicBezTo>
                    <a:pt x="0" y="310868"/>
                    <a:pt x="4682" y="315550"/>
                    <a:pt x="10586" y="315550"/>
                  </a:cubicBezTo>
                  <a:lnTo>
                    <a:pt x="53338" y="315550"/>
                  </a:lnTo>
                  <a:cubicBezTo>
                    <a:pt x="59140" y="315550"/>
                    <a:pt x="63924" y="310868"/>
                    <a:pt x="63924" y="304964"/>
                  </a:cubicBezTo>
                  <a:close/>
                  <a:moveTo>
                    <a:pt x="63924" y="353823"/>
                  </a:moveTo>
                  <a:cubicBezTo>
                    <a:pt x="63924" y="348021"/>
                    <a:pt x="59242" y="343237"/>
                    <a:pt x="53338" y="343237"/>
                  </a:cubicBezTo>
                  <a:lnTo>
                    <a:pt x="10586" y="343237"/>
                  </a:lnTo>
                  <a:cubicBezTo>
                    <a:pt x="4784" y="343237"/>
                    <a:pt x="0" y="347919"/>
                    <a:pt x="0" y="353823"/>
                  </a:cubicBezTo>
                  <a:cubicBezTo>
                    <a:pt x="0" y="359727"/>
                    <a:pt x="4682" y="364409"/>
                    <a:pt x="10586" y="364409"/>
                  </a:cubicBezTo>
                  <a:lnTo>
                    <a:pt x="53338" y="364409"/>
                  </a:lnTo>
                  <a:cubicBezTo>
                    <a:pt x="59140" y="364409"/>
                    <a:pt x="63924" y="359727"/>
                    <a:pt x="63924" y="353823"/>
                  </a:cubicBezTo>
                  <a:close/>
                  <a:moveTo>
                    <a:pt x="223837" y="12011"/>
                  </a:moveTo>
                  <a:cubicBezTo>
                    <a:pt x="223837" y="6209"/>
                    <a:pt x="219155" y="1425"/>
                    <a:pt x="213251" y="1425"/>
                  </a:cubicBezTo>
                  <a:lnTo>
                    <a:pt x="101078" y="1425"/>
                  </a:lnTo>
                  <a:cubicBezTo>
                    <a:pt x="95276" y="1425"/>
                    <a:pt x="90492" y="6107"/>
                    <a:pt x="90492" y="12011"/>
                  </a:cubicBezTo>
                  <a:cubicBezTo>
                    <a:pt x="90492" y="17915"/>
                    <a:pt x="95174" y="22597"/>
                    <a:pt x="101078" y="22597"/>
                  </a:cubicBezTo>
                  <a:lnTo>
                    <a:pt x="213251" y="22597"/>
                  </a:lnTo>
                  <a:cubicBezTo>
                    <a:pt x="219053" y="22597"/>
                    <a:pt x="223837" y="17915"/>
                    <a:pt x="223837" y="12011"/>
                  </a:cubicBezTo>
                  <a:close/>
                  <a:moveTo>
                    <a:pt x="223837" y="60870"/>
                  </a:moveTo>
                  <a:cubicBezTo>
                    <a:pt x="223837" y="55069"/>
                    <a:pt x="219155" y="50284"/>
                    <a:pt x="213251" y="50284"/>
                  </a:cubicBezTo>
                  <a:lnTo>
                    <a:pt x="101078" y="50284"/>
                  </a:lnTo>
                  <a:cubicBezTo>
                    <a:pt x="95276" y="50284"/>
                    <a:pt x="90492" y="54967"/>
                    <a:pt x="90492" y="60870"/>
                  </a:cubicBezTo>
                  <a:cubicBezTo>
                    <a:pt x="90492" y="66774"/>
                    <a:pt x="95174" y="71457"/>
                    <a:pt x="101078" y="71457"/>
                  </a:cubicBezTo>
                  <a:lnTo>
                    <a:pt x="213251" y="71457"/>
                  </a:lnTo>
                  <a:cubicBezTo>
                    <a:pt x="219053" y="71457"/>
                    <a:pt x="223837" y="66774"/>
                    <a:pt x="223837" y="60870"/>
                  </a:cubicBezTo>
                  <a:close/>
                  <a:moveTo>
                    <a:pt x="223837" y="109730"/>
                  </a:moveTo>
                  <a:cubicBezTo>
                    <a:pt x="223837" y="103928"/>
                    <a:pt x="219155" y="99144"/>
                    <a:pt x="213251" y="99144"/>
                  </a:cubicBezTo>
                  <a:lnTo>
                    <a:pt x="101078" y="99144"/>
                  </a:lnTo>
                  <a:cubicBezTo>
                    <a:pt x="95276" y="99144"/>
                    <a:pt x="90492" y="103826"/>
                    <a:pt x="90492" y="109730"/>
                  </a:cubicBezTo>
                  <a:cubicBezTo>
                    <a:pt x="90492" y="115634"/>
                    <a:pt x="95174" y="120316"/>
                    <a:pt x="101078" y="120316"/>
                  </a:cubicBezTo>
                  <a:lnTo>
                    <a:pt x="213251" y="120316"/>
                  </a:lnTo>
                  <a:cubicBezTo>
                    <a:pt x="219053" y="120316"/>
                    <a:pt x="223837" y="115634"/>
                    <a:pt x="223837" y="109730"/>
                  </a:cubicBezTo>
                  <a:close/>
                  <a:moveTo>
                    <a:pt x="223837" y="158589"/>
                  </a:moveTo>
                  <a:cubicBezTo>
                    <a:pt x="223837" y="152787"/>
                    <a:pt x="219155" y="148003"/>
                    <a:pt x="213251" y="148003"/>
                  </a:cubicBezTo>
                  <a:lnTo>
                    <a:pt x="101078" y="148003"/>
                  </a:lnTo>
                  <a:cubicBezTo>
                    <a:pt x="95276" y="148003"/>
                    <a:pt x="90492" y="152686"/>
                    <a:pt x="90492" y="158589"/>
                  </a:cubicBezTo>
                  <a:cubicBezTo>
                    <a:pt x="90492" y="164493"/>
                    <a:pt x="95174" y="169176"/>
                    <a:pt x="101078" y="169176"/>
                  </a:cubicBezTo>
                  <a:lnTo>
                    <a:pt x="213251" y="169176"/>
                  </a:lnTo>
                  <a:cubicBezTo>
                    <a:pt x="219053" y="169176"/>
                    <a:pt x="223837" y="164493"/>
                    <a:pt x="223837" y="158589"/>
                  </a:cubicBezTo>
                  <a:close/>
                  <a:moveTo>
                    <a:pt x="223837" y="207449"/>
                  </a:moveTo>
                  <a:cubicBezTo>
                    <a:pt x="223837" y="201647"/>
                    <a:pt x="219155" y="196863"/>
                    <a:pt x="213251" y="196863"/>
                  </a:cubicBezTo>
                  <a:lnTo>
                    <a:pt x="101078" y="196863"/>
                  </a:lnTo>
                  <a:cubicBezTo>
                    <a:pt x="95276" y="196863"/>
                    <a:pt x="90492" y="201545"/>
                    <a:pt x="90492" y="207449"/>
                  </a:cubicBezTo>
                  <a:cubicBezTo>
                    <a:pt x="90492" y="213352"/>
                    <a:pt x="95174" y="218035"/>
                    <a:pt x="101078" y="218035"/>
                  </a:cubicBezTo>
                  <a:lnTo>
                    <a:pt x="213251" y="218035"/>
                  </a:lnTo>
                  <a:cubicBezTo>
                    <a:pt x="219053" y="218035"/>
                    <a:pt x="223837" y="213352"/>
                    <a:pt x="223837" y="207449"/>
                  </a:cubicBezTo>
                  <a:close/>
                  <a:moveTo>
                    <a:pt x="358098" y="256308"/>
                  </a:moveTo>
                  <a:cubicBezTo>
                    <a:pt x="358098" y="250506"/>
                    <a:pt x="353416" y="245722"/>
                    <a:pt x="347512" y="245722"/>
                  </a:cubicBezTo>
                  <a:lnTo>
                    <a:pt x="235339" y="245722"/>
                  </a:lnTo>
                  <a:cubicBezTo>
                    <a:pt x="229537" y="245722"/>
                    <a:pt x="224753" y="250404"/>
                    <a:pt x="224753" y="256308"/>
                  </a:cubicBezTo>
                  <a:cubicBezTo>
                    <a:pt x="224753" y="262212"/>
                    <a:pt x="229435" y="266894"/>
                    <a:pt x="235339" y="266894"/>
                  </a:cubicBezTo>
                  <a:lnTo>
                    <a:pt x="347512" y="266894"/>
                  </a:lnTo>
                  <a:cubicBezTo>
                    <a:pt x="353314" y="266894"/>
                    <a:pt x="358098" y="262212"/>
                    <a:pt x="358098" y="256308"/>
                  </a:cubicBezTo>
                  <a:close/>
                  <a:moveTo>
                    <a:pt x="358098" y="305167"/>
                  </a:moveTo>
                  <a:cubicBezTo>
                    <a:pt x="358098" y="299365"/>
                    <a:pt x="353416" y="294581"/>
                    <a:pt x="347512" y="294581"/>
                  </a:cubicBezTo>
                  <a:lnTo>
                    <a:pt x="235339" y="294581"/>
                  </a:lnTo>
                  <a:cubicBezTo>
                    <a:pt x="229537" y="294581"/>
                    <a:pt x="224753" y="299264"/>
                    <a:pt x="224753" y="305167"/>
                  </a:cubicBezTo>
                  <a:cubicBezTo>
                    <a:pt x="224753" y="311071"/>
                    <a:pt x="229435" y="315754"/>
                    <a:pt x="235339" y="315754"/>
                  </a:cubicBezTo>
                  <a:lnTo>
                    <a:pt x="347512" y="315754"/>
                  </a:lnTo>
                  <a:cubicBezTo>
                    <a:pt x="353314" y="315754"/>
                    <a:pt x="358098" y="311071"/>
                    <a:pt x="358098" y="305167"/>
                  </a:cubicBezTo>
                  <a:close/>
                  <a:moveTo>
                    <a:pt x="358098" y="354027"/>
                  </a:moveTo>
                  <a:cubicBezTo>
                    <a:pt x="358098" y="348225"/>
                    <a:pt x="353416" y="343441"/>
                    <a:pt x="347512" y="343441"/>
                  </a:cubicBezTo>
                  <a:lnTo>
                    <a:pt x="235339" y="343441"/>
                  </a:lnTo>
                  <a:cubicBezTo>
                    <a:pt x="229537" y="343441"/>
                    <a:pt x="224753" y="348123"/>
                    <a:pt x="224753" y="354027"/>
                  </a:cubicBezTo>
                  <a:cubicBezTo>
                    <a:pt x="224753" y="359931"/>
                    <a:pt x="229435" y="364613"/>
                    <a:pt x="235339" y="364613"/>
                  </a:cubicBezTo>
                  <a:lnTo>
                    <a:pt x="347512" y="364613"/>
                  </a:lnTo>
                  <a:cubicBezTo>
                    <a:pt x="353314" y="364613"/>
                    <a:pt x="358098" y="359931"/>
                    <a:pt x="358098" y="354027"/>
                  </a:cubicBezTo>
                  <a:close/>
                  <a:moveTo>
                    <a:pt x="273205" y="12215"/>
                  </a:moveTo>
                  <a:cubicBezTo>
                    <a:pt x="273205" y="5497"/>
                    <a:pt x="267709" y="0"/>
                    <a:pt x="260990" y="0"/>
                  </a:cubicBezTo>
                  <a:cubicBezTo>
                    <a:pt x="254272" y="0"/>
                    <a:pt x="248776" y="5497"/>
                    <a:pt x="248776" y="12215"/>
                  </a:cubicBezTo>
                  <a:cubicBezTo>
                    <a:pt x="248776" y="18933"/>
                    <a:pt x="254272" y="24430"/>
                    <a:pt x="260990" y="24430"/>
                  </a:cubicBezTo>
                  <a:cubicBezTo>
                    <a:pt x="267709" y="24430"/>
                    <a:pt x="273205" y="18933"/>
                    <a:pt x="273205" y="12215"/>
                  </a:cubicBezTo>
                  <a:close/>
                  <a:moveTo>
                    <a:pt x="309850" y="12215"/>
                  </a:moveTo>
                  <a:cubicBezTo>
                    <a:pt x="309850" y="5497"/>
                    <a:pt x="304353" y="0"/>
                    <a:pt x="297635" y="0"/>
                  </a:cubicBezTo>
                  <a:cubicBezTo>
                    <a:pt x="290917" y="0"/>
                    <a:pt x="285420" y="5497"/>
                    <a:pt x="285420" y="12215"/>
                  </a:cubicBezTo>
                  <a:cubicBezTo>
                    <a:pt x="285420" y="18933"/>
                    <a:pt x="290917" y="24430"/>
                    <a:pt x="297635" y="24430"/>
                  </a:cubicBezTo>
                  <a:cubicBezTo>
                    <a:pt x="304353" y="24430"/>
                    <a:pt x="309850" y="18933"/>
                    <a:pt x="309850" y="12215"/>
                  </a:cubicBezTo>
                  <a:close/>
                  <a:moveTo>
                    <a:pt x="346494" y="12215"/>
                  </a:moveTo>
                  <a:cubicBezTo>
                    <a:pt x="346494" y="5497"/>
                    <a:pt x="340998" y="0"/>
                    <a:pt x="334280" y="0"/>
                  </a:cubicBezTo>
                  <a:cubicBezTo>
                    <a:pt x="327561" y="0"/>
                    <a:pt x="322065" y="5497"/>
                    <a:pt x="322065" y="12215"/>
                  </a:cubicBezTo>
                  <a:cubicBezTo>
                    <a:pt x="322065" y="18933"/>
                    <a:pt x="327561" y="24430"/>
                    <a:pt x="334280" y="24430"/>
                  </a:cubicBezTo>
                  <a:cubicBezTo>
                    <a:pt x="340998" y="24430"/>
                    <a:pt x="346494" y="18933"/>
                    <a:pt x="346494" y="12215"/>
                  </a:cubicBezTo>
                  <a:close/>
                  <a:moveTo>
                    <a:pt x="383139" y="12215"/>
                  </a:moveTo>
                  <a:cubicBezTo>
                    <a:pt x="383139" y="5497"/>
                    <a:pt x="377642" y="0"/>
                    <a:pt x="370924" y="0"/>
                  </a:cubicBezTo>
                  <a:cubicBezTo>
                    <a:pt x="364206" y="0"/>
                    <a:pt x="358709" y="5497"/>
                    <a:pt x="358709" y="12215"/>
                  </a:cubicBezTo>
                  <a:cubicBezTo>
                    <a:pt x="358709" y="18933"/>
                    <a:pt x="364206" y="24430"/>
                    <a:pt x="370924" y="24430"/>
                  </a:cubicBezTo>
                  <a:cubicBezTo>
                    <a:pt x="377642" y="24430"/>
                    <a:pt x="383139" y="18933"/>
                    <a:pt x="383139" y="12215"/>
                  </a:cubicBezTo>
                  <a:close/>
                  <a:moveTo>
                    <a:pt x="419783" y="12215"/>
                  </a:moveTo>
                  <a:cubicBezTo>
                    <a:pt x="419783" y="5497"/>
                    <a:pt x="414287" y="0"/>
                    <a:pt x="407569" y="0"/>
                  </a:cubicBezTo>
                  <a:cubicBezTo>
                    <a:pt x="400850" y="0"/>
                    <a:pt x="395354" y="5497"/>
                    <a:pt x="395354" y="12215"/>
                  </a:cubicBezTo>
                  <a:cubicBezTo>
                    <a:pt x="395354" y="18933"/>
                    <a:pt x="400850" y="24430"/>
                    <a:pt x="407569" y="24430"/>
                  </a:cubicBezTo>
                  <a:cubicBezTo>
                    <a:pt x="414287" y="24430"/>
                    <a:pt x="419783" y="18933"/>
                    <a:pt x="419783" y="12215"/>
                  </a:cubicBezTo>
                  <a:close/>
                  <a:moveTo>
                    <a:pt x="456428" y="12215"/>
                  </a:moveTo>
                  <a:cubicBezTo>
                    <a:pt x="456428" y="5497"/>
                    <a:pt x="450931" y="0"/>
                    <a:pt x="444213" y="0"/>
                  </a:cubicBezTo>
                  <a:cubicBezTo>
                    <a:pt x="437495" y="0"/>
                    <a:pt x="431998" y="5497"/>
                    <a:pt x="431998" y="12215"/>
                  </a:cubicBezTo>
                  <a:cubicBezTo>
                    <a:pt x="431998" y="18933"/>
                    <a:pt x="437495" y="24430"/>
                    <a:pt x="444213" y="24430"/>
                  </a:cubicBezTo>
                  <a:cubicBezTo>
                    <a:pt x="450931" y="24430"/>
                    <a:pt x="456428" y="18933"/>
                    <a:pt x="456428" y="12215"/>
                  </a:cubicBezTo>
                  <a:close/>
                  <a:moveTo>
                    <a:pt x="273307" y="109933"/>
                  </a:moveTo>
                  <a:cubicBezTo>
                    <a:pt x="273307" y="103215"/>
                    <a:pt x="267810" y="97719"/>
                    <a:pt x="261092" y="97719"/>
                  </a:cubicBezTo>
                  <a:cubicBezTo>
                    <a:pt x="254374" y="97719"/>
                    <a:pt x="248877" y="103215"/>
                    <a:pt x="248877" y="109933"/>
                  </a:cubicBezTo>
                  <a:cubicBezTo>
                    <a:pt x="248877" y="116652"/>
                    <a:pt x="254374" y="122148"/>
                    <a:pt x="261092" y="122148"/>
                  </a:cubicBezTo>
                  <a:cubicBezTo>
                    <a:pt x="267810" y="122148"/>
                    <a:pt x="273307" y="116652"/>
                    <a:pt x="273307" y="109933"/>
                  </a:cubicBezTo>
                  <a:close/>
                  <a:moveTo>
                    <a:pt x="309952" y="109933"/>
                  </a:moveTo>
                  <a:cubicBezTo>
                    <a:pt x="309952" y="103215"/>
                    <a:pt x="304455" y="97719"/>
                    <a:pt x="297737" y="97719"/>
                  </a:cubicBezTo>
                  <a:cubicBezTo>
                    <a:pt x="291019" y="97719"/>
                    <a:pt x="285522" y="103215"/>
                    <a:pt x="285522" y="109933"/>
                  </a:cubicBezTo>
                  <a:cubicBezTo>
                    <a:pt x="285522" y="116652"/>
                    <a:pt x="291019" y="122148"/>
                    <a:pt x="297737" y="122148"/>
                  </a:cubicBezTo>
                  <a:cubicBezTo>
                    <a:pt x="304455" y="122148"/>
                    <a:pt x="309952" y="116652"/>
                    <a:pt x="309952" y="109933"/>
                  </a:cubicBezTo>
                  <a:close/>
                  <a:moveTo>
                    <a:pt x="346596" y="109933"/>
                  </a:moveTo>
                  <a:cubicBezTo>
                    <a:pt x="346596" y="103215"/>
                    <a:pt x="341099" y="97719"/>
                    <a:pt x="334381" y="97719"/>
                  </a:cubicBezTo>
                  <a:cubicBezTo>
                    <a:pt x="327663" y="97719"/>
                    <a:pt x="322167" y="103215"/>
                    <a:pt x="322167" y="109933"/>
                  </a:cubicBezTo>
                  <a:cubicBezTo>
                    <a:pt x="322167" y="116652"/>
                    <a:pt x="327663" y="122148"/>
                    <a:pt x="334381" y="122148"/>
                  </a:cubicBezTo>
                  <a:cubicBezTo>
                    <a:pt x="341099" y="122148"/>
                    <a:pt x="346596" y="116652"/>
                    <a:pt x="346596" y="109933"/>
                  </a:cubicBezTo>
                  <a:close/>
                  <a:moveTo>
                    <a:pt x="383241" y="109933"/>
                  </a:moveTo>
                  <a:cubicBezTo>
                    <a:pt x="383241" y="103215"/>
                    <a:pt x="377744" y="97719"/>
                    <a:pt x="371026" y="97719"/>
                  </a:cubicBezTo>
                  <a:cubicBezTo>
                    <a:pt x="364308" y="97719"/>
                    <a:pt x="358811" y="103215"/>
                    <a:pt x="358811" y="109933"/>
                  </a:cubicBezTo>
                  <a:cubicBezTo>
                    <a:pt x="358811" y="116652"/>
                    <a:pt x="364308" y="122148"/>
                    <a:pt x="371026" y="122148"/>
                  </a:cubicBezTo>
                  <a:cubicBezTo>
                    <a:pt x="377744" y="122148"/>
                    <a:pt x="383241" y="116652"/>
                    <a:pt x="383241" y="109933"/>
                  </a:cubicBezTo>
                  <a:close/>
                  <a:moveTo>
                    <a:pt x="419885" y="109933"/>
                  </a:moveTo>
                  <a:cubicBezTo>
                    <a:pt x="419885" y="103215"/>
                    <a:pt x="414389" y="97719"/>
                    <a:pt x="407670" y="97719"/>
                  </a:cubicBezTo>
                  <a:cubicBezTo>
                    <a:pt x="400952" y="97719"/>
                    <a:pt x="395456" y="103215"/>
                    <a:pt x="395456" y="109933"/>
                  </a:cubicBezTo>
                  <a:cubicBezTo>
                    <a:pt x="395456" y="116652"/>
                    <a:pt x="400952" y="122148"/>
                    <a:pt x="407670" y="122148"/>
                  </a:cubicBezTo>
                  <a:cubicBezTo>
                    <a:pt x="414389" y="122148"/>
                    <a:pt x="419885" y="116652"/>
                    <a:pt x="419885" y="109933"/>
                  </a:cubicBezTo>
                  <a:close/>
                  <a:moveTo>
                    <a:pt x="456530" y="109933"/>
                  </a:moveTo>
                  <a:cubicBezTo>
                    <a:pt x="456530" y="103215"/>
                    <a:pt x="451033" y="97719"/>
                    <a:pt x="444315" y="97719"/>
                  </a:cubicBezTo>
                  <a:cubicBezTo>
                    <a:pt x="437597" y="97719"/>
                    <a:pt x="432100" y="103215"/>
                    <a:pt x="432100" y="109933"/>
                  </a:cubicBezTo>
                  <a:cubicBezTo>
                    <a:pt x="432100" y="116652"/>
                    <a:pt x="437597" y="122148"/>
                    <a:pt x="444315" y="122148"/>
                  </a:cubicBezTo>
                  <a:cubicBezTo>
                    <a:pt x="451033" y="122148"/>
                    <a:pt x="456530" y="116652"/>
                    <a:pt x="456530" y="109933"/>
                  </a:cubicBezTo>
                  <a:close/>
                  <a:moveTo>
                    <a:pt x="398509" y="250302"/>
                  </a:moveTo>
                  <a:cubicBezTo>
                    <a:pt x="398509" y="243584"/>
                    <a:pt x="393013" y="238087"/>
                    <a:pt x="386294" y="238087"/>
                  </a:cubicBezTo>
                  <a:cubicBezTo>
                    <a:pt x="379576" y="238087"/>
                    <a:pt x="374080" y="243584"/>
                    <a:pt x="374080" y="250302"/>
                  </a:cubicBezTo>
                  <a:cubicBezTo>
                    <a:pt x="374080" y="257021"/>
                    <a:pt x="379576" y="262517"/>
                    <a:pt x="386294" y="262517"/>
                  </a:cubicBezTo>
                  <a:cubicBezTo>
                    <a:pt x="393013" y="262517"/>
                    <a:pt x="398509" y="257021"/>
                    <a:pt x="398509" y="250302"/>
                  </a:cubicBezTo>
                  <a:close/>
                  <a:moveTo>
                    <a:pt x="435154" y="250302"/>
                  </a:moveTo>
                  <a:cubicBezTo>
                    <a:pt x="435154" y="243584"/>
                    <a:pt x="429657" y="238087"/>
                    <a:pt x="422939" y="238087"/>
                  </a:cubicBezTo>
                  <a:cubicBezTo>
                    <a:pt x="416221" y="238087"/>
                    <a:pt x="410724" y="243584"/>
                    <a:pt x="410724" y="250302"/>
                  </a:cubicBezTo>
                  <a:cubicBezTo>
                    <a:pt x="410724" y="257021"/>
                    <a:pt x="416221" y="262517"/>
                    <a:pt x="422939" y="262517"/>
                  </a:cubicBezTo>
                  <a:cubicBezTo>
                    <a:pt x="429657" y="262517"/>
                    <a:pt x="435154" y="257021"/>
                    <a:pt x="435154" y="250302"/>
                  </a:cubicBezTo>
                  <a:close/>
                  <a:moveTo>
                    <a:pt x="471798" y="250302"/>
                  </a:moveTo>
                  <a:cubicBezTo>
                    <a:pt x="471798" y="243584"/>
                    <a:pt x="466302" y="238087"/>
                    <a:pt x="459583" y="238087"/>
                  </a:cubicBezTo>
                  <a:cubicBezTo>
                    <a:pt x="452865" y="238087"/>
                    <a:pt x="447369" y="243584"/>
                    <a:pt x="447369" y="250302"/>
                  </a:cubicBezTo>
                  <a:cubicBezTo>
                    <a:pt x="447369" y="257021"/>
                    <a:pt x="452865" y="262517"/>
                    <a:pt x="459583" y="262517"/>
                  </a:cubicBezTo>
                  <a:cubicBezTo>
                    <a:pt x="466302" y="262517"/>
                    <a:pt x="471798" y="257021"/>
                    <a:pt x="471798" y="250302"/>
                  </a:cubicBezTo>
                  <a:close/>
                  <a:moveTo>
                    <a:pt x="508443" y="250302"/>
                  </a:moveTo>
                  <a:cubicBezTo>
                    <a:pt x="508443" y="243584"/>
                    <a:pt x="502946" y="238087"/>
                    <a:pt x="496228" y="238087"/>
                  </a:cubicBezTo>
                  <a:cubicBezTo>
                    <a:pt x="489510" y="238087"/>
                    <a:pt x="484013" y="243584"/>
                    <a:pt x="484013" y="250302"/>
                  </a:cubicBezTo>
                  <a:cubicBezTo>
                    <a:pt x="484013" y="257021"/>
                    <a:pt x="489510" y="262517"/>
                    <a:pt x="496228" y="262517"/>
                  </a:cubicBezTo>
                  <a:cubicBezTo>
                    <a:pt x="502946" y="262517"/>
                    <a:pt x="508443" y="257021"/>
                    <a:pt x="508443" y="250302"/>
                  </a:cubicBezTo>
                  <a:close/>
                  <a:moveTo>
                    <a:pt x="545087" y="250302"/>
                  </a:moveTo>
                  <a:cubicBezTo>
                    <a:pt x="545087" y="243584"/>
                    <a:pt x="539591" y="238087"/>
                    <a:pt x="532873" y="238087"/>
                  </a:cubicBezTo>
                  <a:cubicBezTo>
                    <a:pt x="526154" y="238087"/>
                    <a:pt x="520658" y="243584"/>
                    <a:pt x="520658" y="250302"/>
                  </a:cubicBezTo>
                  <a:cubicBezTo>
                    <a:pt x="520658" y="257021"/>
                    <a:pt x="526154" y="262517"/>
                    <a:pt x="532873" y="262517"/>
                  </a:cubicBezTo>
                  <a:cubicBezTo>
                    <a:pt x="539591" y="262517"/>
                    <a:pt x="545087" y="257021"/>
                    <a:pt x="545087" y="250302"/>
                  </a:cubicBezTo>
                  <a:close/>
                  <a:moveTo>
                    <a:pt x="581732" y="250302"/>
                  </a:moveTo>
                  <a:cubicBezTo>
                    <a:pt x="581732" y="243584"/>
                    <a:pt x="576235" y="238087"/>
                    <a:pt x="569517" y="238087"/>
                  </a:cubicBezTo>
                  <a:cubicBezTo>
                    <a:pt x="562799" y="238087"/>
                    <a:pt x="557302" y="243584"/>
                    <a:pt x="557302" y="250302"/>
                  </a:cubicBezTo>
                  <a:cubicBezTo>
                    <a:pt x="557302" y="257021"/>
                    <a:pt x="562799" y="262517"/>
                    <a:pt x="569517" y="262517"/>
                  </a:cubicBezTo>
                  <a:cubicBezTo>
                    <a:pt x="576235" y="262517"/>
                    <a:pt x="581732" y="257021"/>
                    <a:pt x="581732" y="250302"/>
                  </a:cubicBezTo>
                  <a:close/>
                  <a:moveTo>
                    <a:pt x="398611" y="351075"/>
                  </a:moveTo>
                  <a:cubicBezTo>
                    <a:pt x="398611" y="344357"/>
                    <a:pt x="393114" y="338860"/>
                    <a:pt x="386396" y="338860"/>
                  </a:cubicBezTo>
                  <a:cubicBezTo>
                    <a:pt x="379678" y="338860"/>
                    <a:pt x="374181" y="344357"/>
                    <a:pt x="374181" y="351075"/>
                  </a:cubicBezTo>
                  <a:cubicBezTo>
                    <a:pt x="374181" y="357793"/>
                    <a:pt x="379678" y="363290"/>
                    <a:pt x="386396" y="363290"/>
                  </a:cubicBezTo>
                  <a:cubicBezTo>
                    <a:pt x="393114" y="363290"/>
                    <a:pt x="398611" y="357793"/>
                    <a:pt x="398611" y="351075"/>
                  </a:cubicBezTo>
                  <a:close/>
                  <a:moveTo>
                    <a:pt x="435256" y="351075"/>
                  </a:moveTo>
                  <a:cubicBezTo>
                    <a:pt x="435256" y="344357"/>
                    <a:pt x="429759" y="338860"/>
                    <a:pt x="423041" y="338860"/>
                  </a:cubicBezTo>
                  <a:cubicBezTo>
                    <a:pt x="416323" y="338860"/>
                    <a:pt x="410826" y="344357"/>
                    <a:pt x="410826" y="351075"/>
                  </a:cubicBezTo>
                  <a:cubicBezTo>
                    <a:pt x="410826" y="357793"/>
                    <a:pt x="416323" y="363290"/>
                    <a:pt x="423041" y="363290"/>
                  </a:cubicBezTo>
                  <a:cubicBezTo>
                    <a:pt x="429759" y="363290"/>
                    <a:pt x="435256" y="357793"/>
                    <a:pt x="435256" y="351075"/>
                  </a:cubicBezTo>
                  <a:close/>
                  <a:moveTo>
                    <a:pt x="471900" y="351075"/>
                  </a:moveTo>
                  <a:cubicBezTo>
                    <a:pt x="471900" y="344357"/>
                    <a:pt x="466403" y="338860"/>
                    <a:pt x="459685" y="338860"/>
                  </a:cubicBezTo>
                  <a:cubicBezTo>
                    <a:pt x="452967" y="338860"/>
                    <a:pt x="447470" y="344357"/>
                    <a:pt x="447470" y="351075"/>
                  </a:cubicBezTo>
                  <a:cubicBezTo>
                    <a:pt x="447470" y="357793"/>
                    <a:pt x="452967" y="363290"/>
                    <a:pt x="459685" y="363290"/>
                  </a:cubicBezTo>
                  <a:cubicBezTo>
                    <a:pt x="466403" y="363290"/>
                    <a:pt x="471900" y="357793"/>
                    <a:pt x="471900" y="351075"/>
                  </a:cubicBezTo>
                  <a:close/>
                  <a:moveTo>
                    <a:pt x="508545" y="351075"/>
                  </a:moveTo>
                  <a:cubicBezTo>
                    <a:pt x="508545" y="344357"/>
                    <a:pt x="503048" y="338860"/>
                    <a:pt x="496330" y="338860"/>
                  </a:cubicBezTo>
                  <a:cubicBezTo>
                    <a:pt x="489612" y="338860"/>
                    <a:pt x="484115" y="344357"/>
                    <a:pt x="484115" y="351075"/>
                  </a:cubicBezTo>
                  <a:cubicBezTo>
                    <a:pt x="484115" y="357793"/>
                    <a:pt x="489612" y="363290"/>
                    <a:pt x="496330" y="363290"/>
                  </a:cubicBezTo>
                  <a:cubicBezTo>
                    <a:pt x="503048" y="363290"/>
                    <a:pt x="508545" y="357793"/>
                    <a:pt x="508545" y="351075"/>
                  </a:cubicBezTo>
                  <a:close/>
                  <a:moveTo>
                    <a:pt x="545189" y="351075"/>
                  </a:moveTo>
                  <a:cubicBezTo>
                    <a:pt x="545189" y="344357"/>
                    <a:pt x="539692" y="338860"/>
                    <a:pt x="532974" y="338860"/>
                  </a:cubicBezTo>
                  <a:cubicBezTo>
                    <a:pt x="526256" y="338860"/>
                    <a:pt x="520759" y="344357"/>
                    <a:pt x="520759" y="351075"/>
                  </a:cubicBezTo>
                  <a:cubicBezTo>
                    <a:pt x="520759" y="357793"/>
                    <a:pt x="526256" y="363290"/>
                    <a:pt x="532974" y="363290"/>
                  </a:cubicBezTo>
                  <a:cubicBezTo>
                    <a:pt x="539692" y="363290"/>
                    <a:pt x="545189" y="357793"/>
                    <a:pt x="545189" y="351075"/>
                  </a:cubicBezTo>
                  <a:close/>
                  <a:moveTo>
                    <a:pt x="581834" y="351075"/>
                  </a:moveTo>
                  <a:cubicBezTo>
                    <a:pt x="581834" y="344357"/>
                    <a:pt x="576337" y="338860"/>
                    <a:pt x="569619" y="338860"/>
                  </a:cubicBezTo>
                  <a:cubicBezTo>
                    <a:pt x="562901" y="338860"/>
                    <a:pt x="557404" y="344357"/>
                    <a:pt x="557404" y="351075"/>
                  </a:cubicBezTo>
                  <a:cubicBezTo>
                    <a:pt x="557404" y="357793"/>
                    <a:pt x="562901" y="363290"/>
                    <a:pt x="569619" y="363290"/>
                  </a:cubicBezTo>
                  <a:cubicBezTo>
                    <a:pt x="576337" y="363290"/>
                    <a:pt x="581834" y="357793"/>
                    <a:pt x="581834" y="35107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6" name="Полилиния: фигура 1095">
              <a:extLst>
                <a:ext uri="{FF2B5EF4-FFF2-40B4-BE49-F238E27FC236}">
                  <a16:creationId xmlns:a16="http://schemas.microsoft.com/office/drawing/2014/main" id="{D13BD699-A0FC-4FDA-B959-3BE326820D13}"/>
                </a:ext>
              </a:extLst>
            </p:cNvPr>
            <p:cNvSpPr/>
            <p:nvPr/>
          </p:nvSpPr>
          <p:spPr>
            <a:xfrm>
              <a:off x="7383425" y="4688956"/>
              <a:ext cx="581833" cy="364612"/>
            </a:xfrm>
            <a:custGeom>
              <a:avLst/>
              <a:gdLst>
                <a:gd name="connsiteX0" fmla="*/ 53338 w 581833"/>
                <a:gd name="connsiteY0" fmla="*/ 22394 h 364612"/>
                <a:gd name="connsiteX1" fmla="*/ 10586 w 581833"/>
                <a:gd name="connsiteY1" fmla="*/ 22394 h 364612"/>
                <a:gd name="connsiteX2" fmla="*/ 0 w 581833"/>
                <a:gd name="connsiteY2" fmla="*/ 11807 h 364612"/>
                <a:gd name="connsiteX3" fmla="*/ 10586 w 581833"/>
                <a:gd name="connsiteY3" fmla="*/ 1221 h 364612"/>
                <a:gd name="connsiteX4" fmla="*/ 53338 w 581833"/>
                <a:gd name="connsiteY4" fmla="*/ 1221 h 364612"/>
                <a:gd name="connsiteX5" fmla="*/ 63924 w 581833"/>
                <a:gd name="connsiteY5" fmla="*/ 11807 h 364612"/>
                <a:gd name="connsiteX6" fmla="*/ 53338 w 581833"/>
                <a:gd name="connsiteY6" fmla="*/ 22394 h 364612"/>
                <a:gd name="connsiteX7" fmla="*/ 63924 w 581833"/>
                <a:gd name="connsiteY7" fmla="*/ 60667 h 364612"/>
                <a:gd name="connsiteX8" fmla="*/ 53338 w 581833"/>
                <a:gd name="connsiteY8" fmla="*/ 50081 h 364612"/>
                <a:gd name="connsiteX9" fmla="*/ 10586 w 581833"/>
                <a:gd name="connsiteY9" fmla="*/ 50081 h 364612"/>
                <a:gd name="connsiteX10" fmla="*/ 0 w 581833"/>
                <a:gd name="connsiteY10" fmla="*/ 60667 h 364612"/>
                <a:gd name="connsiteX11" fmla="*/ 10586 w 581833"/>
                <a:gd name="connsiteY11" fmla="*/ 71253 h 364612"/>
                <a:gd name="connsiteX12" fmla="*/ 53338 w 581833"/>
                <a:gd name="connsiteY12" fmla="*/ 71253 h 364612"/>
                <a:gd name="connsiteX13" fmla="*/ 63924 w 581833"/>
                <a:gd name="connsiteY13" fmla="*/ 60667 h 364612"/>
                <a:gd name="connsiteX14" fmla="*/ 63924 w 581833"/>
                <a:gd name="connsiteY14" fmla="*/ 109526 h 364612"/>
                <a:gd name="connsiteX15" fmla="*/ 53338 w 581833"/>
                <a:gd name="connsiteY15" fmla="*/ 98940 h 364612"/>
                <a:gd name="connsiteX16" fmla="*/ 10586 w 581833"/>
                <a:gd name="connsiteY16" fmla="*/ 98940 h 364612"/>
                <a:gd name="connsiteX17" fmla="*/ 0 w 581833"/>
                <a:gd name="connsiteY17" fmla="*/ 109526 h 364612"/>
                <a:gd name="connsiteX18" fmla="*/ 10586 w 581833"/>
                <a:gd name="connsiteY18" fmla="*/ 120112 h 364612"/>
                <a:gd name="connsiteX19" fmla="*/ 53338 w 581833"/>
                <a:gd name="connsiteY19" fmla="*/ 120112 h 364612"/>
                <a:gd name="connsiteX20" fmla="*/ 63924 w 581833"/>
                <a:gd name="connsiteY20" fmla="*/ 109526 h 364612"/>
                <a:gd name="connsiteX21" fmla="*/ 63924 w 581833"/>
                <a:gd name="connsiteY21" fmla="*/ 158386 h 364612"/>
                <a:gd name="connsiteX22" fmla="*/ 53338 w 581833"/>
                <a:gd name="connsiteY22" fmla="*/ 147799 h 364612"/>
                <a:gd name="connsiteX23" fmla="*/ 10586 w 581833"/>
                <a:gd name="connsiteY23" fmla="*/ 147799 h 364612"/>
                <a:gd name="connsiteX24" fmla="*/ 0 w 581833"/>
                <a:gd name="connsiteY24" fmla="*/ 158386 h 364612"/>
                <a:gd name="connsiteX25" fmla="*/ 10586 w 581833"/>
                <a:gd name="connsiteY25" fmla="*/ 168972 h 364612"/>
                <a:gd name="connsiteX26" fmla="*/ 53338 w 581833"/>
                <a:gd name="connsiteY26" fmla="*/ 168972 h 364612"/>
                <a:gd name="connsiteX27" fmla="*/ 63924 w 581833"/>
                <a:gd name="connsiteY27" fmla="*/ 158386 h 364612"/>
                <a:gd name="connsiteX28" fmla="*/ 63924 w 581833"/>
                <a:gd name="connsiteY28" fmla="*/ 207245 h 364612"/>
                <a:gd name="connsiteX29" fmla="*/ 53338 w 581833"/>
                <a:gd name="connsiteY29" fmla="*/ 196659 h 364612"/>
                <a:gd name="connsiteX30" fmla="*/ 10586 w 581833"/>
                <a:gd name="connsiteY30" fmla="*/ 196659 h 364612"/>
                <a:gd name="connsiteX31" fmla="*/ 0 w 581833"/>
                <a:gd name="connsiteY31" fmla="*/ 207245 h 364612"/>
                <a:gd name="connsiteX32" fmla="*/ 10586 w 581833"/>
                <a:gd name="connsiteY32" fmla="*/ 217831 h 364612"/>
                <a:gd name="connsiteX33" fmla="*/ 53338 w 581833"/>
                <a:gd name="connsiteY33" fmla="*/ 217831 h 364612"/>
                <a:gd name="connsiteX34" fmla="*/ 63924 w 581833"/>
                <a:gd name="connsiteY34" fmla="*/ 207245 h 364612"/>
                <a:gd name="connsiteX35" fmla="*/ 63924 w 581833"/>
                <a:gd name="connsiteY35" fmla="*/ 256104 h 364612"/>
                <a:gd name="connsiteX36" fmla="*/ 53338 w 581833"/>
                <a:gd name="connsiteY36" fmla="*/ 245518 h 364612"/>
                <a:gd name="connsiteX37" fmla="*/ 10586 w 581833"/>
                <a:gd name="connsiteY37" fmla="*/ 245518 h 364612"/>
                <a:gd name="connsiteX38" fmla="*/ 0 w 581833"/>
                <a:gd name="connsiteY38" fmla="*/ 256104 h 364612"/>
                <a:gd name="connsiteX39" fmla="*/ 10586 w 581833"/>
                <a:gd name="connsiteY39" fmla="*/ 266691 h 364612"/>
                <a:gd name="connsiteX40" fmla="*/ 53338 w 581833"/>
                <a:gd name="connsiteY40" fmla="*/ 266691 h 364612"/>
                <a:gd name="connsiteX41" fmla="*/ 63924 w 581833"/>
                <a:gd name="connsiteY41" fmla="*/ 256104 h 364612"/>
                <a:gd name="connsiteX42" fmla="*/ 63924 w 581833"/>
                <a:gd name="connsiteY42" fmla="*/ 304964 h 364612"/>
                <a:gd name="connsiteX43" fmla="*/ 53338 w 581833"/>
                <a:gd name="connsiteY43" fmla="*/ 294378 h 364612"/>
                <a:gd name="connsiteX44" fmla="*/ 10586 w 581833"/>
                <a:gd name="connsiteY44" fmla="*/ 294378 h 364612"/>
                <a:gd name="connsiteX45" fmla="*/ 0 w 581833"/>
                <a:gd name="connsiteY45" fmla="*/ 304964 h 364612"/>
                <a:gd name="connsiteX46" fmla="*/ 10586 w 581833"/>
                <a:gd name="connsiteY46" fmla="*/ 315550 h 364612"/>
                <a:gd name="connsiteX47" fmla="*/ 53338 w 581833"/>
                <a:gd name="connsiteY47" fmla="*/ 315550 h 364612"/>
                <a:gd name="connsiteX48" fmla="*/ 63924 w 581833"/>
                <a:gd name="connsiteY48" fmla="*/ 304964 h 364612"/>
                <a:gd name="connsiteX49" fmla="*/ 63924 w 581833"/>
                <a:gd name="connsiteY49" fmla="*/ 353823 h 364612"/>
                <a:gd name="connsiteX50" fmla="*/ 53338 w 581833"/>
                <a:gd name="connsiteY50" fmla="*/ 343237 h 364612"/>
                <a:gd name="connsiteX51" fmla="*/ 10586 w 581833"/>
                <a:gd name="connsiteY51" fmla="*/ 343237 h 364612"/>
                <a:gd name="connsiteX52" fmla="*/ 0 w 581833"/>
                <a:gd name="connsiteY52" fmla="*/ 353823 h 364612"/>
                <a:gd name="connsiteX53" fmla="*/ 10586 w 581833"/>
                <a:gd name="connsiteY53" fmla="*/ 364409 h 364612"/>
                <a:gd name="connsiteX54" fmla="*/ 53338 w 581833"/>
                <a:gd name="connsiteY54" fmla="*/ 364409 h 364612"/>
                <a:gd name="connsiteX55" fmla="*/ 63924 w 581833"/>
                <a:gd name="connsiteY55" fmla="*/ 353823 h 364612"/>
                <a:gd name="connsiteX56" fmla="*/ 223837 w 581833"/>
                <a:gd name="connsiteY56" fmla="*/ 12011 h 364612"/>
                <a:gd name="connsiteX57" fmla="*/ 213251 w 581833"/>
                <a:gd name="connsiteY57" fmla="*/ 1425 h 364612"/>
                <a:gd name="connsiteX58" fmla="*/ 101078 w 581833"/>
                <a:gd name="connsiteY58" fmla="*/ 1425 h 364612"/>
                <a:gd name="connsiteX59" fmla="*/ 90492 w 581833"/>
                <a:gd name="connsiteY59" fmla="*/ 12011 h 364612"/>
                <a:gd name="connsiteX60" fmla="*/ 101078 w 581833"/>
                <a:gd name="connsiteY60" fmla="*/ 22597 h 364612"/>
                <a:gd name="connsiteX61" fmla="*/ 213251 w 581833"/>
                <a:gd name="connsiteY61" fmla="*/ 22597 h 364612"/>
                <a:gd name="connsiteX62" fmla="*/ 223837 w 581833"/>
                <a:gd name="connsiteY62" fmla="*/ 12011 h 364612"/>
                <a:gd name="connsiteX63" fmla="*/ 223837 w 581833"/>
                <a:gd name="connsiteY63" fmla="*/ 60870 h 364612"/>
                <a:gd name="connsiteX64" fmla="*/ 213251 w 581833"/>
                <a:gd name="connsiteY64" fmla="*/ 50284 h 364612"/>
                <a:gd name="connsiteX65" fmla="*/ 101078 w 581833"/>
                <a:gd name="connsiteY65" fmla="*/ 50284 h 364612"/>
                <a:gd name="connsiteX66" fmla="*/ 90492 w 581833"/>
                <a:gd name="connsiteY66" fmla="*/ 60870 h 364612"/>
                <a:gd name="connsiteX67" fmla="*/ 101078 w 581833"/>
                <a:gd name="connsiteY67" fmla="*/ 71457 h 364612"/>
                <a:gd name="connsiteX68" fmla="*/ 213251 w 581833"/>
                <a:gd name="connsiteY68" fmla="*/ 71457 h 364612"/>
                <a:gd name="connsiteX69" fmla="*/ 223837 w 581833"/>
                <a:gd name="connsiteY69" fmla="*/ 60870 h 364612"/>
                <a:gd name="connsiteX70" fmla="*/ 223837 w 581833"/>
                <a:gd name="connsiteY70" fmla="*/ 109730 h 364612"/>
                <a:gd name="connsiteX71" fmla="*/ 213251 w 581833"/>
                <a:gd name="connsiteY71" fmla="*/ 99144 h 364612"/>
                <a:gd name="connsiteX72" fmla="*/ 101078 w 581833"/>
                <a:gd name="connsiteY72" fmla="*/ 99144 h 364612"/>
                <a:gd name="connsiteX73" fmla="*/ 90492 w 581833"/>
                <a:gd name="connsiteY73" fmla="*/ 109730 h 364612"/>
                <a:gd name="connsiteX74" fmla="*/ 101078 w 581833"/>
                <a:gd name="connsiteY74" fmla="*/ 120316 h 364612"/>
                <a:gd name="connsiteX75" fmla="*/ 213251 w 581833"/>
                <a:gd name="connsiteY75" fmla="*/ 120316 h 364612"/>
                <a:gd name="connsiteX76" fmla="*/ 223837 w 581833"/>
                <a:gd name="connsiteY76" fmla="*/ 109730 h 364612"/>
                <a:gd name="connsiteX77" fmla="*/ 223837 w 581833"/>
                <a:gd name="connsiteY77" fmla="*/ 158589 h 364612"/>
                <a:gd name="connsiteX78" fmla="*/ 213251 w 581833"/>
                <a:gd name="connsiteY78" fmla="*/ 148003 h 364612"/>
                <a:gd name="connsiteX79" fmla="*/ 101078 w 581833"/>
                <a:gd name="connsiteY79" fmla="*/ 148003 h 364612"/>
                <a:gd name="connsiteX80" fmla="*/ 90492 w 581833"/>
                <a:gd name="connsiteY80" fmla="*/ 158589 h 364612"/>
                <a:gd name="connsiteX81" fmla="*/ 101078 w 581833"/>
                <a:gd name="connsiteY81" fmla="*/ 169176 h 364612"/>
                <a:gd name="connsiteX82" fmla="*/ 213251 w 581833"/>
                <a:gd name="connsiteY82" fmla="*/ 169176 h 364612"/>
                <a:gd name="connsiteX83" fmla="*/ 223837 w 581833"/>
                <a:gd name="connsiteY83" fmla="*/ 158589 h 364612"/>
                <a:gd name="connsiteX84" fmla="*/ 223837 w 581833"/>
                <a:gd name="connsiteY84" fmla="*/ 207448 h 364612"/>
                <a:gd name="connsiteX85" fmla="*/ 213251 w 581833"/>
                <a:gd name="connsiteY85" fmla="*/ 196863 h 364612"/>
                <a:gd name="connsiteX86" fmla="*/ 101078 w 581833"/>
                <a:gd name="connsiteY86" fmla="*/ 196863 h 364612"/>
                <a:gd name="connsiteX87" fmla="*/ 90492 w 581833"/>
                <a:gd name="connsiteY87" fmla="*/ 207448 h 364612"/>
                <a:gd name="connsiteX88" fmla="*/ 101078 w 581833"/>
                <a:gd name="connsiteY88" fmla="*/ 218035 h 364612"/>
                <a:gd name="connsiteX89" fmla="*/ 213251 w 581833"/>
                <a:gd name="connsiteY89" fmla="*/ 218035 h 364612"/>
                <a:gd name="connsiteX90" fmla="*/ 223837 w 581833"/>
                <a:gd name="connsiteY90" fmla="*/ 207448 h 364612"/>
                <a:gd name="connsiteX91" fmla="*/ 358098 w 581833"/>
                <a:gd name="connsiteY91" fmla="*/ 256308 h 364612"/>
                <a:gd name="connsiteX92" fmla="*/ 347512 w 581833"/>
                <a:gd name="connsiteY92" fmla="*/ 245722 h 364612"/>
                <a:gd name="connsiteX93" fmla="*/ 235339 w 581833"/>
                <a:gd name="connsiteY93" fmla="*/ 245722 h 364612"/>
                <a:gd name="connsiteX94" fmla="*/ 224753 w 581833"/>
                <a:gd name="connsiteY94" fmla="*/ 256308 h 364612"/>
                <a:gd name="connsiteX95" fmla="*/ 235339 w 581833"/>
                <a:gd name="connsiteY95" fmla="*/ 266894 h 364612"/>
                <a:gd name="connsiteX96" fmla="*/ 347512 w 581833"/>
                <a:gd name="connsiteY96" fmla="*/ 266894 h 364612"/>
                <a:gd name="connsiteX97" fmla="*/ 358098 w 581833"/>
                <a:gd name="connsiteY97" fmla="*/ 256308 h 364612"/>
                <a:gd name="connsiteX98" fmla="*/ 358098 w 581833"/>
                <a:gd name="connsiteY98" fmla="*/ 305167 h 364612"/>
                <a:gd name="connsiteX99" fmla="*/ 347512 w 581833"/>
                <a:gd name="connsiteY99" fmla="*/ 294581 h 364612"/>
                <a:gd name="connsiteX100" fmla="*/ 235339 w 581833"/>
                <a:gd name="connsiteY100" fmla="*/ 294581 h 364612"/>
                <a:gd name="connsiteX101" fmla="*/ 224753 w 581833"/>
                <a:gd name="connsiteY101" fmla="*/ 305167 h 364612"/>
                <a:gd name="connsiteX102" fmla="*/ 235339 w 581833"/>
                <a:gd name="connsiteY102" fmla="*/ 315754 h 364612"/>
                <a:gd name="connsiteX103" fmla="*/ 347512 w 581833"/>
                <a:gd name="connsiteY103" fmla="*/ 315754 h 364612"/>
                <a:gd name="connsiteX104" fmla="*/ 358098 w 581833"/>
                <a:gd name="connsiteY104" fmla="*/ 305167 h 364612"/>
                <a:gd name="connsiteX105" fmla="*/ 358098 w 581833"/>
                <a:gd name="connsiteY105" fmla="*/ 354027 h 364612"/>
                <a:gd name="connsiteX106" fmla="*/ 347512 w 581833"/>
                <a:gd name="connsiteY106" fmla="*/ 343441 h 364612"/>
                <a:gd name="connsiteX107" fmla="*/ 235339 w 581833"/>
                <a:gd name="connsiteY107" fmla="*/ 343441 h 364612"/>
                <a:gd name="connsiteX108" fmla="*/ 224753 w 581833"/>
                <a:gd name="connsiteY108" fmla="*/ 354027 h 364612"/>
                <a:gd name="connsiteX109" fmla="*/ 235339 w 581833"/>
                <a:gd name="connsiteY109" fmla="*/ 364613 h 364612"/>
                <a:gd name="connsiteX110" fmla="*/ 347512 w 581833"/>
                <a:gd name="connsiteY110" fmla="*/ 364613 h 364612"/>
                <a:gd name="connsiteX111" fmla="*/ 358098 w 581833"/>
                <a:gd name="connsiteY111" fmla="*/ 354027 h 364612"/>
                <a:gd name="connsiteX112" fmla="*/ 273205 w 581833"/>
                <a:gd name="connsiteY112" fmla="*/ 12215 h 364612"/>
                <a:gd name="connsiteX113" fmla="*/ 260990 w 581833"/>
                <a:gd name="connsiteY113" fmla="*/ 0 h 364612"/>
                <a:gd name="connsiteX114" fmla="*/ 248776 w 581833"/>
                <a:gd name="connsiteY114" fmla="*/ 12215 h 364612"/>
                <a:gd name="connsiteX115" fmla="*/ 260990 w 581833"/>
                <a:gd name="connsiteY115" fmla="*/ 24430 h 364612"/>
                <a:gd name="connsiteX116" fmla="*/ 273205 w 581833"/>
                <a:gd name="connsiteY116" fmla="*/ 12215 h 364612"/>
                <a:gd name="connsiteX117" fmla="*/ 309850 w 581833"/>
                <a:gd name="connsiteY117" fmla="*/ 12215 h 364612"/>
                <a:gd name="connsiteX118" fmla="*/ 297635 w 581833"/>
                <a:gd name="connsiteY118" fmla="*/ 0 h 364612"/>
                <a:gd name="connsiteX119" fmla="*/ 285420 w 581833"/>
                <a:gd name="connsiteY119" fmla="*/ 12215 h 364612"/>
                <a:gd name="connsiteX120" fmla="*/ 297635 w 581833"/>
                <a:gd name="connsiteY120" fmla="*/ 24430 h 364612"/>
                <a:gd name="connsiteX121" fmla="*/ 309850 w 581833"/>
                <a:gd name="connsiteY121" fmla="*/ 12215 h 364612"/>
                <a:gd name="connsiteX122" fmla="*/ 346494 w 581833"/>
                <a:gd name="connsiteY122" fmla="*/ 12215 h 364612"/>
                <a:gd name="connsiteX123" fmla="*/ 334280 w 581833"/>
                <a:gd name="connsiteY123" fmla="*/ 0 h 364612"/>
                <a:gd name="connsiteX124" fmla="*/ 322065 w 581833"/>
                <a:gd name="connsiteY124" fmla="*/ 12215 h 364612"/>
                <a:gd name="connsiteX125" fmla="*/ 334280 w 581833"/>
                <a:gd name="connsiteY125" fmla="*/ 24430 h 364612"/>
                <a:gd name="connsiteX126" fmla="*/ 346494 w 581833"/>
                <a:gd name="connsiteY126" fmla="*/ 12215 h 364612"/>
                <a:gd name="connsiteX127" fmla="*/ 383139 w 581833"/>
                <a:gd name="connsiteY127" fmla="*/ 12215 h 364612"/>
                <a:gd name="connsiteX128" fmla="*/ 370924 w 581833"/>
                <a:gd name="connsiteY128" fmla="*/ 0 h 364612"/>
                <a:gd name="connsiteX129" fmla="*/ 358709 w 581833"/>
                <a:gd name="connsiteY129" fmla="*/ 12215 h 364612"/>
                <a:gd name="connsiteX130" fmla="*/ 370924 w 581833"/>
                <a:gd name="connsiteY130" fmla="*/ 24430 h 364612"/>
                <a:gd name="connsiteX131" fmla="*/ 383139 w 581833"/>
                <a:gd name="connsiteY131" fmla="*/ 12215 h 364612"/>
                <a:gd name="connsiteX132" fmla="*/ 419783 w 581833"/>
                <a:gd name="connsiteY132" fmla="*/ 12215 h 364612"/>
                <a:gd name="connsiteX133" fmla="*/ 407569 w 581833"/>
                <a:gd name="connsiteY133" fmla="*/ 0 h 364612"/>
                <a:gd name="connsiteX134" fmla="*/ 395354 w 581833"/>
                <a:gd name="connsiteY134" fmla="*/ 12215 h 364612"/>
                <a:gd name="connsiteX135" fmla="*/ 407569 w 581833"/>
                <a:gd name="connsiteY135" fmla="*/ 24430 h 364612"/>
                <a:gd name="connsiteX136" fmla="*/ 419783 w 581833"/>
                <a:gd name="connsiteY136" fmla="*/ 12215 h 364612"/>
                <a:gd name="connsiteX137" fmla="*/ 456428 w 581833"/>
                <a:gd name="connsiteY137" fmla="*/ 12215 h 364612"/>
                <a:gd name="connsiteX138" fmla="*/ 444213 w 581833"/>
                <a:gd name="connsiteY138" fmla="*/ 0 h 364612"/>
                <a:gd name="connsiteX139" fmla="*/ 431998 w 581833"/>
                <a:gd name="connsiteY139" fmla="*/ 12215 h 364612"/>
                <a:gd name="connsiteX140" fmla="*/ 444213 w 581833"/>
                <a:gd name="connsiteY140" fmla="*/ 24430 h 364612"/>
                <a:gd name="connsiteX141" fmla="*/ 456428 w 581833"/>
                <a:gd name="connsiteY141" fmla="*/ 12215 h 364612"/>
                <a:gd name="connsiteX142" fmla="*/ 273307 w 581833"/>
                <a:gd name="connsiteY142" fmla="*/ 109933 h 364612"/>
                <a:gd name="connsiteX143" fmla="*/ 261092 w 581833"/>
                <a:gd name="connsiteY143" fmla="*/ 97718 h 364612"/>
                <a:gd name="connsiteX144" fmla="*/ 248877 w 581833"/>
                <a:gd name="connsiteY144" fmla="*/ 109933 h 364612"/>
                <a:gd name="connsiteX145" fmla="*/ 261092 w 581833"/>
                <a:gd name="connsiteY145" fmla="*/ 122148 h 364612"/>
                <a:gd name="connsiteX146" fmla="*/ 273307 w 581833"/>
                <a:gd name="connsiteY146" fmla="*/ 109933 h 364612"/>
                <a:gd name="connsiteX147" fmla="*/ 309952 w 581833"/>
                <a:gd name="connsiteY147" fmla="*/ 109933 h 364612"/>
                <a:gd name="connsiteX148" fmla="*/ 297737 w 581833"/>
                <a:gd name="connsiteY148" fmla="*/ 97718 h 364612"/>
                <a:gd name="connsiteX149" fmla="*/ 285522 w 581833"/>
                <a:gd name="connsiteY149" fmla="*/ 109933 h 364612"/>
                <a:gd name="connsiteX150" fmla="*/ 297737 w 581833"/>
                <a:gd name="connsiteY150" fmla="*/ 122148 h 364612"/>
                <a:gd name="connsiteX151" fmla="*/ 309952 w 581833"/>
                <a:gd name="connsiteY151" fmla="*/ 109933 h 364612"/>
                <a:gd name="connsiteX152" fmla="*/ 346596 w 581833"/>
                <a:gd name="connsiteY152" fmla="*/ 109933 h 364612"/>
                <a:gd name="connsiteX153" fmla="*/ 334381 w 581833"/>
                <a:gd name="connsiteY153" fmla="*/ 97718 h 364612"/>
                <a:gd name="connsiteX154" fmla="*/ 322167 w 581833"/>
                <a:gd name="connsiteY154" fmla="*/ 109933 h 364612"/>
                <a:gd name="connsiteX155" fmla="*/ 334381 w 581833"/>
                <a:gd name="connsiteY155" fmla="*/ 122148 h 364612"/>
                <a:gd name="connsiteX156" fmla="*/ 346596 w 581833"/>
                <a:gd name="connsiteY156" fmla="*/ 109933 h 364612"/>
                <a:gd name="connsiteX157" fmla="*/ 383241 w 581833"/>
                <a:gd name="connsiteY157" fmla="*/ 109933 h 364612"/>
                <a:gd name="connsiteX158" fmla="*/ 371026 w 581833"/>
                <a:gd name="connsiteY158" fmla="*/ 97718 h 364612"/>
                <a:gd name="connsiteX159" fmla="*/ 358811 w 581833"/>
                <a:gd name="connsiteY159" fmla="*/ 109933 h 364612"/>
                <a:gd name="connsiteX160" fmla="*/ 371026 w 581833"/>
                <a:gd name="connsiteY160" fmla="*/ 122148 h 364612"/>
                <a:gd name="connsiteX161" fmla="*/ 383241 w 581833"/>
                <a:gd name="connsiteY161" fmla="*/ 109933 h 364612"/>
                <a:gd name="connsiteX162" fmla="*/ 419885 w 581833"/>
                <a:gd name="connsiteY162" fmla="*/ 109933 h 364612"/>
                <a:gd name="connsiteX163" fmla="*/ 407670 w 581833"/>
                <a:gd name="connsiteY163" fmla="*/ 97718 h 364612"/>
                <a:gd name="connsiteX164" fmla="*/ 395456 w 581833"/>
                <a:gd name="connsiteY164" fmla="*/ 109933 h 364612"/>
                <a:gd name="connsiteX165" fmla="*/ 407670 w 581833"/>
                <a:gd name="connsiteY165" fmla="*/ 122148 h 364612"/>
                <a:gd name="connsiteX166" fmla="*/ 419885 w 581833"/>
                <a:gd name="connsiteY166" fmla="*/ 109933 h 364612"/>
                <a:gd name="connsiteX167" fmla="*/ 456530 w 581833"/>
                <a:gd name="connsiteY167" fmla="*/ 109933 h 364612"/>
                <a:gd name="connsiteX168" fmla="*/ 444315 w 581833"/>
                <a:gd name="connsiteY168" fmla="*/ 97718 h 364612"/>
                <a:gd name="connsiteX169" fmla="*/ 432100 w 581833"/>
                <a:gd name="connsiteY169" fmla="*/ 109933 h 364612"/>
                <a:gd name="connsiteX170" fmla="*/ 444315 w 581833"/>
                <a:gd name="connsiteY170" fmla="*/ 122148 h 364612"/>
                <a:gd name="connsiteX171" fmla="*/ 456530 w 581833"/>
                <a:gd name="connsiteY171" fmla="*/ 109933 h 364612"/>
                <a:gd name="connsiteX172" fmla="*/ 398509 w 581833"/>
                <a:gd name="connsiteY172" fmla="*/ 250302 h 364612"/>
                <a:gd name="connsiteX173" fmla="*/ 386294 w 581833"/>
                <a:gd name="connsiteY173" fmla="*/ 238087 h 364612"/>
                <a:gd name="connsiteX174" fmla="*/ 374080 w 581833"/>
                <a:gd name="connsiteY174" fmla="*/ 250302 h 364612"/>
                <a:gd name="connsiteX175" fmla="*/ 386294 w 581833"/>
                <a:gd name="connsiteY175" fmla="*/ 262517 h 364612"/>
                <a:gd name="connsiteX176" fmla="*/ 398509 w 581833"/>
                <a:gd name="connsiteY176" fmla="*/ 250302 h 364612"/>
                <a:gd name="connsiteX177" fmla="*/ 435154 w 581833"/>
                <a:gd name="connsiteY177" fmla="*/ 250302 h 364612"/>
                <a:gd name="connsiteX178" fmla="*/ 422939 w 581833"/>
                <a:gd name="connsiteY178" fmla="*/ 238087 h 364612"/>
                <a:gd name="connsiteX179" fmla="*/ 410724 w 581833"/>
                <a:gd name="connsiteY179" fmla="*/ 250302 h 364612"/>
                <a:gd name="connsiteX180" fmla="*/ 422939 w 581833"/>
                <a:gd name="connsiteY180" fmla="*/ 262517 h 364612"/>
                <a:gd name="connsiteX181" fmla="*/ 435154 w 581833"/>
                <a:gd name="connsiteY181" fmla="*/ 250302 h 364612"/>
                <a:gd name="connsiteX182" fmla="*/ 471798 w 581833"/>
                <a:gd name="connsiteY182" fmla="*/ 250302 h 364612"/>
                <a:gd name="connsiteX183" fmla="*/ 459583 w 581833"/>
                <a:gd name="connsiteY183" fmla="*/ 238087 h 364612"/>
                <a:gd name="connsiteX184" fmla="*/ 447369 w 581833"/>
                <a:gd name="connsiteY184" fmla="*/ 250302 h 364612"/>
                <a:gd name="connsiteX185" fmla="*/ 459583 w 581833"/>
                <a:gd name="connsiteY185" fmla="*/ 262517 h 364612"/>
                <a:gd name="connsiteX186" fmla="*/ 471798 w 581833"/>
                <a:gd name="connsiteY186" fmla="*/ 250302 h 364612"/>
                <a:gd name="connsiteX187" fmla="*/ 508443 w 581833"/>
                <a:gd name="connsiteY187" fmla="*/ 250302 h 364612"/>
                <a:gd name="connsiteX188" fmla="*/ 496228 w 581833"/>
                <a:gd name="connsiteY188" fmla="*/ 238087 h 364612"/>
                <a:gd name="connsiteX189" fmla="*/ 484013 w 581833"/>
                <a:gd name="connsiteY189" fmla="*/ 250302 h 364612"/>
                <a:gd name="connsiteX190" fmla="*/ 496228 w 581833"/>
                <a:gd name="connsiteY190" fmla="*/ 262517 h 364612"/>
                <a:gd name="connsiteX191" fmla="*/ 508443 w 581833"/>
                <a:gd name="connsiteY191" fmla="*/ 250302 h 364612"/>
                <a:gd name="connsiteX192" fmla="*/ 545087 w 581833"/>
                <a:gd name="connsiteY192" fmla="*/ 250302 h 364612"/>
                <a:gd name="connsiteX193" fmla="*/ 532873 w 581833"/>
                <a:gd name="connsiteY193" fmla="*/ 238087 h 364612"/>
                <a:gd name="connsiteX194" fmla="*/ 520658 w 581833"/>
                <a:gd name="connsiteY194" fmla="*/ 250302 h 364612"/>
                <a:gd name="connsiteX195" fmla="*/ 532873 w 581833"/>
                <a:gd name="connsiteY195" fmla="*/ 262517 h 364612"/>
                <a:gd name="connsiteX196" fmla="*/ 545087 w 581833"/>
                <a:gd name="connsiteY196" fmla="*/ 250302 h 364612"/>
                <a:gd name="connsiteX197" fmla="*/ 581732 w 581833"/>
                <a:gd name="connsiteY197" fmla="*/ 250302 h 364612"/>
                <a:gd name="connsiteX198" fmla="*/ 569517 w 581833"/>
                <a:gd name="connsiteY198" fmla="*/ 238087 h 364612"/>
                <a:gd name="connsiteX199" fmla="*/ 557302 w 581833"/>
                <a:gd name="connsiteY199" fmla="*/ 250302 h 364612"/>
                <a:gd name="connsiteX200" fmla="*/ 569517 w 581833"/>
                <a:gd name="connsiteY200" fmla="*/ 262517 h 364612"/>
                <a:gd name="connsiteX201" fmla="*/ 581732 w 581833"/>
                <a:gd name="connsiteY201" fmla="*/ 250302 h 364612"/>
                <a:gd name="connsiteX202" fmla="*/ 398611 w 581833"/>
                <a:gd name="connsiteY202" fmla="*/ 351075 h 364612"/>
                <a:gd name="connsiteX203" fmla="*/ 386396 w 581833"/>
                <a:gd name="connsiteY203" fmla="*/ 338860 h 364612"/>
                <a:gd name="connsiteX204" fmla="*/ 374181 w 581833"/>
                <a:gd name="connsiteY204" fmla="*/ 351075 h 364612"/>
                <a:gd name="connsiteX205" fmla="*/ 386396 w 581833"/>
                <a:gd name="connsiteY205" fmla="*/ 363289 h 364612"/>
                <a:gd name="connsiteX206" fmla="*/ 398611 w 581833"/>
                <a:gd name="connsiteY206" fmla="*/ 351075 h 364612"/>
                <a:gd name="connsiteX207" fmla="*/ 435256 w 581833"/>
                <a:gd name="connsiteY207" fmla="*/ 351075 h 364612"/>
                <a:gd name="connsiteX208" fmla="*/ 423041 w 581833"/>
                <a:gd name="connsiteY208" fmla="*/ 338860 h 364612"/>
                <a:gd name="connsiteX209" fmla="*/ 410826 w 581833"/>
                <a:gd name="connsiteY209" fmla="*/ 351075 h 364612"/>
                <a:gd name="connsiteX210" fmla="*/ 423041 w 581833"/>
                <a:gd name="connsiteY210" fmla="*/ 363289 h 364612"/>
                <a:gd name="connsiteX211" fmla="*/ 435256 w 581833"/>
                <a:gd name="connsiteY211" fmla="*/ 351075 h 364612"/>
                <a:gd name="connsiteX212" fmla="*/ 471900 w 581833"/>
                <a:gd name="connsiteY212" fmla="*/ 351075 h 364612"/>
                <a:gd name="connsiteX213" fmla="*/ 459685 w 581833"/>
                <a:gd name="connsiteY213" fmla="*/ 338860 h 364612"/>
                <a:gd name="connsiteX214" fmla="*/ 447470 w 581833"/>
                <a:gd name="connsiteY214" fmla="*/ 351075 h 364612"/>
                <a:gd name="connsiteX215" fmla="*/ 459685 w 581833"/>
                <a:gd name="connsiteY215" fmla="*/ 363289 h 364612"/>
                <a:gd name="connsiteX216" fmla="*/ 471900 w 581833"/>
                <a:gd name="connsiteY216" fmla="*/ 351075 h 364612"/>
                <a:gd name="connsiteX217" fmla="*/ 508545 w 581833"/>
                <a:gd name="connsiteY217" fmla="*/ 351075 h 364612"/>
                <a:gd name="connsiteX218" fmla="*/ 496330 w 581833"/>
                <a:gd name="connsiteY218" fmla="*/ 338860 h 364612"/>
                <a:gd name="connsiteX219" fmla="*/ 484115 w 581833"/>
                <a:gd name="connsiteY219" fmla="*/ 351075 h 364612"/>
                <a:gd name="connsiteX220" fmla="*/ 496330 w 581833"/>
                <a:gd name="connsiteY220" fmla="*/ 363289 h 364612"/>
                <a:gd name="connsiteX221" fmla="*/ 508545 w 581833"/>
                <a:gd name="connsiteY221" fmla="*/ 351075 h 364612"/>
                <a:gd name="connsiteX222" fmla="*/ 545189 w 581833"/>
                <a:gd name="connsiteY222" fmla="*/ 351075 h 364612"/>
                <a:gd name="connsiteX223" fmla="*/ 532974 w 581833"/>
                <a:gd name="connsiteY223" fmla="*/ 338860 h 364612"/>
                <a:gd name="connsiteX224" fmla="*/ 520759 w 581833"/>
                <a:gd name="connsiteY224" fmla="*/ 351075 h 364612"/>
                <a:gd name="connsiteX225" fmla="*/ 532974 w 581833"/>
                <a:gd name="connsiteY225" fmla="*/ 363289 h 364612"/>
                <a:gd name="connsiteX226" fmla="*/ 545189 w 581833"/>
                <a:gd name="connsiteY226" fmla="*/ 351075 h 364612"/>
                <a:gd name="connsiteX227" fmla="*/ 581834 w 581833"/>
                <a:gd name="connsiteY227" fmla="*/ 351075 h 364612"/>
                <a:gd name="connsiteX228" fmla="*/ 569619 w 581833"/>
                <a:gd name="connsiteY228" fmla="*/ 338860 h 364612"/>
                <a:gd name="connsiteX229" fmla="*/ 557404 w 581833"/>
                <a:gd name="connsiteY229" fmla="*/ 351075 h 364612"/>
                <a:gd name="connsiteX230" fmla="*/ 569619 w 581833"/>
                <a:gd name="connsiteY230" fmla="*/ 363289 h 364612"/>
                <a:gd name="connsiteX231" fmla="*/ 581834 w 581833"/>
                <a:gd name="connsiteY231" fmla="*/ 351075 h 364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581833" h="364612">
                  <a:moveTo>
                    <a:pt x="53338" y="22394"/>
                  </a:moveTo>
                  <a:lnTo>
                    <a:pt x="10586" y="22394"/>
                  </a:lnTo>
                  <a:cubicBezTo>
                    <a:pt x="4784" y="22394"/>
                    <a:pt x="0" y="17711"/>
                    <a:pt x="0" y="11807"/>
                  </a:cubicBezTo>
                  <a:cubicBezTo>
                    <a:pt x="0" y="5904"/>
                    <a:pt x="4682" y="1221"/>
                    <a:pt x="10586" y="1221"/>
                  </a:cubicBezTo>
                  <a:lnTo>
                    <a:pt x="53338" y="1221"/>
                  </a:lnTo>
                  <a:cubicBezTo>
                    <a:pt x="59140" y="1221"/>
                    <a:pt x="63924" y="5904"/>
                    <a:pt x="63924" y="11807"/>
                  </a:cubicBezTo>
                  <a:cubicBezTo>
                    <a:pt x="63924" y="17711"/>
                    <a:pt x="59242" y="22394"/>
                    <a:pt x="53338" y="22394"/>
                  </a:cubicBezTo>
                  <a:close/>
                  <a:moveTo>
                    <a:pt x="63924" y="60667"/>
                  </a:moveTo>
                  <a:cubicBezTo>
                    <a:pt x="63924" y="54865"/>
                    <a:pt x="59242" y="50081"/>
                    <a:pt x="53338" y="50081"/>
                  </a:cubicBezTo>
                  <a:lnTo>
                    <a:pt x="10586" y="50081"/>
                  </a:lnTo>
                  <a:cubicBezTo>
                    <a:pt x="4784" y="50081"/>
                    <a:pt x="0" y="54763"/>
                    <a:pt x="0" y="60667"/>
                  </a:cubicBezTo>
                  <a:cubicBezTo>
                    <a:pt x="0" y="66571"/>
                    <a:pt x="4682" y="71253"/>
                    <a:pt x="10586" y="71253"/>
                  </a:cubicBezTo>
                  <a:lnTo>
                    <a:pt x="53338" y="71253"/>
                  </a:lnTo>
                  <a:cubicBezTo>
                    <a:pt x="59140" y="71253"/>
                    <a:pt x="63924" y="66571"/>
                    <a:pt x="63924" y="60667"/>
                  </a:cubicBezTo>
                  <a:close/>
                  <a:moveTo>
                    <a:pt x="63924" y="109526"/>
                  </a:moveTo>
                  <a:cubicBezTo>
                    <a:pt x="63924" y="103724"/>
                    <a:pt x="59242" y="98940"/>
                    <a:pt x="53338" y="98940"/>
                  </a:cubicBezTo>
                  <a:lnTo>
                    <a:pt x="10586" y="98940"/>
                  </a:lnTo>
                  <a:cubicBezTo>
                    <a:pt x="4784" y="98940"/>
                    <a:pt x="0" y="103623"/>
                    <a:pt x="0" y="109526"/>
                  </a:cubicBezTo>
                  <a:cubicBezTo>
                    <a:pt x="0" y="115430"/>
                    <a:pt x="4682" y="120112"/>
                    <a:pt x="10586" y="120112"/>
                  </a:cubicBezTo>
                  <a:lnTo>
                    <a:pt x="53338" y="120112"/>
                  </a:lnTo>
                  <a:cubicBezTo>
                    <a:pt x="59140" y="120112"/>
                    <a:pt x="63924" y="115430"/>
                    <a:pt x="63924" y="109526"/>
                  </a:cubicBezTo>
                  <a:close/>
                  <a:moveTo>
                    <a:pt x="63924" y="158386"/>
                  </a:moveTo>
                  <a:cubicBezTo>
                    <a:pt x="63924" y="152584"/>
                    <a:pt x="59242" y="147799"/>
                    <a:pt x="53338" y="147799"/>
                  </a:cubicBezTo>
                  <a:lnTo>
                    <a:pt x="10586" y="147799"/>
                  </a:lnTo>
                  <a:cubicBezTo>
                    <a:pt x="4784" y="147799"/>
                    <a:pt x="0" y="152482"/>
                    <a:pt x="0" y="158386"/>
                  </a:cubicBezTo>
                  <a:cubicBezTo>
                    <a:pt x="0" y="164289"/>
                    <a:pt x="4682" y="168972"/>
                    <a:pt x="10586" y="168972"/>
                  </a:cubicBezTo>
                  <a:lnTo>
                    <a:pt x="53338" y="168972"/>
                  </a:lnTo>
                  <a:cubicBezTo>
                    <a:pt x="59140" y="168972"/>
                    <a:pt x="63924" y="164289"/>
                    <a:pt x="63924" y="158386"/>
                  </a:cubicBezTo>
                  <a:close/>
                  <a:moveTo>
                    <a:pt x="63924" y="207245"/>
                  </a:moveTo>
                  <a:cubicBezTo>
                    <a:pt x="63924" y="201443"/>
                    <a:pt x="59242" y="196659"/>
                    <a:pt x="53338" y="196659"/>
                  </a:cubicBezTo>
                  <a:lnTo>
                    <a:pt x="10586" y="196659"/>
                  </a:lnTo>
                  <a:cubicBezTo>
                    <a:pt x="4784" y="196659"/>
                    <a:pt x="0" y="201341"/>
                    <a:pt x="0" y="207245"/>
                  </a:cubicBezTo>
                  <a:cubicBezTo>
                    <a:pt x="0" y="213149"/>
                    <a:pt x="4682" y="217831"/>
                    <a:pt x="10586" y="217831"/>
                  </a:cubicBezTo>
                  <a:lnTo>
                    <a:pt x="53338" y="217831"/>
                  </a:lnTo>
                  <a:cubicBezTo>
                    <a:pt x="59140" y="217831"/>
                    <a:pt x="63924" y="213149"/>
                    <a:pt x="63924" y="207245"/>
                  </a:cubicBezTo>
                  <a:close/>
                  <a:moveTo>
                    <a:pt x="63924" y="256104"/>
                  </a:moveTo>
                  <a:cubicBezTo>
                    <a:pt x="63924" y="250302"/>
                    <a:pt x="59242" y="245518"/>
                    <a:pt x="53338" y="245518"/>
                  </a:cubicBezTo>
                  <a:lnTo>
                    <a:pt x="10586" y="245518"/>
                  </a:lnTo>
                  <a:cubicBezTo>
                    <a:pt x="4784" y="245518"/>
                    <a:pt x="0" y="250201"/>
                    <a:pt x="0" y="256104"/>
                  </a:cubicBezTo>
                  <a:cubicBezTo>
                    <a:pt x="0" y="262008"/>
                    <a:pt x="4682" y="266691"/>
                    <a:pt x="10586" y="266691"/>
                  </a:cubicBezTo>
                  <a:lnTo>
                    <a:pt x="53338" y="266691"/>
                  </a:lnTo>
                  <a:cubicBezTo>
                    <a:pt x="59140" y="266691"/>
                    <a:pt x="63924" y="262008"/>
                    <a:pt x="63924" y="256104"/>
                  </a:cubicBezTo>
                  <a:close/>
                  <a:moveTo>
                    <a:pt x="63924" y="304964"/>
                  </a:moveTo>
                  <a:cubicBezTo>
                    <a:pt x="63924" y="299162"/>
                    <a:pt x="59242" y="294378"/>
                    <a:pt x="53338" y="294378"/>
                  </a:cubicBezTo>
                  <a:lnTo>
                    <a:pt x="10586" y="294378"/>
                  </a:lnTo>
                  <a:cubicBezTo>
                    <a:pt x="4784" y="294378"/>
                    <a:pt x="0" y="299060"/>
                    <a:pt x="0" y="304964"/>
                  </a:cubicBezTo>
                  <a:cubicBezTo>
                    <a:pt x="0" y="310868"/>
                    <a:pt x="4682" y="315550"/>
                    <a:pt x="10586" y="315550"/>
                  </a:cubicBezTo>
                  <a:lnTo>
                    <a:pt x="53338" y="315550"/>
                  </a:lnTo>
                  <a:cubicBezTo>
                    <a:pt x="59140" y="315550"/>
                    <a:pt x="63924" y="310868"/>
                    <a:pt x="63924" y="304964"/>
                  </a:cubicBezTo>
                  <a:close/>
                  <a:moveTo>
                    <a:pt x="63924" y="353823"/>
                  </a:moveTo>
                  <a:cubicBezTo>
                    <a:pt x="63924" y="348021"/>
                    <a:pt x="59242" y="343237"/>
                    <a:pt x="53338" y="343237"/>
                  </a:cubicBezTo>
                  <a:lnTo>
                    <a:pt x="10586" y="343237"/>
                  </a:lnTo>
                  <a:cubicBezTo>
                    <a:pt x="4784" y="343237"/>
                    <a:pt x="0" y="347919"/>
                    <a:pt x="0" y="353823"/>
                  </a:cubicBezTo>
                  <a:cubicBezTo>
                    <a:pt x="0" y="359727"/>
                    <a:pt x="4682" y="364409"/>
                    <a:pt x="10586" y="364409"/>
                  </a:cubicBezTo>
                  <a:lnTo>
                    <a:pt x="53338" y="364409"/>
                  </a:lnTo>
                  <a:cubicBezTo>
                    <a:pt x="59140" y="364409"/>
                    <a:pt x="63924" y="359727"/>
                    <a:pt x="63924" y="353823"/>
                  </a:cubicBezTo>
                  <a:close/>
                  <a:moveTo>
                    <a:pt x="223837" y="12011"/>
                  </a:moveTo>
                  <a:cubicBezTo>
                    <a:pt x="223837" y="6209"/>
                    <a:pt x="219155" y="1425"/>
                    <a:pt x="213251" y="1425"/>
                  </a:cubicBezTo>
                  <a:lnTo>
                    <a:pt x="101078" y="1425"/>
                  </a:lnTo>
                  <a:cubicBezTo>
                    <a:pt x="95276" y="1425"/>
                    <a:pt x="90492" y="6107"/>
                    <a:pt x="90492" y="12011"/>
                  </a:cubicBezTo>
                  <a:cubicBezTo>
                    <a:pt x="90492" y="17915"/>
                    <a:pt x="95174" y="22597"/>
                    <a:pt x="101078" y="22597"/>
                  </a:cubicBezTo>
                  <a:lnTo>
                    <a:pt x="213251" y="22597"/>
                  </a:lnTo>
                  <a:cubicBezTo>
                    <a:pt x="219053" y="22597"/>
                    <a:pt x="223837" y="17915"/>
                    <a:pt x="223837" y="12011"/>
                  </a:cubicBezTo>
                  <a:close/>
                  <a:moveTo>
                    <a:pt x="223837" y="60870"/>
                  </a:moveTo>
                  <a:cubicBezTo>
                    <a:pt x="223837" y="55068"/>
                    <a:pt x="219155" y="50284"/>
                    <a:pt x="213251" y="50284"/>
                  </a:cubicBezTo>
                  <a:lnTo>
                    <a:pt x="101078" y="50284"/>
                  </a:lnTo>
                  <a:cubicBezTo>
                    <a:pt x="95276" y="50284"/>
                    <a:pt x="90492" y="54967"/>
                    <a:pt x="90492" y="60870"/>
                  </a:cubicBezTo>
                  <a:cubicBezTo>
                    <a:pt x="90492" y="66774"/>
                    <a:pt x="95174" y="71457"/>
                    <a:pt x="101078" y="71457"/>
                  </a:cubicBezTo>
                  <a:lnTo>
                    <a:pt x="213251" y="71457"/>
                  </a:lnTo>
                  <a:cubicBezTo>
                    <a:pt x="219053" y="71457"/>
                    <a:pt x="223837" y="66774"/>
                    <a:pt x="223837" y="60870"/>
                  </a:cubicBezTo>
                  <a:close/>
                  <a:moveTo>
                    <a:pt x="223837" y="109730"/>
                  </a:moveTo>
                  <a:cubicBezTo>
                    <a:pt x="223837" y="103928"/>
                    <a:pt x="219155" y="99144"/>
                    <a:pt x="213251" y="99144"/>
                  </a:cubicBezTo>
                  <a:lnTo>
                    <a:pt x="101078" y="99144"/>
                  </a:lnTo>
                  <a:cubicBezTo>
                    <a:pt x="95276" y="99144"/>
                    <a:pt x="90492" y="103826"/>
                    <a:pt x="90492" y="109730"/>
                  </a:cubicBezTo>
                  <a:cubicBezTo>
                    <a:pt x="90492" y="115634"/>
                    <a:pt x="95174" y="120316"/>
                    <a:pt x="101078" y="120316"/>
                  </a:cubicBezTo>
                  <a:lnTo>
                    <a:pt x="213251" y="120316"/>
                  </a:lnTo>
                  <a:cubicBezTo>
                    <a:pt x="219053" y="120316"/>
                    <a:pt x="223837" y="115634"/>
                    <a:pt x="223837" y="109730"/>
                  </a:cubicBezTo>
                  <a:close/>
                  <a:moveTo>
                    <a:pt x="223837" y="158589"/>
                  </a:moveTo>
                  <a:cubicBezTo>
                    <a:pt x="223837" y="152787"/>
                    <a:pt x="219155" y="148003"/>
                    <a:pt x="213251" y="148003"/>
                  </a:cubicBezTo>
                  <a:lnTo>
                    <a:pt x="101078" y="148003"/>
                  </a:lnTo>
                  <a:cubicBezTo>
                    <a:pt x="95276" y="148003"/>
                    <a:pt x="90492" y="152686"/>
                    <a:pt x="90492" y="158589"/>
                  </a:cubicBezTo>
                  <a:cubicBezTo>
                    <a:pt x="90492" y="164493"/>
                    <a:pt x="95174" y="169176"/>
                    <a:pt x="101078" y="169176"/>
                  </a:cubicBezTo>
                  <a:lnTo>
                    <a:pt x="213251" y="169176"/>
                  </a:lnTo>
                  <a:cubicBezTo>
                    <a:pt x="219053" y="169176"/>
                    <a:pt x="223837" y="164493"/>
                    <a:pt x="223837" y="158589"/>
                  </a:cubicBezTo>
                  <a:close/>
                  <a:moveTo>
                    <a:pt x="223837" y="207448"/>
                  </a:moveTo>
                  <a:cubicBezTo>
                    <a:pt x="223837" y="201647"/>
                    <a:pt x="219155" y="196863"/>
                    <a:pt x="213251" y="196863"/>
                  </a:cubicBezTo>
                  <a:lnTo>
                    <a:pt x="101078" y="196863"/>
                  </a:lnTo>
                  <a:cubicBezTo>
                    <a:pt x="95276" y="196863"/>
                    <a:pt x="90492" y="201545"/>
                    <a:pt x="90492" y="207448"/>
                  </a:cubicBezTo>
                  <a:cubicBezTo>
                    <a:pt x="90492" y="213352"/>
                    <a:pt x="95174" y="218035"/>
                    <a:pt x="101078" y="218035"/>
                  </a:cubicBezTo>
                  <a:lnTo>
                    <a:pt x="213251" y="218035"/>
                  </a:lnTo>
                  <a:cubicBezTo>
                    <a:pt x="219053" y="218035"/>
                    <a:pt x="223837" y="213352"/>
                    <a:pt x="223837" y="207448"/>
                  </a:cubicBezTo>
                  <a:close/>
                  <a:moveTo>
                    <a:pt x="358098" y="256308"/>
                  </a:moveTo>
                  <a:cubicBezTo>
                    <a:pt x="358098" y="250506"/>
                    <a:pt x="353416" y="245722"/>
                    <a:pt x="347512" y="245722"/>
                  </a:cubicBezTo>
                  <a:lnTo>
                    <a:pt x="235339" y="245722"/>
                  </a:lnTo>
                  <a:cubicBezTo>
                    <a:pt x="229537" y="245722"/>
                    <a:pt x="224753" y="250404"/>
                    <a:pt x="224753" y="256308"/>
                  </a:cubicBezTo>
                  <a:cubicBezTo>
                    <a:pt x="224753" y="262212"/>
                    <a:pt x="229435" y="266894"/>
                    <a:pt x="235339" y="266894"/>
                  </a:cubicBezTo>
                  <a:lnTo>
                    <a:pt x="347512" y="266894"/>
                  </a:lnTo>
                  <a:cubicBezTo>
                    <a:pt x="353314" y="266894"/>
                    <a:pt x="358098" y="262212"/>
                    <a:pt x="358098" y="256308"/>
                  </a:cubicBezTo>
                  <a:close/>
                  <a:moveTo>
                    <a:pt x="358098" y="305167"/>
                  </a:moveTo>
                  <a:cubicBezTo>
                    <a:pt x="358098" y="299365"/>
                    <a:pt x="353416" y="294581"/>
                    <a:pt x="347512" y="294581"/>
                  </a:cubicBezTo>
                  <a:lnTo>
                    <a:pt x="235339" y="294581"/>
                  </a:lnTo>
                  <a:cubicBezTo>
                    <a:pt x="229537" y="294581"/>
                    <a:pt x="224753" y="299264"/>
                    <a:pt x="224753" y="305167"/>
                  </a:cubicBezTo>
                  <a:cubicBezTo>
                    <a:pt x="224753" y="311071"/>
                    <a:pt x="229435" y="315754"/>
                    <a:pt x="235339" y="315754"/>
                  </a:cubicBezTo>
                  <a:lnTo>
                    <a:pt x="347512" y="315754"/>
                  </a:lnTo>
                  <a:cubicBezTo>
                    <a:pt x="353314" y="315754"/>
                    <a:pt x="358098" y="311071"/>
                    <a:pt x="358098" y="305167"/>
                  </a:cubicBezTo>
                  <a:close/>
                  <a:moveTo>
                    <a:pt x="358098" y="354027"/>
                  </a:moveTo>
                  <a:cubicBezTo>
                    <a:pt x="358098" y="348225"/>
                    <a:pt x="353416" y="343441"/>
                    <a:pt x="347512" y="343441"/>
                  </a:cubicBezTo>
                  <a:lnTo>
                    <a:pt x="235339" y="343441"/>
                  </a:lnTo>
                  <a:cubicBezTo>
                    <a:pt x="229537" y="343441"/>
                    <a:pt x="224753" y="348123"/>
                    <a:pt x="224753" y="354027"/>
                  </a:cubicBezTo>
                  <a:cubicBezTo>
                    <a:pt x="224753" y="359931"/>
                    <a:pt x="229435" y="364613"/>
                    <a:pt x="235339" y="364613"/>
                  </a:cubicBezTo>
                  <a:lnTo>
                    <a:pt x="347512" y="364613"/>
                  </a:lnTo>
                  <a:cubicBezTo>
                    <a:pt x="353314" y="364613"/>
                    <a:pt x="358098" y="359931"/>
                    <a:pt x="358098" y="354027"/>
                  </a:cubicBezTo>
                  <a:close/>
                  <a:moveTo>
                    <a:pt x="273205" y="12215"/>
                  </a:moveTo>
                  <a:cubicBezTo>
                    <a:pt x="273205" y="5496"/>
                    <a:pt x="267709" y="0"/>
                    <a:pt x="260990" y="0"/>
                  </a:cubicBezTo>
                  <a:cubicBezTo>
                    <a:pt x="254272" y="0"/>
                    <a:pt x="248776" y="5496"/>
                    <a:pt x="248776" y="12215"/>
                  </a:cubicBezTo>
                  <a:cubicBezTo>
                    <a:pt x="248776" y="18933"/>
                    <a:pt x="254272" y="24430"/>
                    <a:pt x="260990" y="24430"/>
                  </a:cubicBezTo>
                  <a:cubicBezTo>
                    <a:pt x="267709" y="24430"/>
                    <a:pt x="273205" y="18933"/>
                    <a:pt x="273205" y="12215"/>
                  </a:cubicBezTo>
                  <a:close/>
                  <a:moveTo>
                    <a:pt x="309850" y="12215"/>
                  </a:moveTo>
                  <a:cubicBezTo>
                    <a:pt x="309850" y="5496"/>
                    <a:pt x="304353" y="0"/>
                    <a:pt x="297635" y="0"/>
                  </a:cubicBezTo>
                  <a:cubicBezTo>
                    <a:pt x="290917" y="0"/>
                    <a:pt x="285420" y="5496"/>
                    <a:pt x="285420" y="12215"/>
                  </a:cubicBezTo>
                  <a:cubicBezTo>
                    <a:pt x="285420" y="18933"/>
                    <a:pt x="290917" y="24430"/>
                    <a:pt x="297635" y="24430"/>
                  </a:cubicBezTo>
                  <a:cubicBezTo>
                    <a:pt x="304353" y="24430"/>
                    <a:pt x="309850" y="18933"/>
                    <a:pt x="309850" y="12215"/>
                  </a:cubicBezTo>
                  <a:close/>
                  <a:moveTo>
                    <a:pt x="346494" y="12215"/>
                  </a:moveTo>
                  <a:cubicBezTo>
                    <a:pt x="346494" y="5496"/>
                    <a:pt x="340998" y="0"/>
                    <a:pt x="334280" y="0"/>
                  </a:cubicBezTo>
                  <a:cubicBezTo>
                    <a:pt x="327561" y="0"/>
                    <a:pt x="322065" y="5496"/>
                    <a:pt x="322065" y="12215"/>
                  </a:cubicBezTo>
                  <a:cubicBezTo>
                    <a:pt x="322065" y="18933"/>
                    <a:pt x="327561" y="24430"/>
                    <a:pt x="334280" y="24430"/>
                  </a:cubicBezTo>
                  <a:cubicBezTo>
                    <a:pt x="340998" y="24430"/>
                    <a:pt x="346494" y="18933"/>
                    <a:pt x="346494" y="12215"/>
                  </a:cubicBezTo>
                  <a:close/>
                  <a:moveTo>
                    <a:pt x="383139" y="12215"/>
                  </a:moveTo>
                  <a:cubicBezTo>
                    <a:pt x="383139" y="5496"/>
                    <a:pt x="377642" y="0"/>
                    <a:pt x="370924" y="0"/>
                  </a:cubicBezTo>
                  <a:cubicBezTo>
                    <a:pt x="364206" y="0"/>
                    <a:pt x="358709" y="5496"/>
                    <a:pt x="358709" y="12215"/>
                  </a:cubicBezTo>
                  <a:cubicBezTo>
                    <a:pt x="358709" y="18933"/>
                    <a:pt x="364206" y="24430"/>
                    <a:pt x="370924" y="24430"/>
                  </a:cubicBezTo>
                  <a:cubicBezTo>
                    <a:pt x="377642" y="24430"/>
                    <a:pt x="383139" y="18933"/>
                    <a:pt x="383139" y="12215"/>
                  </a:cubicBezTo>
                  <a:close/>
                  <a:moveTo>
                    <a:pt x="419783" y="12215"/>
                  </a:moveTo>
                  <a:cubicBezTo>
                    <a:pt x="419783" y="5496"/>
                    <a:pt x="414287" y="0"/>
                    <a:pt x="407569" y="0"/>
                  </a:cubicBezTo>
                  <a:cubicBezTo>
                    <a:pt x="400850" y="0"/>
                    <a:pt x="395354" y="5496"/>
                    <a:pt x="395354" y="12215"/>
                  </a:cubicBezTo>
                  <a:cubicBezTo>
                    <a:pt x="395354" y="18933"/>
                    <a:pt x="400850" y="24430"/>
                    <a:pt x="407569" y="24430"/>
                  </a:cubicBezTo>
                  <a:cubicBezTo>
                    <a:pt x="414287" y="24430"/>
                    <a:pt x="419783" y="18933"/>
                    <a:pt x="419783" y="12215"/>
                  </a:cubicBezTo>
                  <a:close/>
                  <a:moveTo>
                    <a:pt x="456428" y="12215"/>
                  </a:moveTo>
                  <a:cubicBezTo>
                    <a:pt x="456428" y="5496"/>
                    <a:pt x="450931" y="0"/>
                    <a:pt x="444213" y="0"/>
                  </a:cubicBezTo>
                  <a:cubicBezTo>
                    <a:pt x="437495" y="0"/>
                    <a:pt x="431998" y="5496"/>
                    <a:pt x="431998" y="12215"/>
                  </a:cubicBezTo>
                  <a:cubicBezTo>
                    <a:pt x="431998" y="18933"/>
                    <a:pt x="437495" y="24430"/>
                    <a:pt x="444213" y="24430"/>
                  </a:cubicBezTo>
                  <a:cubicBezTo>
                    <a:pt x="450931" y="24430"/>
                    <a:pt x="456428" y="18933"/>
                    <a:pt x="456428" y="12215"/>
                  </a:cubicBezTo>
                  <a:close/>
                  <a:moveTo>
                    <a:pt x="273307" y="109933"/>
                  </a:moveTo>
                  <a:cubicBezTo>
                    <a:pt x="273307" y="103215"/>
                    <a:pt x="267810" y="97718"/>
                    <a:pt x="261092" y="97718"/>
                  </a:cubicBezTo>
                  <a:cubicBezTo>
                    <a:pt x="254374" y="97718"/>
                    <a:pt x="248877" y="103215"/>
                    <a:pt x="248877" y="109933"/>
                  </a:cubicBezTo>
                  <a:cubicBezTo>
                    <a:pt x="248877" y="116652"/>
                    <a:pt x="254374" y="122148"/>
                    <a:pt x="261092" y="122148"/>
                  </a:cubicBezTo>
                  <a:cubicBezTo>
                    <a:pt x="267810" y="122148"/>
                    <a:pt x="273307" y="116652"/>
                    <a:pt x="273307" y="109933"/>
                  </a:cubicBezTo>
                  <a:close/>
                  <a:moveTo>
                    <a:pt x="309952" y="109933"/>
                  </a:moveTo>
                  <a:cubicBezTo>
                    <a:pt x="309952" y="103215"/>
                    <a:pt x="304455" y="97718"/>
                    <a:pt x="297737" y="97718"/>
                  </a:cubicBezTo>
                  <a:cubicBezTo>
                    <a:pt x="291019" y="97718"/>
                    <a:pt x="285522" y="103215"/>
                    <a:pt x="285522" y="109933"/>
                  </a:cubicBezTo>
                  <a:cubicBezTo>
                    <a:pt x="285522" y="116652"/>
                    <a:pt x="291019" y="122148"/>
                    <a:pt x="297737" y="122148"/>
                  </a:cubicBezTo>
                  <a:cubicBezTo>
                    <a:pt x="304455" y="122148"/>
                    <a:pt x="309952" y="116652"/>
                    <a:pt x="309952" y="109933"/>
                  </a:cubicBezTo>
                  <a:close/>
                  <a:moveTo>
                    <a:pt x="346596" y="109933"/>
                  </a:moveTo>
                  <a:cubicBezTo>
                    <a:pt x="346596" y="103215"/>
                    <a:pt x="341099" y="97718"/>
                    <a:pt x="334381" y="97718"/>
                  </a:cubicBezTo>
                  <a:cubicBezTo>
                    <a:pt x="327663" y="97718"/>
                    <a:pt x="322167" y="103215"/>
                    <a:pt x="322167" y="109933"/>
                  </a:cubicBezTo>
                  <a:cubicBezTo>
                    <a:pt x="322167" y="116652"/>
                    <a:pt x="327663" y="122148"/>
                    <a:pt x="334381" y="122148"/>
                  </a:cubicBezTo>
                  <a:cubicBezTo>
                    <a:pt x="341099" y="122148"/>
                    <a:pt x="346596" y="116652"/>
                    <a:pt x="346596" y="109933"/>
                  </a:cubicBezTo>
                  <a:close/>
                  <a:moveTo>
                    <a:pt x="383241" y="109933"/>
                  </a:moveTo>
                  <a:cubicBezTo>
                    <a:pt x="383241" y="103215"/>
                    <a:pt x="377744" y="97718"/>
                    <a:pt x="371026" y="97718"/>
                  </a:cubicBezTo>
                  <a:cubicBezTo>
                    <a:pt x="364308" y="97718"/>
                    <a:pt x="358811" y="103215"/>
                    <a:pt x="358811" y="109933"/>
                  </a:cubicBezTo>
                  <a:cubicBezTo>
                    <a:pt x="358811" y="116652"/>
                    <a:pt x="364308" y="122148"/>
                    <a:pt x="371026" y="122148"/>
                  </a:cubicBezTo>
                  <a:cubicBezTo>
                    <a:pt x="377744" y="122148"/>
                    <a:pt x="383241" y="116652"/>
                    <a:pt x="383241" y="109933"/>
                  </a:cubicBezTo>
                  <a:close/>
                  <a:moveTo>
                    <a:pt x="419885" y="109933"/>
                  </a:moveTo>
                  <a:cubicBezTo>
                    <a:pt x="419885" y="103215"/>
                    <a:pt x="414389" y="97718"/>
                    <a:pt x="407670" y="97718"/>
                  </a:cubicBezTo>
                  <a:cubicBezTo>
                    <a:pt x="400952" y="97718"/>
                    <a:pt x="395456" y="103215"/>
                    <a:pt x="395456" y="109933"/>
                  </a:cubicBezTo>
                  <a:cubicBezTo>
                    <a:pt x="395456" y="116652"/>
                    <a:pt x="400952" y="122148"/>
                    <a:pt x="407670" y="122148"/>
                  </a:cubicBezTo>
                  <a:cubicBezTo>
                    <a:pt x="414389" y="122148"/>
                    <a:pt x="419885" y="116652"/>
                    <a:pt x="419885" y="109933"/>
                  </a:cubicBezTo>
                  <a:close/>
                  <a:moveTo>
                    <a:pt x="456530" y="109933"/>
                  </a:moveTo>
                  <a:cubicBezTo>
                    <a:pt x="456530" y="103215"/>
                    <a:pt x="451033" y="97718"/>
                    <a:pt x="444315" y="97718"/>
                  </a:cubicBezTo>
                  <a:cubicBezTo>
                    <a:pt x="437597" y="97718"/>
                    <a:pt x="432100" y="103215"/>
                    <a:pt x="432100" y="109933"/>
                  </a:cubicBezTo>
                  <a:cubicBezTo>
                    <a:pt x="432100" y="116652"/>
                    <a:pt x="437597" y="122148"/>
                    <a:pt x="444315" y="122148"/>
                  </a:cubicBezTo>
                  <a:cubicBezTo>
                    <a:pt x="451033" y="122148"/>
                    <a:pt x="456530" y="116652"/>
                    <a:pt x="456530" y="109933"/>
                  </a:cubicBezTo>
                  <a:close/>
                  <a:moveTo>
                    <a:pt x="398509" y="250302"/>
                  </a:moveTo>
                  <a:cubicBezTo>
                    <a:pt x="398509" y="243584"/>
                    <a:pt x="393013" y="238087"/>
                    <a:pt x="386294" y="238087"/>
                  </a:cubicBezTo>
                  <a:cubicBezTo>
                    <a:pt x="379576" y="238087"/>
                    <a:pt x="374080" y="243584"/>
                    <a:pt x="374080" y="250302"/>
                  </a:cubicBezTo>
                  <a:cubicBezTo>
                    <a:pt x="374080" y="257021"/>
                    <a:pt x="379576" y="262517"/>
                    <a:pt x="386294" y="262517"/>
                  </a:cubicBezTo>
                  <a:cubicBezTo>
                    <a:pt x="393013" y="262517"/>
                    <a:pt x="398509" y="257021"/>
                    <a:pt x="398509" y="250302"/>
                  </a:cubicBezTo>
                  <a:close/>
                  <a:moveTo>
                    <a:pt x="435154" y="250302"/>
                  </a:moveTo>
                  <a:cubicBezTo>
                    <a:pt x="435154" y="243584"/>
                    <a:pt x="429657" y="238087"/>
                    <a:pt x="422939" y="238087"/>
                  </a:cubicBezTo>
                  <a:cubicBezTo>
                    <a:pt x="416221" y="238087"/>
                    <a:pt x="410724" y="243584"/>
                    <a:pt x="410724" y="250302"/>
                  </a:cubicBezTo>
                  <a:cubicBezTo>
                    <a:pt x="410724" y="257021"/>
                    <a:pt x="416221" y="262517"/>
                    <a:pt x="422939" y="262517"/>
                  </a:cubicBezTo>
                  <a:cubicBezTo>
                    <a:pt x="429657" y="262517"/>
                    <a:pt x="435154" y="257021"/>
                    <a:pt x="435154" y="250302"/>
                  </a:cubicBezTo>
                  <a:close/>
                  <a:moveTo>
                    <a:pt x="471798" y="250302"/>
                  </a:moveTo>
                  <a:cubicBezTo>
                    <a:pt x="471798" y="243584"/>
                    <a:pt x="466302" y="238087"/>
                    <a:pt x="459583" y="238087"/>
                  </a:cubicBezTo>
                  <a:cubicBezTo>
                    <a:pt x="452865" y="238087"/>
                    <a:pt x="447369" y="243584"/>
                    <a:pt x="447369" y="250302"/>
                  </a:cubicBezTo>
                  <a:cubicBezTo>
                    <a:pt x="447369" y="257021"/>
                    <a:pt x="452865" y="262517"/>
                    <a:pt x="459583" y="262517"/>
                  </a:cubicBezTo>
                  <a:cubicBezTo>
                    <a:pt x="466302" y="262517"/>
                    <a:pt x="471798" y="257021"/>
                    <a:pt x="471798" y="250302"/>
                  </a:cubicBezTo>
                  <a:close/>
                  <a:moveTo>
                    <a:pt x="508443" y="250302"/>
                  </a:moveTo>
                  <a:cubicBezTo>
                    <a:pt x="508443" y="243584"/>
                    <a:pt x="502946" y="238087"/>
                    <a:pt x="496228" y="238087"/>
                  </a:cubicBezTo>
                  <a:cubicBezTo>
                    <a:pt x="489510" y="238087"/>
                    <a:pt x="484013" y="243584"/>
                    <a:pt x="484013" y="250302"/>
                  </a:cubicBezTo>
                  <a:cubicBezTo>
                    <a:pt x="484013" y="257021"/>
                    <a:pt x="489510" y="262517"/>
                    <a:pt x="496228" y="262517"/>
                  </a:cubicBezTo>
                  <a:cubicBezTo>
                    <a:pt x="502946" y="262517"/>
                    <a:pt x="508443" y="257021"/>
                    <a:pt x="508443" y="250302"/>
                  </a:cubicBezTo>
                  <a:close/>
                  <a:moveTo>
                    <a:pt x="545087" y="250302"/>
                  </a:moveTo>
                  <a:cubicBezTo>
                    <a:pt x="545087" y="243584"/>
                    <a:pt x="539591" y="238087"/>
                    <a:pt x="532873" y="238087"/>
                  </a:cubicBezTo>
                  <a:cubicBezTo>
                    <a:pt x="526154" y="238087"/>
                    <a:pt x="520658" y="243584"/>
                    <a:pt x="520658" y="250302"/>
                  </a:cubicBezTo>
                  <a:cubicBezTo>
                    <a:pt x="520658" y="257021"/>
                    <a:pt x="526154" y="262517"/>
                    <a:pt x="532873" y="262517"/>
                  </a:cubicBezTo>
                  <a:cubicBezTo>
                    <a:pt x="539591" y="262517"/>
                    <a:pt x="545087" y="257021"/>
                    <a:pt x="545087" y="250302"/>
                  </a:cubicBezTo>
                  <a:close/>
                  <a:moveTo>
                    <a:pt x="581732" y="250302"/>
                  </a:moveTo>
                  <a:cubicBezTo>
                    <a:pt x="581732" y="243584"/>
                    <a:pt x="576235" y="238087"/>
                    <a:pt x="569517" y="238087"/>
                  </a:cubicBezTo>
                  <a:cubicBezTo>
                    <a:pt x="562799" y="238087"/>
                    <a:pt x="557302" y="243584"/>
                    <a:pt x="557302" y="250302"/>
                  </a:cubicBezTo>
                  <a:cubicBezTo>
                    <a:pt x="557302" y="257021"/>
                    <a:pt x="562799" y="262517"/>
                    <a:pt x="569517" y="262517"/>
                  </a:cubicBezTo>
                  <a:cubicBezTo>
                    <a:pt x="576235" y="262517"/>
                    <a:pt x="581732" y="257021"/>
                    <a:pt x="581732" y="250302"/>
                  </a:cubicBezTo>
                  <a:close/>
                  <a:moveTo>
                    <a:pt x="398611" y="351075"/>
                  </a:moveTo>
                  <a:cubicBezTo>
                    <a:pt x="398611" y="344357"/>
                    <a:pt x="393114" y="338860"/>
                    <a:pt x="386396" y="338860"/>
                  </a:cubicBezTo>
                  <a:cubicBezTo>
                    <a:pt x="379678" y="338860"/>
                    <a:pt x="374181" y="344357"/>
                    <a:pt x="374181" y="351075"/>
                  </a:cubicBezTo>
                  <a:cubicBezTo>
                    <a:pt x="374181" y="357793"/>
                    <a:pt x="379678" y="363289"/>
                    <a:pt x="386396" y="363289"/>
                  </a:cubicBezTo>
                  <a:cubicBezTo>
                    <a:pt x="393114" y="363289"/>
                    <a:pt x="398611" y="357793"/>
                    <a:pt x="398611" y="351075"/>
                  </a:cubicBezTo>
                  <a:close/>
                  <a:moveTo>
                    <a:pt x="435256" y="351075"/>
                  </a:moveTo>
                  <a:cubicBezTo>
                    <a:pt x="435256" y="344357"/>
                    <a:pt x="429759" y="338860"/>
                    <a:pt x="423041" y="338860"/>
                  </a:cubicBezTo>
                  <a:cubicBezTo>
                    <a:pt x="416323" y="338860"/>
                    <a:pt x="410826" y="344357"/>
                    <a:pt x="410826" y="351075"/>
                  </a:cubicBezTo>
                  <a:cubicBezTo>
                    <a:pt x="410826" y="357793"/>
                    <a:pt x="416323" y="363289"/>
                    <a:pt x="423041" y="363289"/>
                  </a:cubicBezTo>
                  <a:cubicBezTo>
                    <a:pt x="429759" y="363289"/>
                    <a:pt x="435256" y="357793"/>
                    <a:pt x="435256" y="351075"/>
                  </a:cubicBezTo>
                  <a:close/>
                  <a:moveTo>
                    <a:pt x="471900" y="351075"/>
                  </a:moveTo>
                  <a:cubicBezTo>
                    <a:pt x="471900" y="344357"/>
                    <a:pt x="466403" y="338860"/>
                    <a:pt x="459685" y="338860"/>
                  </a:cubicBezTo>
                  <a:cubicBezTo>
                    <a:pt x="452967" y="338860"/>
                    <a:pt x="447470" y="344357"/>
                    <a:pt x="447470" y="351075"/>
                  </a:cubicBezTo>
                  <a:cubicBezTo>
                    <a:pt x="447470" y="357793"/>
                    <a:pt x="452967" y="363289"/>
                    <a:pt x="459685" y="363289"/>
                  </a:cubicBezTo>
                  <a:cubicBezTo>
                    <a:pt x="466403" y="363289"/>
                    <a:pt x="471900" y="357793"/>
                    <a:pt x="471900" y="351075"/>
                  </a:cubicBezTo>
                  <a:close/>
                  <a:moveTo>
                    <a:pt x="508545" y="351075"/>
                  </a:moveTo>
                  <a:cubicBezTo>
                    <a:pt x="508545" y="344357"/>
                    <a:pt x="503048" y="338860"/>
                    <a:pt x="496330" y="338860"/>
                  </a:cubicBezTo>
                  <a:cubicBezTo>
                    <a:pt x="489612" y="338860"/>
                    <a:pt x="484115" y="344357"/>
                    <a:pt x="484115" y="351075"/>
                  </a:cubicBezTo>
                  <a:cubicBezTo>
                    <a:pt x="484115" y="357793"/>
                    <a:pt x="489612" y="363289"/>
                    <a:pt x="496330" y="363289"/>
                  </a:cubicBezTo>
                  <a:cubicBezTo>
                    <a:pt x="503048" y="363289"/>
                    <a:pt x="508545" y="357793"/>
                    <a:pt x="508545" y="351075"/>
                  </a:cubicBezTo>
                  <a:close/>
                  <a:moveTo>
                    <a:pt x="545189" y="351075"/>
                  </a:moveTo>
                  <a:cubicBezTo>
                    <a:pt x="545189" y="344357"/>
                    <a:pt x="539692" y="338860"/>
                    <a:pt x="532974" y="338860"/>
                  </a:cubicBezTo>
                  <a:cubicBezTo>
                    <a:pt x="526256" y="338860"/>
                    <a:pt x="520759" y="344357"/>
                    <a:pt x="520759" y="351075"/>
                  </a:cubicBezTo>
                  <a:cubicBezTo>
                    <a:pt x="520759" y="357793"/>
                    <a:pt x="526256" y="363289"/>
                    <a:pt x="532974" y="363289"/>
                  </a:cubicBezTo>
                  <a:cubicBezTo>
                    <a:pt x="539692" y="363289"/>
                    <a:pt x="545189" y="357793"/>
                    <a:pt x="545189" y="351075"/>
                  </a:cubicBezTo>
                  <a:close/>
                  <a:moveTo>
                    <a:pt x="581834" y="351075"/>
                  </a:moveTo>
                  <a:cubicBezTo>
                    <a:pt x="581834" y="344357"/>
                    <a:pt x="576337" y="338860"/>
                    <a:pt x="569619" y="338860"/>
                  </a:cubicBezTo>
                  <a:cubicBezTo>
                    <a:pt x="562901" y="338860"/>
                    <a:pt x="557404" y="344357"/>
                    <a:pt x="557404" y="351075"/>
                  </a:cubicBezTo>
                  <a:cubicBezTo>
                    <a:pt x="557404" y="357793"/>
                    <a:pt x="562901" y="363289"/>
                    <a:pt x="569619" y="363289"/>
                  </a:cubicBezTo>
                  <a:cubicBezTo>
                    <a:pt x="576337" y="363289"/>
                    <a:pt x="581834" y="357793"/>
                    <a:pt x="581834" y="35107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7" name="Полилиния: фигура 1096">
              <a:extLst>
                <a:ext uri="{FF2B5EF4-FFF2-40B4-BE49-F238E27FC236}">
                  <a16:creationId xmlns:a16="http://schemas.microsoft.com/office/drawing/2014/main" id="{780D87C6-9ACC-4AED-9270-FC72423B0F81}"/>
                </a:ext>
              </a:extLst>
            </p:cNvPr>
            <p:cNvSpPr/>
            <p:nvPr/>
          </p:nvSpPr>
          <p:spPr>
            <a:xfrm>
              <a:off x="8039463" y="3897943"/>
              <a:ext cx="581833" cy="364613"/>
            </a:xfrm>
            <a:custGeom>
              <a:avLst/>
              <a:gdLst>
                <a:gd name="connsiteX0" fmla="*/ 53338 w 581833"/>
                <a:gd name="connsiteY0" fmla="*/ 22394 h 364613"/>
                <a:gd name="connsiteX1" fmla="*/ 10586 w 581833"/>
                <a:gd name="connsiteY1" fmla="*/ 22394 h 364613"/>
                <a:gd name="connsiteX2" fmla="*/ 0 w 581833"/>
                <a:gd name="connsiteY2" fmla="*/ 11808 h 364613"/>
                <a:gd name="connsiteX3" fmla="*/ 10586 w 581833"/>
                <a:gd name="connsiteY3" fmla="*/ 1221 h 364613"/>
                <a:gd name="connsiteX4" fmla="*/ 53338 w 581833"/>
                <a:gd name="connsiteY4" fmla="*/ 1221 h 364613"/>
                <a:gd name="connsiteX5" fmla="*/ 63924 w 581833"/>
                <a:gd name="connsiteY5" fmla="*/ 11808 h 364613"/>
                <a:gd name="connsiteX6" fmla="*/ 53338 w 581833"/>
                <a:gd name="connsiteY6" fmla="*/ 22394 h 364613"/>
                <a:gd name="connsiteX7" fmla="*/ 63924 w 581833"/>
                <a:gd name="connsiteY7" fmla="*/ 60667 h 364613"/>
                <a:gd name="connsiteX8" fmla="*/ 53338 w 581833"/>
                <a:gd name="connsiteY8" fmla="*/ 50081 h 364613"/>
                <a:gd name="connsiteX9" fmla="*/ 10586 w 581833"/>
                <a:gd name="connsiteY9" fmla="*/ 50081 h 364613"/>
                <a:gd name="connsiteX10" fmla="*/ 0 w 581833"/>
                <a:gd name="connsiteY10" fmla="*/ 60667 h 364613"/>
                <a:gd name="connsiteX11" fmla="*/ 10586 w 581833"/>
                <a:gd name="connsiteY11" fmla="*/ 71253 h 364613"/>
                <a:gd name="connsiteX12" fmla="*/ 53338 w 581833"/>
                <a:gd name="connsiteY12" fmla="*/ 71253 h 364613"/>
                <a:gd name="connsiteX13" fmla="*/ 63924 w 581833"/>
                <a:gd name="connsiteY13" fmla="*/ 60667 h 364613"/>
                <a:gd name="connsiteX14" fmla="*/ 63924 w 581833"/>
                <a:gd name="connsiteY14" fmla="*/ 109527 h 364613"/>
                <a:gd name="connsiteX15" fmla="*/ 53338 w 581833"/>
                <a:gd name="connsiteY15" fmla="*/ 98940 h 364613"/>
                <a:gd name="connsiteX16" fmla="*/ 10586 w 581833"/>
                <a:gd name="connsiteY16" fmla="*/ 98940 h 364613"/>
                <a:gd name="connsiteX17" fmla="*/ 0 w 581833"/>
                <a:gd name="connsiteY17" fmla="*/ 109527 h 364613"/>
                <a:gd name="connsiteX18" fmla="*/ 10586 w 581833"/>
                <a:gd name="connsiteY18" fmla="*/ 120113 h 364613"/>
                <a:gd name="connsiteX19" fmla="*/ 53338 w 581833"/>
                <a:gd name="connsiteY19" fmla="*/ 120113 h 364613"/>
                <a:gd name="connsiteX20" fmla="*/ 63924 w 581833"/>
                <a:gd name="connsiteY20" fmla="*/ 109527 h 364613"/>
                <a:gd name="connsiteX21" fmla="*/ 63924 w 581833"/>
                <a:gd name="connsiteY21" fmla="*/ 158386 h 364613"/>
                <a:gd name="connsiteX22" fmla="*/ 53338 w 581833"/>
                <a:gd name="connsiteY22" fmla="*/ 147800 h 364613"/>
                <a:gd name="connsiteX23" fmla="*/ 10586 w 581833"/>
                <a:gd name="connsiteY23" fmla="*/ 147800 h 364613"/>
                <a:gd name="connsiteX24" fmla="*/ 0 w 581833"/>
                <a:gd name="connsiteY24" fmla="*/ 158386 h 364613"/>
                <a:gd name="connsiteX25" fmla="*/ 10586 w 581833"/>
                <a:gd name="connsiteY25" fmla="*/ 168972 h 364613"/>
                <a:gd name="connsiteX26" fmla="*/ 53338 w 581833"/>
                <a:gd name="connsiteY26" fmla="*/ 168972 h 364613"/>
                <a:gd name="connsiteX27" fmla="*/ 63924 w 581833"/>
                <a:gd name="connsiteY27" fmla="*/ 158386 h 364613"/>
                <a:gd name="connsiteX28" fmla="*/ 63924 w 581833"/>
                <a:gd name="connsiteY28" fmla="*/ 207245 h 364613"/>
                <a:gd name="connsiteX29" fmla="*/ 53338 w 581833"/>
                <a:gd name="connsiteY29" fmla="*/ 196659 h 364613"/>
                <a:gd name="connsiteX30" fmla="*/ 10586 w 581833"/>
                <a:gd name="connsiteY30" fmla="*/ 196659 h 364613"/>
                <a:gd name="connsiteX31" fmla="*/ 0 w 581833"/>
                <a:gd name="connsiteY31" fmla="*/ 207245 h 364613"/>
                <a:gd name="connsiteX32" fmla="*/ 10586 w 581833"/>
                <a:gd name="connsiteY32" fmla="*/ 217831 h 364613"/>
                <a:gd name="connsiteX33" fmla="*/ 53338 w 581833"/>
                <a:gd name="connsiteY33" fmla="*/ 217831 h 364613"/>
                <a:gd name="connsiteX34" fmla="*/ 63924 w 581833"/>
                <a:gd name="connsiteY34" fmla="*/ 207245 h 364613"/>
                <a:gd name="connsiteX35" fmla="*/ 63924 w 581833"/>
                <a:gd name="connsiteY35" fmla="*/ 256105 h 364613"/>
                <a:gd name="connsiteX36" fmla="*/ 53338 w 581833"/>
                <a:gd name="connsiteY36" fmla="*/ 245518 h 364613"/>
                <a:gd name="connsiteX37" fmla="*/ 10586 w 581833"/>
                <a:gd name="connsiteY37" fmla="*/ 245518 h 364613"/>
                <a:gd name="connsiteX38" fmla="*/ 0 w 581833"/>
                <a:gd name="connsiteY38" fmla="*/ 256105 h 364613"/>
                <a:gd name="connsiteX39" fmla="*/ 10586 w 581833"/>
                <a:gd name="connsiteY39" fmla="*/ 266691 h 364613"/>
                <a:gd name="connsiteX40" fmla="*/ 53338 w 581833"/>
                <a:gd name="connsiteY40" fmla="*/ 266691 h 364613"/>
                <a:gd name="connsiteX41" fmla="*/ 63924 w 581833"/>
                <a:gd name="connsiteY41" fmla="*/ 256105 h 364613"/>
                <a:gd name="connsiteX42" fmla="*/ 63924 w 581833"/>
                <a:gd name="connsiteY42" fmla="*/ 304964 h 364613"/>
                <a:gd name="connsiteX43" fmla="*/ 53338 w 581833"/>
                <a:gd name="connsiteY43" fmla="*/ 294378 h 364613"/>
                <a:gd name="connsiteX44" fmla="*/ 10586 w 581833"/>
                <a:gd name="connsiteY44" fmla="*/ 294378 h 364613"/>
                <a:gd name="connsiteX45" fmla="*/ 0 w 581833"/>
                <a:gd name="connsiteY45" fmla="*/ 304964 h 364613"/>
                <a:gd name="connsiteX46" fmla="*/ 10586 w 581833"/>
                <a:gd name="connsiteY46" fmla="*/ 315550 h 364613"/>
                <a:gd name="connsiteX47" fmla="*/ 53338 w 581833"/>
                <a:gd name="connsiteY47" fmla="*/ 315550 h 364613"/>
                <a:gd name="connsiteX48" fmla="*/ 63924 w 581833"/>
                <a:gd name="connsiteY48" fmla="*/ 304964 h 364613"/>
                <a:gd name="connsiteX49" fmla="*/ 63924 w 581833"/>
                <a:gd name="connsiteY49" fmla="*/ 353823 h 364613"/>
                <a:gd name="connsiteX50" fmla="*/ 53338 w 581833"/>
                <a:gd name="connsiteY50" fmla="*/ 343237 h 364613"/>
                <a:gd name="connsiteX51" fmla="*/ 10586 w 581833"/>
                <a:gd name="connsiteY51" fmla="*/ 343237 h 364613"/>
                <a:gd name="connsiteX52" fmla="*/ 0 w 581833"/>
                <a:gd name="connsiteY52" fmla="*/ 353823 h 364613"/>
                <a:gd name="connsiteX53" fmla="*/ 10586 w 581833"/>
                <a:gd name="connsiteY53" fmla="*/ 364410 h 364613"/>
                <a:gd name="connsiteX54" fmla="*/ 53338 w 581833"/>
                <a:gd name="connsiteY54" fmla="*/ 364410 h 364613"/>
                <a:gd name="connsiteX55" fmla="*/ 63924 w 581833"/>
                <a:gd name="connsiteY55" fmla="*/ 353823 h 364613"/>
                <a:gd name="connsiteX56" fmla="*/ 223837 w 581833"/>
                <a:gd name="connsiteY56" fmla="*/ 12011 h 364613"/>
                <a:gd name="connsiteX57" fmla="*/ 213251 w 581833"/>
                <a:gd name="connsiteY57" fmla="*/ 1425 h 364613"/>
                <a:gd name="connsiteX58" fmla="*/ 101078 w 581833"/>
                <a:gd name="connsiteY58" fmla="*/ 1425 h 364613"/>
                <a:gd name="connsiteX59" fmla="*/ 90492 w 581833"/>
                <a:gd name="connsiteY59" fmla="*/ 12011 h 364613"/>
                <a:gd name="connsiteX60" fmla="*/ 101078 w 581833"/>
                <a:gd name="connsiteY60" fmla="*/ 22597 h 364613"/>
                <a:gd name="connsiteX61" fmla="*/ 213251 w 581833"/>
                <a:gd name="connsiteY61" fmla="*/ 22597 h 364613"/>
                <a:gd name="connsiteX62" fmla="*/ 223837 w 581833"/>
                <a:gd name="connsiteY62" fmla="*/ 12011 h 364613"/>
                <a:gd name="connsiteX63" fmla="*/ 223837 w 581833"/>
                <a:gd name="connsiteY63" fmla="*/ 60871 h 364613"/>
                <a:gd name="connsiteX64" fmla="*/ 213251 w 581833"/>
                <a:gd name="connsiteY64" fmla="*/ 50284 h 364613"/>
                <a:gd name="connsiteX65" fmla="*/ 101078 w 581833"/>
                <a:gd name="connsiteY65" fmla="*/ 50284 h 364613"/>
                <a:gd name="connsiteX66" fmla="*/ 90492 w 581833"/>
                <a:gd name="connsiteY66" fmla="*/ 60871 h 364613"/>
                <a:gd name="connsiteX67" fmla="*/ 101078 w 581833"/>
                <a:gd name="connsiteY67" fmla="*/ 71457 h 364613"/>
                <a:gd name="connsiteX68" fmla="*/ 213251 w 581833"/>
                <a:gd name="connsiteY68" fmla="*/ 71457 h 364613"/>
                <a:gd name="connsiteX69" fmla="*/ 223837 w 581833"/>
                <a:gd name="connsiteY69" fmla="*/ 60871 h 364613"/>
                <a:gd name="connsiteX70" fmla="*/ 223837 w 581833"/>
                <a:gd name="connsiteY70" fmla="*/ 109730 h 364613"/>
                <a:gd name="connsiteX71" fmla="*/ 213251 w 581833"/>
                <a:gd name="connsiteY71" fmla="*/ 99144 h 364613"/>
                <a:gd name="connsiteX72" fmla="*/ 101078 w 581833"/>
                <a:gd name="connsiteY72" fmla="*/ 99144 h 364613"/>
                <a:gd name="connsiteX73" fmla="*/ 90492 w 581833"/>
                <a:gd name="connsiteY73" fmla="*/ 109730 h 364613"/>
                <a:gd name="connsiteX74" fmla="*/ 101078 w 581833"/>
                <a:gd name="connsiteY74" fmla="*/ 120316 h 364613"/>
                <a:gd name="connsiteX75" fmla="*/ 213251 w 581833"/>
                <a:gd name="connsiteY75" fmla="*/ 120316 h 364613"/>
                <a:gd name="connsiteX76" fmla="*/ 223837 w 581833"/>
                <a:gd name="connsiteY76" fmla="*/ 109730 h 364613"/>
                <a:gd name="connsiteX77" fmla="*/ 223837 w 581833"/>
                <a:gd name="connsiteY77" fmla="*/ 158590 h 364613"/>
                <a:gd name="connsiteX78" fmla="*/ 213251 w 581833"/>
                <a:gd name="connsiteY78" fmla="*/ 148003 h 364613"/>
                <a:gd name="connsiteX79" fmla="*/ 101078 w 581833"/>
                <a:gd name="connsiteY79" fmla="*/ 148003 h 364613"/>
                <a:gd name="connsiteX80" fmla="*/ 90492 w 581833"/>
                <a:gd name="connsiteY80" fmla="*/ 158590 h 364613"/>
                <a:gd name="connsiteX81" fmla="*/ 101078 w 581833"/>
                <a:gd name="connsiteY81" fmla="*/ 169176 h 364613"/>
                <a:gd name="connsiteX82" fmla="*/ 213251 w 581833"/>
                <a:gd name="connsiteY82" fmla="*/ 169176 h 364613"/>
                <a:gd name="connsiteX83" fmla="*/ 223837 w 581833"/>
                <a:gd name="connsiteY83" fmla="*/ 158590 h 364613"/>
                <a:gd name="connsiteX84" fmla="*/ 223837 w 581833"/>
                <a:gd name="connsiteY84" fmla="*/ 207449 h 364613"/>
                <a:gd name="connsiteX85" fmla="*/ 213251 w 581833"/>
                <a:gd name="connsiteY85" fmla="*/ 196863 h 364613"/>
                <a:gd name="connsiteX86" fmla="*/ 101078 w 581833"/>
                <a:gd name="connsiteY86" fmla="*/ 196863 h 364613"/>
                <a:gd name="connsiteX87" fmla="*/ 90492 w 581833"/>
                <a:gd name="connsiteY87" fmla="*/ 207449 h 364613"/>
                <a:gd name="connsiteX88" fmla="*/ 101078 w 581833"/>
                <a:gd name="connsiteY88" fmla="*/ 218035 h 364613"/>
                <a:gd name="connsiteX89" fmla="*/ 213251 w 581833"/>
                <a:gd name="connsiteY89" fmla="*/ 218035 h 364613"/>
                <a:gd name="connsiteX90" fmla="*/ 223837 w 581833"/>
                <a:gd name="connsiteY90" fmla="*/ 207449 h 364613"/>
                <a:gd name="connsiteX91" fmla="*/ 358098 w 581833"/>
                <a:gd name="connsiteY91" fmla="*/ 256308 h 364613"/>
                <a:gd name="connsiteX92" fmla="*/ 347512 w 581833"/>
                <a:gd name="connsiteY92" fmla="*/ 245722 h 364613"/>
                <a:gd name="connsiteX93" fmla="*/ 235339 w 581833"/>
                <a:gd name="connsiteY93" fmla="*/ 245722 h 364613"/>
                <a:gd name="connsiteX94" fmla="*/ 224753 w 581833"/>
                <a:gd name="connsiteY94" fmla="*/ 256308 h 364613"/>
                <a:gd name="connsiteX95" fmla="*/ 235339 w 581833"/>
                <a:gd name="connsiteY95" fmla="*/ 266894 h 364613"/>
                <a:gd name="connsiteX96" fmla="*/ 347512 w 581833"/>
                <a:gd name="connsiteY96" fmla="*/ 266894 h 364613"/>
                <a:gd name="connsiteX97" fmla="*/ 358098 w 581833"/>
                <a:gd name="connsiteY97" fmla="*/ 256308 h 364613"/>
                <a:gd name="connsiteX98" fmla="*/ 358098 w 581833"/>
                <a:gd name="connsiteY98" fmla="*/ 305168 h 364613"/>
                <a:gd name="connsiteX99" fmla="*/ 347512 w 581833"/>
                <a:gd name="connsiteY99" fmla="*/ 294581 h 364613"/>
                <a:gd name="connsiteX100" fmla="*/ 235339 w 581833"/>
                <a:gd name="connsiteY100" fmla="*/ 294581 h 364613"/>
                <a:gd name="connsiteX101" fmla="*/ 224753 w 581833"/>
                <a:gd name="connsiteY101" fmla="*/ 305168 h 364613"/>
                <a:gd name="connsiteX102" fmla="*/ 235339 w 581833"/>
                <a:gd name="connsiteY102" fmla="*/ 315754 h 364613"/>
                <a:gd name="connsiteX103" fmla="*/ 347512 w 581833"/>
                <a:gd name="connsiteY103" fmla="*/ 315754 h 364613"/>
                <a:gd name="connsiteX104" fmla="*/ 358098 w 581833"/>
                <a:gd name="connsiteY104" fmla="*/ 305168 h 364613"/>
                <a:gd name="connsiteX105" fmla="*/ 358098 w 581833"/>
                <a:gd name="connsiteY105" fmla="*/ 354027 h 364613"/>
                <a:gd name="connsiteX106" fmla="*/ 347512 w 581833"/>
                <a:gd name="connsiteY106" fmla="*/ 343441 h 364613"/>
                <a:gd name="connsiteX107" fmla="*/ 235339 w 581833"/>
                <a:gd name="connsiteY107" fmla="*/ 343441 h 364613"/>
                <a:gd name="connsiteX108" fmla="*/ 224753 w 581833"/>
                <a:gd name="connsiteY108" fmla="*/ 354027 h 364613"/>
                <a:gd name="connsiteX109" fmla="*/ 235339 w 581833"/>
                <a:gd name="connsiteY109" fmla="*/ 364613 h 364613"/>
                <a:gd name="connsiteX110" fmla="*/ 347512 w 581833"/>
                <a:gd name="connsiteY110" fmla="*/ 364613 h 364613"/>
                <a:gd name="connsiteX111" fmla="*/ 358098 w 581833"/>
                <a:gd name="connsiteY111" fmla="*/ 354027 h 364613"/>
                <a:gd name="connsiteX112" fmla="*/ 273205 w 581833"/>
                <a:gd name="connsiteY112" fmla="*/ 12215 h 364613"/>
                <a:gd name="connsiteX113" fmla="*/ 260991 w 581833"/>
                <a:gd name="connsiteY113" fmla="*/ 0 h 364613"/>
                <a:gd name="connsiteX114" fmla="*/ 248776 w 581833"/>
                <a:gd name="connsiteY114" fmla="*/ 12215 h 364613"/>
                <a:gd name="connsiteX115" fmla="*/ 260991 w 581833"/>
                <a:gd name="connsiteY115" fmla="*/ 24430 h 364613"/>
                <a:gd name="connsiteX116" fmla="*/ 273205 w 581833"/>
                <a:gd name="connsiteY116" fmla="*/ 12215 h 364613"/>
                <a:gd name="connsiteX117" fmla="*/ 309850 w 581833"/>
                <a:gd name="connsiteY117" fmla="*/ 12215 h 364613"/>
                <a:gd name="connsiteX118" fmla="*/ 297635 w 581833"/>
                <a:gd name="connsiteY118" fmla="*/ 0 h 364613"/>
                <a:gd name="connsiteX119" fmla="*/ 285420 w 581833"/>
                <a:gd name="connsiteY119" fmla="*/ 12215 h 364613"/>
                <a:gd name="connsiteX120" fmla="*/ 297635 w 581833"/>
                <a:gd name="connsiteY120" fmla="*/ 24430 h 364613"/>
                <a:gd name="connsiteX121" fmla="*/ 309850 w 581833"/>
                <a:gd name="connsiteY121" fmla="*/ 12215 h 364613"/>
                <a:gd name="connsiteX122" fmla="*/ 346494 w 581833"/>
                <a:gd name="connsiteY122" fmla="*/ 12215 h 364613"/>
                <a:gd name="connsiteX123" fmla="*/ 334280 w 581833"/>
                <a:gd name="connsiteY123" fmla="*/ 0 h 364613"/>
                <a:gd name="connsiteX124" fmla="*/ 322065 w 581833"/>
                <a:gd name="connsiteY124" fmla="*/ 12215 h 364613"/>
                <a:gd name="connsiteX125" fmla="*/ 334280 w 581833"/>
                <a:gd name="connsiteY125" fmla="*/ 24430 h 364613"/>
                <a:gd name="connsiteX126" fmla="*/ 346494 w 581833"/>
                <a:gd name="connsiteY126" fmla="*/ 12215 h 364613"/>
                <a:gd name="connsiteX127" fmla="*/ 383139 w 581833"/>
                <a:gd name="connsiteY127" fmla="*/ 12215 h 364613"/>
                <a:gd name="connsiteX128" fmla="*/ 370924 w 581833"/>
                <a:gd name="connsiteY128" fmla="*/ 0 h 364613"/>
                <a:gd name="connsiteX129" fmla="*/ 358709 w 581833"/>
                <a:gd name="connsiteY129" fmla="*/ 12215 h 364613"/>
                <a:gd name="connsiteX130" fmla="*/ 370924 w 581833"/>
                <a:gd name="connsiteY130" fmla="*/ 24430 h 364613"/>
                <a:gd name="connsiteX131" fmla="*/ 383139 w 581833"/>
                <a:gd name="connsiteY131" fmla="*/ 12215 h 364613"/>
                <a:gd name="connsiteX132" fmla="*/ 419783 w 581833"/>
                <a:gd name="connsiteY132" fmla="*/ 12215 h 364613"/>
                <a:gd name="connsiteX133" fmla="*/ 407569 w 581833"/>
                <a:gd name="connsiteY133" fmla="*/ 0 h 364613"/>
                <a:gd name="connsiteX134" fmla="*/ 395354 w 581833"/>
                <a:gd name="connsiteY134" fmla="*/ 12215 h 364613"/>
                <a:gd name="connsiteX135" fmla="*/ 407569 w 581833"/>
                <a:gd name="connsiteY135" fmla="*/ 24430 h 364613"/>
                <a:gd name="connsiteX136" fmla="*/ 419783 w 581833"/>
                <a:gd name="connsiteY136" fmla="*/ 12215 h 364613"/>
                <a:gd name="connsiteX137" fmla="*/ 456428 w 581833"/>
                <a:gd name="connsiteY137" fmla="*/ 12215 h 364613"/>
                <a:gd name="connsiteX138" fmla="*/ 444213 w 581833"/>
                <a:gd name="connsiteY138" fmla="*/ 0 h 364613"/>
                <a:gd name="connsiteX139" fmla="*/ 431998 w 581833"/>
                <a:gd name="connsiteY139" fmla="*/ 12215 h 364613"/>
                <a:gd name="connsiteX140" fmla="*/ 444213 w 581833"/>
                <a:gd name="connsiteY140" fmla="*/ 24430 h 364613"/>
                <a:gd name="connsiteX141" fmla="*/ 456428 w 581833"/>
                <a:gd name="connsiteY141" fmla="*/ 12215 h 364613"/>
                <a:gd name="connsiteX142" fmla="*/ 273307 w 581833"/>
                <a:gd name="connsiteY142" fmla="*/ 109934 h 364613"/>
                <a:gd name="connsiteX143" fmla="*/ 261092 w 581833"/>
                <a:gd name="connsiteY143" fmla="*/ 97719 h 364613"/>
                <a:gd name="connsiteX144" fmla="*/ 248877 w 581833"/>
                <a:gd name="connsiteY144" fmla="*/ 109934 h 364613"/>
                <a:gd name="connsiteX145" fmla="*/ 261092 w 581833"/>
                <a:gd name="connsiteY145" fmla="*/ 122148 h 364613"/>
                <a:gd name="connsiteX146" fmla="*/ 273307 w 581833"/>
                <a:gd name="connsiteY146" fmla="*/ 109934 h 364613"/>
                <a:gd name="connsiteX147" fmla="*/ 309952 w 581833"/>
                <a:gd name="connsiteY147" fmla="*/ 109934 h 364613"/>
                <a:gd name="connsiteX148" fmla="*/ 297737 w 581833"/>
                <a:gd name="connsiteY148" fmla="*/ 97719 h 364613"/>
                <a:gd name="connsiteX149" fmla="*/ 285522 w 581833"/>
                <a:gd name="connsiteY149" fmla="*/ 109934 h 364613"/>
                <a:gd name="connsiteX150" fmla="*/ 297737 w 581833"/>
                <a:gd name="connsiteY150" fmla="*/ 122148 h 364613"/>
                <a:gd name="connsiteX151" fmla="*/ 309952 w 581833"/>
                <a:gd name="connsiteY151" fmla="*/ 109934 h 364613"/>
                <a:gd name="connsiteX152" fmla="*/ 346596 w 581833"/>
                <a:gd name="connsiteY152" fmla="*/ 109934 h 364613"/>
                <a:gd name="connsiteX153" fmla="*/ 334381 w 581833"/>
                <a:gd name="connsiteY153" fmla="*/ 97719 h 364613"/>
                <a:gd name="connsiteX154" fmla="*/ 322166 w 581833"/>
                <a:gd name="connsiteY154" fmla="*/ 109934 h 364613"/>
                <a:gd name="connsiteX155" fmla="*/ 334381 w 581833"/>
                <a:gd name="connsiteY155" fmla="*/ 122148 h 364613"/>
                <a:gd name="connsiteX156" fmla="*/ 346596 w 581833"/>
                <a:gd name="connsiteY156" fmla="*/ 109934 h 364613"/>
                <a:gd name="connsiteX157" fmla="*/ 383241 w 581833"/>
                <a:gd name="connsiteY157" fmla="*/ 109934 h 364613"/>
                <a:gd name="connsiteX158" fmla="*/ 371026 w 581833"/>
                <a:gd name="connsiteY158" fmla="*/ 97719 h 364613"/>
                <a:gd name="connsiteX159" fmla="*/ 358811 w 581833"/>
                <a:gd name="connsiteY159" fmla="*/ 109934 h 364613"/>
                <a:gd name="connsiteX160" fmla="*/ 371026 w 581833"/>
                <a:gd name="connsiteY160" fmla="*/ 122148 h 364613"/>
                <a:gd name="connsiteX161" fmla="*/ 383241 w 581833"/>
                <a:gd name="connsiteY161" fmla="*/ 109934 h 364613"/>
                <a:gd name="connsiteX162" fmla="*/ 419885 w 581833"/>
                <a:gd name="connsiteY162" fmla="*/ 109934 h 364613"/>
                <a:gd name="connsiteX163" fmla="*/ 407670 w 581833"/>
                <a:gd name="connsiteY163" fmla="*/ 97719 h 364613"/>
                <a:gd name="connsiteX164" fmla="*/ 395455 w 581833"/>
                <a:gd name="connsiteY164" fmla="*/ 109934 h 364613"/>
                <a:gd name="connsiteX165" fmla="*/ 407670 w 581833"/>
                <a:gd name="connsiteY165" fmla="*/ 122148 h 364613"/>
                <a:gd name="connsiteX166" fmla="*/ 419885 w 581833"/>
                <a:gd name="connsiteY166" fmla="*/ 109934 h 364613"/>
                <a:gd name="connsiteX167" fmla="*/ 456530 w 581833"/>
                <a:gd name="connsiteY167" fmla="*/ 109934 h 364613"/>
                <a:gd name="connsiteX168" fmla="*/ 444315 w 581833"/>
                <a:gd name="connsiteY168" fmla="*/ 97719 h 364613"/>
                <a:gd name="connsiteX169" fmla="*/ 432100 w 581833"/>
                <a:gd name="connsiteY169" fmla="*/ 109934 h 364613"/>
                <a:gd name="connsiteX170" fmla="*/ 444315 w 581833"/>
                <a:gd name="connsiteY170" fmla="*/ 122148 h 364613"/>
                <a:gd name="connsiteX171" fmla="*/ 456530 w 581833"/>
                <a:gd name="connsiteY171" fmla="*/ 109934 h 364613"/>
                <a:gd name="connsiteX172" fmla="*/ 398509 w 581833"/>
                <a:gd name="connsiteY172" fmla="*/ 250302 h 364613"/>
                <a:gd name="connsiteX173" fmla="*/ 386294 w 581833"/>
                <a:gd name="connsiteY173" fmla="*/ 238088 h 364613"/>
                <a:gd name="connsiteX174" fmla="*/ 374080 w 581833"/>
                <a:gd name="connsiteY174" fmla="*/ 250302 h 364613"/>
                <a:gd name="connsiteX175" fmla="*/ 386294 w 581833"/>
                <a:gd name="connsiteY175" fmla="*/ 262517 h 364613"/>
                <a:gd name="connsiteX176" fmla="*/ 398509 w 581833"/>
                <a:gd name="connsiteY176" fmla="*/ 250302 h 364613"/>
                <a:gd name="connsiteX177" fmla="*/ 435154 w 581833"/>
                <a:gd name="connsiteY177" fmla="*/ 250302 h 364613"/>
                <a:gd name="connsiteX178" fmla="*/ 422939 w 581833"/>
                <a:gd name="connsiteY178" fmla="*/ 238088 h 364613"/>
                <a:gd name="connsiteX179" fmla="*/ 410724 w 581833"/>
                <a:gd name="connsiteY179" fmla="*/ 250302 h 364613"/>
                <a:gd name="connsiteX180" fmla="*/ 422939 w 581833"/>
                <a:gd name="connsiteY180" fmla="*/ 262517 h 364613"/>
                <a:gd name="connsiteX181" fmla="*/ 435154 w 581833"/>
                <a:gd name="connsiteY181" fmla="*/ 250302 h 364613"/>
                <a:gd name="connsiteX182" fmla="*/ 471798 w 581833"/>
                <a:gd name="connsiteY182" fmla="*/ 250302 h 364613"/>
                <a:gd name="connsiteX183" fmla="*/ 459583 w 581833"/>
                <a:gd name="connsiteY183" fmla="*/ 238088 h 364613"/>
                <a:gd name="connsiteX184" fmla="*/ 447369 w 581833"/>
                <a:gd name="connsiteY184" fmla="*/ 250302 h 364613"/>
                <a:gd name="connsiteX185" fmla="*/ 459583 w 581833"/>
                <a:gd name="connsiteY185" fmla="*/ 262517 h 364613"/>
                <a:gd name="connsiteX186" fmla="*/ 471798 w 581833"/>
                <a:gd name="connsiteY186" fmla="*/ 250302 h 364613"/>
                <a:gd name="connsiteX187" fmla="*/ 508443 w 581833"/>
                <a:gd name="connsiteY187" fmla="*/ 250302 h 364613"/>
                <a:gd name="connsiteX188" fmla="*/ 496228 w 581833"/>
                <a:gd name="connsiteY188" fmla="*/ 238088 h 364613"/>
                <a:gd name="connsiteX189" fmla="*/ 484013 w 581833"/>
                <a:gd name="connsiteY189" fmla="*/ 250302 h 364613"/>
                <a:gd name="connsiteX190" fmla="*/ 496228 w 581833"/>
                <a:gd name="connsiteY190" fmla="*/ 262517 h 364613"/>
                <a:gd name="connsiteX191" fmla="*/ 508443 w 581833"/>
                <a:gd name="connsiteY191" fmla="*/ 250302 h 364613"/>
                <a:gd name="connsiteX192" fmla="*/ 545087 w 581833"/>
                <a:gd name="connsiteY192" fmla="*/ 250302 h 364613"/>
                <a:gd name="connsiteX193" fmla="*/ 532872 w 581833"/>
                <a:gd name="connsiteY193" fmla="*/ 238088 h 364613"/>
                <a:gd name="connsiteX194" fmla="*/ 520658 w 581833"/>
                <a:gd name="connsiteY194" fmla="*/ 250302 h 364613"/>
                <a:gd name="connsiteX195" fmla="*/ 532872 w 581833"/>
                <a:gd name="connsiteY195" fmla="*/ 262517 h 364613"/>
                <a:gd name="connsiteX196" fmla="*/ 545087 w 581833"/>
                <a:gd name="connsiteY196" fmla="*/ 250302 h 364613"/>
                <a:gd name="connsiteX197" fmla="*/ 581732 w 581833"/>
                <a:gd name="connsiteY197" fmla="*/ 250302 h 364613"/>
                <a:gd name="connsiteX198" fmla="*/ 569517 w 581833"/>
                <a:gd name="connsiteY198" fmla="*/ 238088 h 364613"/>
                <a:gd name="connsiteX199" fmla="*/ 557302 w 581833"/>
                <a:gd name="connsiteY199" fmla="*/ 250302 h 364613"/>
                <a:gd name="connsiteX200" fmla="*/ 569517 w 581833"/>
                <a:gd name="connsiteY200" fmla="*/ 262517 h 364613"/>
                <a:gd name="connsiteX201" fmla="*/ 581732 w 581833"/>
                <a:gd name="connsiteY201" fmla="*/ 250302 h 364613"/>
                <a:gd name="connsiteX202" fmla="*/ 398611 w 581833"/>
                <a:gd name="connsiteY202" fmla="*/ 351075 h 364613"/>
                <a:gd name="connsiteX203" fmla="*/ 386396 w 581833"/>
                <a:gd name="connsiteY203" fmla="*/ 338860 h 364613"/>
                <a:gd name="connsiteX204" fmla="*/ 374181 w 581833"/>
                <a:gd name="connsiteY204" fmla="*/ 351075 h 364613"/>
                <a:gd name="connsiteX205" fmla="*/ 386396 w 581833"/>
                <a:gd name="connsiteY205" fmla="*/ 363290 h 364613"/>
                <a:gd name="connsiteX206" fmla="*/ 398611 w 581833"/>
                <a:gd name="connsiteY206" fmla="*/ 351075 h 364613"/>
                <a:gd name="connsiteX207" fmla="*/ 435256 w 581833"/>
                <a:gd name="connsiteY207" fmla="*/ 351075 h 364613"/>
                <a:gd name="connsiteX208" fmla="*/ 423041 w 581833"/>
                <a:gd name="connsiteY208" fmla="*/ 338860 h 364613"/>
                <a:gd name="connsiteX209" fmla="*/ 410826 w 581833"/>
                <a:gd name="connsiteY209" fmla="*/ 351075 h 364613"/>
                <a:gd name="connsiteX210" fmla="*/ 423041 w 581833"/>
                <a:gd name="connsiteY210" fmla="*/ 363290 h 364613"/>
                <a:gd name="connsiteX211" fmla="*/ 435256 w 581833"/>
                <a:gd name="connsiteY211" fmla="*/ 351075 h 364613"/>
                <a:gd name="connsiteX212" fmla="*/ 471900 w 581833"/>
                <a:gd name="connsiteY212" fmla="*/ 351075 h 364613"/>
                <a:gd name="connsiteX213" fmla="*/ 459685 w 581833"/>
                <a:gd name="connsiteY213" fmla="*/ 338860 h 364613"/>
                <a:gd name="connsiteX214" fmla="*/ 447470 w 581833"/>
                <a:gd name="connsiteY214" fmla="*/ 351075 h 364613"/>
                <a:gd name="connsiteX215" fmla="*/ 459685 w 581833"/>
                <a:gd name="connsiteY215" fmla="*/ 363290 h 364613"/>
                <a:gd name="connsiteX216" fmla="*/ 471900 w 581833"/>
                <a:gd name="connsiteY216" fmla="*/ 351075 h 364613"/>
                <a:gd name="connsiteX217" fmla="*/ 508545 w 581833"/>
                <a:gd name="connsiteY217" fmla="*/ 351075 h 364613"/>
                <a:gd name="connsiteX218" fmla="*/ 496330 w 581833"/>
                <a:gd name="connsiteY218" fmla="*/ 338860 h 364613"/>
                <a:gd name="connsiteX219" fmla="*/ 484115 w 581833"/>
                <a:gd name="connsiteY219" fmla="*/ 351075 h 364613"/>
                <a:gd name="connsiteX220" fmla="*/ 496330 w 581833"/>
                <a:gd name="connsiteY220" fmla="*/ 363290 h 364613"/>
                <a:gd name="connsiteX221" fmla="*/ 508545 w 581833"/>
                <a:gd name="connsiteY221" fmla="*/ 351075 h 364613"/>
                <a:gd name="connsiteX222" fmla="*/ 545189 w 581833"/>
                <a:gd name="connsiteY222" fmla="*/ 351075 h 364613"/>
                <a:gd name="connsiteX223" fmla="*/ 532974 w 581833"/>
                <a:gd name="connsiteY223" fmla="*/ 338860 h 364613"/>
                <a:gd name="connsiteX224" fmla="*/ 520759 w 581833"/>
                <a:gd name="connsiteY224" fmla="*/ 351075 h 364613"/>
                <a:gd name="connsiteX225" fmla="*/ 532974 w 581833"/>
                <a:gd name="connsiteY225" fmla="*/ 363290 h 364613"/>
                <a:gd name="connsiteX226" fmla="*/ 545189 w 581833"/>
                <a:gd name="connsiteY226" fmla="*/ 351075 h 364613"/>
                <a:gd name="connsiteX227" fmla="*/ 581834 w 581833"/>
                <a:gd name="connsiteY227" fmla="*/ 351075 h 364613"/>
                <a:gd name="connsiteX228" fmla="*/ 569619 w 581833"/>
                <a:gd name="connsiteY228" fmla="*/ 338860 h 364613"/>
                <a:gd name="connsiteX229" fmla="*/ 557404 w 581833"/>
                <a:gd name="connsiteY229" fmla="*/ 351075 h 364613"/>
                <a:gd name="connsiteX230" fmla="*/ 569619 w 581833"/>
                <a:gd name="connsiteY230" fmla="*/ 363290 h 364613"/>
                <a:gd name="connsiteX231" fmla="*/ 581834 w 581833"/>
                <a:gd name="connsiteY231" fmla="*/ 351075 h 36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581833" h="364613">
                  <a:moveTo>
                    <a:pt x="53338" y="22394"/>
                  </a:moveTo>
                  <a:lnTo>
                    <a:pt x="10586" y="22394"/>
                  </a:lnTo>
                  <a:cubicBezTo>
                    <a:pt x="4784" y="22394"/>
                    <a:pt x="0" y="17712"/>
                    <a:pt x="0" y="11808"/>
                  </a:cubicBezTo>
                  <a:cubicBezTo>
                    <a:pt x="0" y="5904"/>
                    <a:pt x="4682" y="1221"/>
                    <a:pt x="10586" y="1221"/>
                  </a:cubicBezTo>
                  <a:lnTo>
                    <a:pt x="53338" y="1221"/>
                  </a:lnTo>
                  <a:cubicBezTo>
                    <a:pt x="59140" y="1221"/>
                    <a:pt x="63924" y="5904"/>
                    <a:pt x="63924" y="11808"/>
                  </a:cubicBezTo>
                  <a:cubicBezTo>
                    <a:pt x="63924" y="17712"/>
                    <a:pt x="59242" y="22394"/>
                    <a:pt x="53338" y="22394"/>
                  </a:cubicBezTo>
                  <a:close/>
                  <a:moveTo>
                    <a:pt x="63924" y="60667"/>
                  </a:moveTo>
                  <a:cubicBezTo>
                    <a:pt x="63924" y="54865"/>
                    <a:pt x="59242" y="50081"/>
                    <a:pt x="53338" y="50081"/>
                  </a:cubicBezTo>
                  <a:lnTo>
                    <a:pt x="10586" y="50081"/>
                  </a:lnTo>
                  <a:cubicBezTo>
                    <a:pt x="4784" y="50081"/>
                    <a:pt x="0" y="54763"/>
                    <a:pt x="0" y="60667"/>
                  </a:cubicBezTo>
                  <a:cubicBezTo>
                    <a:pt x="0" y="66571"/>
                    <a:pt x="4682" y="71253"/>
                    <a:pt x="10586" y="71253"/>
                  </a:cubicBezTo>
                  <a:lnTo>
                    <a:pt x="53338" y="71253"/>
                  </a:lnTo>
                  <a:cubicBezTo>
                    <a:pt x="59140" y="71253"/>
                    <a:pt x="63924" y="66571"/>
                    <a:pt x="63924" y="60667"/>
                  </a:cubicBezTo>
                  <a:close/>
                  <a:moveTo>
                    <a:pt x="63924" y="109527"/>
                  </a:moveTo>
                  <a:cubicBezTo>
                    <a:pt x="63924" y="103724"/>
                    <a:pt x="59242" y="98940"/>
                    <a:pt x="53338" y="98940"/>
                  </a:cubicBezTo>
                  <a:lnTo>
                    <a:pt x="10586" y="98940"/>
                  </a:lnTo>
                  <a:cubicBezTo>
                    <a:pt x="4784" y="98940"/>
                    <a:pt x="0" y="103623"/>
                    <a:pt x="0" y="109527"/>
                  </a:cubicBezTo>
                  <a:cubicBezTo>
                    <a:pt x="0" y="115430"/>
                    <a:pt x="4682" y="120113"/>
                    <a:pt x="10586" y="120113"/>
                  </a:cubicBezTo>
                  <a:lnTo>
                    <a:pt x="53338" y="120113"/>
                  </a:lnTo>
                  <a:cubicBezTo>
                    <a:pt x="59140" y="120113"/>
                    <a:pt x="63924" y="115430"/>
                    <a:pt x="63924" y="109527"/>
                  </a:cubicBezTo>
                  <a:close/>
                  <a:moveTo>
                    <a:pt x="63924" y="158386"/>
                  </a:moveTo>
                  <a:cubicBezTo>
                    <a:pt x="63924" y="152584"/>
                    <a:pt x="59242" y="147800"/>
                    <a:pt x="53338" y="147800"/>
                  </a:cubicBezTo>
                  <a:lnTo>
                    <a:pt x="10586" y="147800"/>
                  </a:lnTo>
                  <a:cubicBezTo>
                    <a:pt x="4784" y="147800"/>
                    <a:pt x="0" y="152482"/>
                    <a:pt x="0" y="158386"/>
                  </a:cubicBezTo>
                  <a:cubicBezTo>
                    <a:pt x="0" y="164290"/>
                    <a:pt x="4682" y="168972"/>
                    <a:pt x="10586" y="168972"/>
                  </a:cubicBezTo>
                  <a:lnTo>
                    <a:pt x="53338" y="168972"/>
                  </a:lnTo>
                  <a:cubicBezTo>
                    <a:pt x="59140" y="168972"/>
                    <a:pt x="63924" y="164290"/>
                    <a:pt x="63924" y="158386"/>
                  </a:cubicBezTo>
                  <a:close/>
                  <a:moveTo>
                    <a:pt x="63924" y="207245"/>
                  </a:moveTo>
                  <a:cubicBezTo>
                    <a:pt x="63924" y="201443"/>
                    <a:pt x="59242" y="196659"/>
                    <a:pt x="53338" y="196659"/>
                  </a:cubicBezTo>
                  <a:lnTo>
                    <a:pt x="10586" y="196659"/>
                  </a:lnTo>
                  <a:cubicBezTo>
                    <a:pt x="4784" y="196659"/>
                    <a:pt x="0" y="201341"/>
                    <a:pt x="0" y="207245"/>
                  </a:cubicBezTo>
                  <a:cubicBezTo>
                    <a:pt x="0" y="213149"/>
                    <a:pt x="4682" y="217831"/>
                    <a:pt x="10586" y="217831"/>
                  </a:cubicBezTo>
                  <a:lnTo>
                    <a:pt x="53338" y="217831"/>
                  </a:lnTo>
                  <a:cubicBezTo>
                    <a:pt x="59140" y="217831"/>
                    <a:pt x="63924" y="213149"/>
                    <a:pt x="63924" y="207245"/>
                  </a:cubicBezTo>
                  <a:close/>
                  <a:moveTo>
                    <a:pt x="63924" y="256105"/>
                  </a:moveTo>
                  <a:cubicBezTo>
                    <a:pt x="63924" y="250302"/>
                    <a:pt x="59242" y="245518"/>
                    <a:pt x="53338" y="245518"/>
                  </a:cubicBezTo>
                  <a:lnTo>
                    <a:pt x="10586" y="245518"/>
                  </a:lnTo>
                  <a:cubicBezTo>
                    <a:pt x="4784" y="245518"/>
                    <a:pt x="0" y="250201"/>
                    <a:pt x="0" y="256105"/>
                  </a:cubicBezTo>
                  <a:cubicBezTo>
                    <a:pt x="0" y="262009"/>
                    <a:pt x="4682" y="266691"/>
                    <a:pt x="10586" y="266691"/>
                  </a:cubicBezTo>
                  <a:lnTo>
                    <a:pt x="53338" y="266691"/>
                  </a:lnTo>
                  <a:cubicBezTo>
                    <a:pt x="59140" y="266691"/>
                    <a:pt x="63924" y="262009"/>
                    <a:pt x="63924" y="256105"/>
                  </a:cubicBezTo>
                  <a:close/>
                  <a:moveTo>
                    <a:pt x="63924" y="304964"/>
                  </a:moveTo>
                  <a:cubicBezTo>
                    <a:pt x="63924" y="299162"/>
                    <a:pt x="59242" y="294378"/>
                    <a:pt x="53338" y="294378"/>
                  </a:cubicBezTo>
                  <a:lnTo>
                    <a:pt x="10586" y="294378"/>
                  </a:lnTo>
                  <a:cubicBezTo>
                    <a:pt x="4784" y="294378"/>
                    <a:pt x="0" y="299060"/>
                    <a:pt x="0" y="304964"/>
                  </a:cubicBezTo>
                  <a:cubicBezTo>
                    <a:pt x="0" y="310868"/>
                    <a:pt x="4682" y="315550"/>
                    <a:pt x="10586" y="315550"/>
                  </a:cubicBezTo>
                  <a:lnTo>
                    <a:pt x="53338" y="315550"/>
                  </a:lnTo>
                  <a:cubicBezTo>
                    <a:pt x="59140" y="315550"/>
                    <a:pt x="63924" y="310868"/>
                    <a:pt x="63924" y="304964"/>
                  </a:cubicBezTo>
                  <a:close/>
                  <a:moveTo>
                    <a:pt x="63924" y="353823"/>
                  </a:moveTo>
                  <a:cubicBezTo>
                    <a:pt x="63924" y="348021"/>
                    <a:pt x="59242" y="343237"/>
                    <a:pt x="53338" y="343237"/>
                  </a:cubicBezTo>
                  <a:lnTo>
                    <a:pt x="10586" y="343237"/>
                  </a:lnTo>
                  <a:cubicBezTo>
                    <a:pt x="4784" y="343237"/>
                    <a:pt x="0" y="347920"/>
                    <a:pt x="0" y="353823"/>
                  </a:cubicBezTo>
                  <a:cubicBezTo>
                    <a:pt x="0" y="359727"/>
                    <a:pt x="4682" y="364410"/>
                    <a:pt x="10586" y="364410"/>
                  </a:cubicBezTo>
                  <a:lnTo>
                    <a:pt x="53338" y="364410"/>
                  </a:lnTo>
                  <a:cubicBezTo>
                    <a:pt x="59140" y="364410"/>
                    <a:pt x="63924" y="359727"/>
                    <a:pt x="63924" y="353823"/>
                  </a:cubicBezTo>
                  <a:close/>
                  <a:moveTo>
                    <a:pt x="223837" y="12011"/>
                  </a:moveTo>
                  <a:cubicBezTo>
                    <a:pt x="223837" y="6209"/>
                    <a:pt x="219155" y="1425"/>
                    <a:pt x="213251" y="1425"/>
                  </a:cubicBezTo>
                  <a:lnTo>
                    <a:pt x="101078" y="1425"/>
                  </a:lnTo>
                  <a:cubicBezTo>
                    <a:pt x="95276" y="1425"/>
                    <a:pt x="90492" y="6107"/>
                    <a:pt x="90492" y="12011"/>
                  </a:cubicBezTo>
                  <a:cubicBezTo>
                    <a:pt x="90492" y="17915"/>
                    <a:pt x="95174" y="22597"/>
                    <a:pt x="101078" y="22597"/>
                  </a:cubicBezTo>
                  <a:lnTo>
                    <a:pt x="213251" y="22597"/>
                  </a:lnTo>
                  <a:cubicBezTo>
                    <a:pt x="219053" y="22597"/>
                    <a:pt x="223837" y="17915"/>
                    <a:pt x="223837" y="12011"/>
                  </a:cubicBezTo>
                  <a:close/>
                  <a:moveTo>
                    <a:pt x="223837" y="60871"/>
                  </a:moveTo>
                  <a:cubicBezTo>
                    <a:pt x="223837" y="55069"/>
                    <a:pt x="219155" y="50284"/>
                    <a:pt x="213251" y="50284"/>
                  </a:cubicBezTo>
                  <a:lnTo>
                    <a:pt x="101078" y="50284"/>
                  </a:lnTo>
                  <a:cubicBezTo>
                    <a:pt x="95276" y="50284"/>
                    <a:pt x="90492" y="54967"/>
                    <a:pt x="90492" y="60871"/>
                  </a:cubicBezTo>
                  <a:cubicBezTo>
                    <a:pt x="90492" y="66774"/>
                    <a:pt x="95174" y="71457"/>
                    <a:pt x="101078" y="71457"/>
                  </a:cubicBezTo>
                  <a:lnTo>
                    <a:pt x="213251" y="71457"/>
                  </a:lnTo>
                  <a:cubicBezTo>
                    <a:pt x="219053" y="71457"/>
                    <a:pt x="223837" y="66774"/>
                    <a:pt x="223837" y="60871"/>
                  </a:cubicBezTo>
                  <a:close/>
                  <a:moveTo>
                    <a:pt x="223837" y="109730"/>
                  </a:moveTo>
                  <a:cubicBezTo>
                    <a:pt x="223837" y="103928"/>
                    <a:pt x="219155" y="99144"/>
                    <a:pt x="213251" y="99144"/>
                  </a:cubicBezTo>
                  <a:lnTo>
                    <a:pt x="101078" y="99144"/>
                  </a:lnTo>
                  <a:cubicBezTo>
                    <a:pt x="95276" y="99144"/>
                    <a:pt x="90492" y="103826"/>
                    <a:pt x="90492" y="109730"/>
                  </a:cubicBezTo>
                  <a:cubicBezTo>
                    <a:pt x="90492" y="115634"/>
                    <a:pt x="95174" y="120316"/>
                    <a:pt x="101078" y="120316"/>
                  </a:cubicBezTo>
                  <a:lnTo>
                    <a:pt x="213251" y="120316"/>
                  </a:lnTo>
                  <a:cubicBezTo>
                    <a:pt x="219053" y="120316"/>
                    <a:pt x="223837" y="115634"/>
                    <a:pt x="223837" y="109730"/>
                  </a:cubicBezTo>
                  <a:close/>
                  <a:moveTo>
                    <a:pt x="223837" y="158590"/>
                  </a:moveTo>
                  <a:cubicBezTo>
                    <a:pt x="223837" y="152787"/>
                    <a:pt x="219155" y="148003"/>
                    <a:pt x="213251" y="148003"/>
                  </a:cubicBezTo>
                  <a:lnTo>
                    <a:pt x="101078" y="148003"/>
                  </a:lnTo>
                  <a:cubicBezTo>
                    <a:pt x="95276" y="148003"/>
                    <a:pt x="90492" y="152686"/>
                    <a:pt x="90492" y="158590"/>
                  </a:cubicBezTo>
                  <a:cubicBezTo>
                    <a:pt x="90492" y="164493"/>
                    <a:pt x="95174" y="169176"/>
                    <a:pt x="101078" y="169176"/>
                  </a:cubicBezTo>
                  <a:lnTo>
                    <a:pt x="213251" y="169176"/>
                  </a:lnTo>
                  <a:cubicBezTo>
                    <a:pt x="219053" y="169176"/>
                    <a:pt x="223837" y="164493"/>
                    <a:pt x="223837" y="158590"/>
                  </a:cubicBezTo>
                  <a:close/>
                  <a:moveTo>
                    <a:pt x="223837" y="207449"/>
                  </a:moveTo>
                  <a:cubicBezTo>
                    <a:pt x="223837" y="201647"/>
                    <a:pt x="219155" y="196863"/>
                    <a:pt x="213251" y="196863"/>
                  </a:cubicBezTo>
                  <a:lnTo>
                    <a:pt x="101078" y="196863"/>
                  </a:lnTo>
                  <a:cubicBezTo>
                    <a:pt x="95276" y="196863"/>
                    <a:pt x="90492" y="201545"/>
                    <a:pt x="90492" y="207449"/>
                  </a:cubicBezTo>
                  <a:cubicBezTo>
                    <a:pt x="90492" y="213353"/>
                    <a:pt x="95174" y="218035"/>
                    <a:pt x="101078" y="218035"/>
                  </a:cubicBezTo>
                  <a:lnTo>
                    <a:pt x="213251" y="218035"/>
                  </a:lnTo>
                  <a:cubicBezTo>
                    <a:pt x="219053" y="218035"/>
                    <a:pt x="223837" y="213353"/>
                    <a:pt x="223837" y="207449"/>
                  </a:cubicBezTo>
                  <a:close/>
                  <a:moveTo>
                    <a:pt x="358098" y="256308"/>
                  </a:moveTo>
                  <a:cubicBezTo>
                    <a:pt x="358098" y="250506"/>
                    <a:pt x="353416" y="245722"/>
                    <a:pt x="347512" y="245722"/>
                  </a:cubicBezTo>
                  <a:lnTo>
                    <a:pt x="235339" y="245722"/>
                  </a:lnTo>
                  <a:cubicBezTo>
                    <a:pt x="229537" y="245722"/>
                    <a:pt x="224753" y="250404"/>
                    <a:pt x="224753" y="256308"/>
                  </a:cubicBezTo>
                  <a:cubicBezTo>
                    <a:pt x="224753" y="262212"/>
                    <a:pt x="229435" y="266894"/>
                    <a:pt x="235339" y="266894"/>
                  </a:cubicBezTo>
                  <a:lnTo>
                    <a:pt x="347512" y="266894"/>
                  </a:lnTo>
                  <a:cubicBezTo>
                    <a:pt x="353314" y="266894"/>
                    <a:pt x="358098" y="262212"/>
                    <a:pt x="358098" y="256308"/>
                  </a:cubicBezTo>
                  <a:close/>
                  <a:moveTo>
                    <a:pt x="358098" y="305168"/>
                  </a:moveTo>
                  <a:cubicBezTo>
                    <a:pt x="358098" y="299365"/>
                    <a:pt x="353416" y="294581"/>
                    <a:pt x="347512" y="294581"/>
                  </a:cubicBezTo>
                  <a:lnTo>
                    <a:pt x="235339" y="294581"/>
                  </a:lnTo>
                  <a:cubicBezTo>
                    <a:pt x="229537" y="294581"/>
                    <a:pt x="224753" y="299264"/>
                    <a:pt x="224753" y="305168"/>
                  </a:cubicBezTo>
                  <a:cubicBezTo>
                    <a:pt x="224753" y="311071"/>
                    <a:pt x="229435" y="315754"/>
                    <a:pt x="235339" y="315754"/>
                  </a:cubicBezTo>
                  <a:lnTo>
                    <a:pt x="347512" y="315754"/>
                  </a:lnTo>
                  <a:cubicBezTo>
                    <a:pt x="353314" y="315754"/>
                    <a:pt x="358098" y="311071"/>
                    <a:pt x="358098" y="305168"/>
                  </a:cubicBezTo>
                  <a:close/>
                  <a:moveTo>
                    <a:pt x="358098" y="354027"/>
                  </a:moveTo>
                  <a:cubicBezTo>
                    <a:pt x="358098" y="348225"/>
                    <a:pt x="353416" y="343441"/>
                    <a:pt x="347512" y="343441"/>
                  </a:cubicBezTo>
                  <a:lnTo>
                    <a:pt x="235339" y="343441"/>
                  </a:lnTo>
                  <a:cubicBezTo>
                    <a:pt x="229537" y="343441"/>
                    <a:pt x="224753" y="348123"/>
                    <a:pt x="224753" y="354027"/>
                  </a:cubicBezTo>
                  <a:cubicBezTo>
                    <a:pt x="224753" y="359931"/>
                    <a:pt x="229435" y="364613"/>
                    <a:pt x="235339" y="364613"/>
                  </a:cubicBezTo>
                  <a:lnTo>
                    <a:pt x="347512" y="364613"/>
                  </a:lnTo>
                  <a:cubicBezTo>
                    <a:pt x="353314" y="364613"/>
                    <a:pt x="358098" y="359931"/>
                    <a:pt x="358098" y="354027"/>
                  </a:cubicBezTo>
                  <a:close/>
                  <a:moveTo>
                    <a:pt x="273205" y="12215"/>
                  </a:moveTo>
                  <a:cubicBezTo>
                    <a:pt x="273205" y="5497"/>
                    <a:pt x="267709" y="0"/>
                    <a:pt x="260991" y="0"/>
                  </a:cubicBezTo>
                  <a:cubicBezTo>
                    <a:pt x="254272" y="0"/>
                    <a:pt x="248776" y="5497"/>
                    <a:pt x="248776" y="12215"/>
                  </a:cubicBezTo>
                  <a:cubicBezTo>
                    <a:pt x="248776" y="18933"/>
                    <a:pt x="254272" y="24430"/>
                    <a:pt x="260991" y="24430"/>
                  </a:cubicBezTo>
                  <a:cubicBezTo>
                    <a:pt x="267709" y="24430"/>
                    <a:pt x="273205" y="18933"/>
                    <a:pt x="273205" y="12215"/>
                  </a:cubicBezTo>
                  <a:close/>
                  <a:moveTo>
                    <a:pt x="309850" y="12215"/>
                  </a:moveTo>
                  <a:cubicBezTo>
                    <a:pt x="309850" y="5497"/>
                    <a:pt x="304353" y="0"/>
                    <a:pt x="297635" y="0"/>
                  </a:cubicBezTo>
                  <a:cubicBezTo>
                    <a:pt x="290917" y="0"/>
                    <a:pt x="285420" y="5497"/>
                    <a:pt x="285420" y="12215"/>
                  </a:cubicBezTo>
                  <a:cubicBezTo>
                    <a:pt x="285420" y="18933"/>
                    <a:pt x="290917" y="24430"/>
                    <a:pt x="297635" y="24430"/>
                  </a:cubicBezTo>
                  <a:cubicBezTo>
                    <a:pt x="304353" y="24430"/>
                    <a:pt x="309850" y="18933"/>
                    <a:pt x="309850" y="12215"/>
                  </a:cubicBezTo>
                  <a:close/>
                  <a:moveTo>
                    <a:pt x="346494" y="12215"/>
                  </a:moveTo>
                  <a:cubicBezTo>
                    <a:pt x="346494" y="5497"/>
                    <a:pt x="340998" y="0"/>
                    <a:pt x="334280" y="0"/>
                  </a:cubicBezTo>
                  <a:cubicBezTo>
                    <a:pt x="327561" y="0"/>
                    <a:pt x="322065" y="5497"/>
                    <a:pt x="322065" y="12215"/>
                  </a:cubicBezTo>
                  <a:cubicBezTo>
                    <a:pt x="322065" y="18933"/>
                    <a:pt x="327561" y="24430"/>
                    <a:pt x="334280" y="24430"/>
                  </a:cubicBezTo>
                  <a:cubicBezTo>
                    <a:pt x="340998" y="24430"/>
                    <a:pt x="346494" y="18933"/>
                    <a:pt x="346494" y="12215"/>
                  </a:cubicBezTo>
                  <a:close/>
                  <a:moveTo>
                    <a:pt x="383139" y="12215"/>
                  </a:moveTo>
                  <a:cubicBezTo>
                    <a:pt x="383139" y="5497"/>
                    <a:pt x="377642" y="0"/>
                    <a:pt x="370924" y="0"/>
                  </a:cubicBezTo>
                  <a:cubicBezTo>
                    <a:pt x="364206" y="0"/>
                    <a:pt x="358709" y="5497"/>
                    <a:pt x="358709" y="12215"/>
                  </a:cubicBezTo>
                  <a:cubicBezTo>
                    <a:pt x="358709" y="18933"/>
                    <a:pt x="364206" y="24430"/>
                    <a:pt x="370924" y="24430"/>
                  </a:cubicBezTo>
                  <a:cubicBezTo>
                    <a:pt x="377642" y="24430"/>
                    <a:pt x="383139" y="18933"/>
                    <a:pt x="383139" y="12215"/>
                  </a:cubicBezTo>
                  <a:close/>
                  <a:moveTo>
                    <a:pt x="419783" y="12215"/>
                  </a:moveTo>
                  <a:cubicBezTo>
                    <a:pt x="419783" y="5497"/>
                    <a:pt x="414287" y="0"/>
                    <a:pt x="407569" y="0"/>
                  </a:cubicBezTo>
                  <a:cubicBezTo>
                    <a:pt x="400850" y="0"/>
                    <a:pt x="395354" y="5497"/>
                    <a:pt x="395354" y="12215"/>
                  </a:cubicBezTo>
                  <a:cubicBezTo>
                    <a:pt x="395354" y="18933"/>
                    <a:pt x="400850" y="24430"/>
                    <a:pt x="407569" y="24430"/>
                  </a:cubicBezTo>
                  <a:cubicBezTo>
                    <a:pt x="414287" y="24430"/>
                    <a:pt x="419783" y="18933"/>
                    <a:pt x="419783" y="12215"/>
                  </a:cubicBezTo>
                  <a:close/>
                  <a:moveTo>
                    <a:pt x="456428" y="12215"/>
                  </a:moveTo>
                  <a:cubicBezTo>
                    <a:pt x="456428" y="5497"/>
                    <a:pt x="450931" y="0"/>
                    <a:pt x="444213" y="0"/>
                  </a:cubicBezTo>
                  <a:cubicBezTo>
                    <a:pt x="437495" y="0"/>
                    <a:pt x="431998" y="5497"/>
                    <a:pt x="431998" y="12215"/>
                  </a:cubicBezTo>
                  <a:cubicBezTo>
                    <a:pt x="431998" y="18933"/>
                    <a:pt x="437495" y="24430"/>
                    <a:pt x="444213" y="24430"/>
                  </a:cubicBezTo>
                  <a:cubicBezTo>
                    <a:pt x="450931" y="24430"/>
                    <a:pt x="456428" y="18933"/>
                    <a:pt x="456428" y="12215"/>
                  </a:cubicBezTo>
                  <a:close/>
                  <a:moveTo>
                    <a:pt x="273307" y="109934"/>
                  </a:moveTo>
                  <a:cubicBezTo>
                    <a:pt x="273307" y="103216"/>
                    <a:pt x="267810" y="97719"/>
                    <a:pt x="261092" y="97719"/>
                  </a:cubicBezTo>
                  <a:cubicBezTo>
                    <a:pt x="254374" y="97719"/>
                    <a:pt x="248877" y="103216"/>
                    <a:pt x="248877" y="109934"/>
                  </a:cubicBezTo>
                  <a:cubicBezTo>
                    <a:pt x="248877" y="116652"/>
                    <a:pt x="254374" y="122148"/>
                    <a:pt x="261092" y="122148"/>
                  </a:cubicBezTo>
                  <a:cubicBezTo>
                    <a:pt x="267810" y="122148"/>
                    <a:pt x="273307" y="116652"/>
                    <a:pt x="273307" y="109934"/>
                  </a:cubicBezTo>
                  <a:close/>
                  <a:moveTo>
                    <a:pt x="309952" y="109934"/>
                  </a:moveTo>
                  <a:cubicBezTo>
                    <a:pt x="309952" y="103216"/>
                    <a:pt x="304455" y="97719"/>
                    <a:pt x="297737" y="97719"/>
                  </a:cubicBezTo>
                  <a:cubicBezTo>
                    <a:pt x="291019" y="97719"/>
                    <a:pt x="285522" y="103216"/>
                    <a:pt x="285522" y="109934"/>
                  </a:cubicBezTo>
                  <a:cubicBezTo>
                    <a:pt x="285522" y="116652"/>
                    <a:pt x="291019" y="122148"/>
                    <a:pt x="297737" y="122148"/>
                  </a:cubicBezTo>
                  <a:cubicBezTo>
                    <a:pt x="304455" y="122148"/>
                    <a:pt x="309952" y="116652"/>
                    <a:pt x="309952" y="109934"/>
                  </a:cubicBezTo>
                  <a:close/>
                  <a:moveTo>
                    <a:pt x="346596" y="109934"/>
                  </a:moveTo>
                  <a:cubicBezTo>
                    <a:pt x="346596" y="103216"/>
                    <a:pt x="341099" y="97719"/>
                    <a:pt x="334381" y="97719"/>
                  </a:cubicBezTo>
                  <a:cubicBezTo>
                    <a:pt x="327663" y="97719"/>
                    <a:pt x="322166" y="103216"/>
                    <a:pt x="322166" y="109934"/>
                  </a:cubicBezTo>
                  <a:cubicBezTo>
                    <a:pt x="322166" y="116652"/>
                    <a:pt x="327663" y="122148"/>
                    <a:pt x="334381" y="122148"/>
                  </a:cubicBezTo>
                  <a:cubicBezTo>
                    <a:pt x="341099" y="122148"/>
                    <a:pt x="346596" y="116652"/>
                    <a:pt x="346596" y="109934"/>
                  </a:cubicBezTo>
                  <a:close/>
                  <a:moveTo>
                    <a:pt x="383241" y="109934"/>
                  </a:moveTo>
                  <a:cubicBezTo>
                    <a:pt x="383241" y="103216"/>
                    <a:pt x="377744" y="97719"/>
                    <a:pt x="371026" y="97719"/>
                  </a:cubicBezTo>
                  <a:cubicBezTo>
                    <a:pt x="364308" y="97719"/>
                    <a:pt x="358811" y="103216"/>
                    <a:pt x="358811" y="109934"/>
                  </a:cubicBezTo>
                  <a:cubicBezTo>
                    <a:pt x="358811" y="116652"/>
                    <a:pt x="364308" y="122148"/>
                    <a:pt x="371026" y="122148"/>
                  </a:cubicBezTo>
                  <a:cubicBezTo>
                    <a:pt x="377744" y="122148"/>
                    <a:pt x="383241" y="116652"/>
                    <a:pt x="383241" y="109934"/>
                  </a:cubicBezTo>
                  <a:close/>
                  <a:moveTo>
                    <a:pt x="419885" y="109934"/>
                  </a:moveTo>
                  <a:cubicBezTo>
                    <a:pt x="419885" y="103216"/>
                    <a:pt x="414389" y="97719"/>
                    <a:pt x="407670" y="97719"/>
                  </a:cubicBezTo>
                  <a:cubicBezTo>
                    <a:pt x="400952" y="97719"/>
                    <a:pt x="395455" y="103216"/>
                    <a:pt x="395455" y="109934"/>
                  </a:cubicBezTo>
                  <a:cubicBezTo>
                    <a:pt x="395455" y="116652"/>
                    <a:pt x="400952" y="122148"/>
                    <a:pt x="407670" y="122148"/>
                  </a:cubicBezTo>
                  <a:cubicBezTo>
                    <a:pt x="414389" y="122148"/>
                    <a:pt x="419885" y="116652"/>
                    <a:pt x="419885" y="109934"/>
                  </a:cubicBezTo>
                  <a:close/>
                  <a:moveTo>
                    <a:pt x="456530" y="109934"/>
                  </a:moveTo>
                  <a:cubicBezTo>
                    <a:pt x="456530" y="103216"/>
                    <a:pt x="451033" y="97719"/>
                    <a:pt x="444315" y="97719"/>
                  </a:cubicBezTo>
                  <a:cubicBezTo>
                    <a:pt x="437597" y="97719"/>
                    <a:pt x="432100" y="103216"/>
                    <a:pt x="432100" y="109934"/>
                  </a:cubicBezTo>
                  <a:cubicBezTo>
                    <a:pt x="432100" y="116652"/>
                    <a:pt x="437597" y="122148"/>
                    <a:pt x="444315" y="122148"/>
                  </a:cubicBezTo>
                  <a:cubicBezTo>
                    <a:pt x="451033" y="122148"/>
                    <a:pt x="456530" y="116652"/>
                    <a:pt x="456530" y="109934"/>
                  </a:cubicBezTo>
                  <a:close/>
                  <a:moveTo>
                    <a:pt x="398509" y="250302"/>
                  </a:moveTo>
                  <a:cubicBezTo>
                    <a:pt x="398509" y="243585"/>
                    <a:pt x="393013" y="238088"/>
                    <a:pt x="386294" y="238088"/>
                  </a:cubicBezTo>
                  <a:cubicBezTo>
                    <a:pt x="379576" y="238088"/>
                    <a:pt x="374080" y="243585"/>
                    <a:pt x="374080" y="250302"/>
                  </a:cubicBezTo>
                  <a:cubicBezTo>
                    <a:pt x="374080" y="257021"/>
                    <a:pt x="379576" y="262517"/>
                    <a:pt x="386294" y="262517"/>
                  </a:cubicBezTo>
                  <a:cubicBezTo>
                    <a:pt x="393013" y="262517"/>
                    <a:pt x="398509" y="257021"/>
                    <a:pt x="398509" y="250302"/>
                  </a:cubicBezTo>
                  <a:close/>
                  <a:moveTo>
                    <a:pt x="435154" y="250302"/>
                  </a:moveTo>
                  <a:cubicBezTo>
                    <a:pt x="435154" y="243585"/>
                    <a:pt x="429657" y="238088"/>
                    <a:pt x="422939" y="238088"/>
                  </a:cubicBezTo>
                  <a:cubicBezTo>
                    <a:pt x="416221" y="238088"/>
                    <a:pt x="410724" y="243585"/>
                    <a:pt x="410724" y="250302"/>
                  </a:cubicBezTo>
                  <a:cubicBezTo>
                    <a:pt x="410724" y="257021"/>
                    <a:pt x="416221" y="262517"/>
                    <a:pt x="422939" y="262517"/>
                  </a:cubicBezTo>
                  <a:cubicBezTo>
                    <a:pt x="429657" y="262517"/>
                    <a:pt x="435154" y="257021"/>
                    <a:pt x="435154" y="250302"/>
                  </a:cubicBezTo>
                  <a:close/>
                  <a:moveTo>
                    <a:pt x="471798" y="250302"/>
                  </a:moveTo>
                  <a:cubicBezTo>
                    <a:pt x="471798" y="243585"/>
                    <a:pt x="466302" y="238088"/>
                    <a:pt x="459583" y="238088"/>
                  </a:cubicBezTo>
                  <a:cubicBezTo>
                    <a:pt x="452865" y="238088"/>
                    <a:pt x="447369" y="243585"/>
                    <a:pt x="447369" y="250302"/>
                  </a:cubicBezTo>
                  <a:cubicBezTo>
                    <a:pt x="447369" y="257021"/>
                    <a:pt x="452865" y="262517"/>
                    <a:pt x="459583" y="262517"/>
                  </a:cubicBezTo>
                  <a:cubicBezTo>
                    <a:pt x="466302" y="262517"/>
                    <a:pt x="471798" y="257021"/>
                    <a:pt x="471798" y="250302"/>
                  </a:cubicBezTo>
                  <a:close/>
                  <a:moveTo>
                    <a:pt x="508443" y="250302"/>
                  </a:moveTo>
                  <a:cubicBezTo>
                    <a:pt x="508443" y="243585"/>
                    <a:pt x="502946" y="238088"/>
                    <a:pt x="496228" y="238088"/>
                  </a:cubicBezTo>
                  <a:cubicBezTo>
                    <a:pt x="489510" y="238088"/>
                    <a:pt x="484013" y="243585"/>
                    <a:pt x="484013" y="250302"/>
                  </a:cubicBezTo>
                  <a:cubicBezTo>
                    <a:pt x="484013" y="257021"/>
                    <a:pt x="489510" y="262517"/>
                    <a:pt x="496228" y="262517"/>
                  </a:cubicBezTo>
                  <a:cubicBezTo>
                    <a:pt x="502946" y="262517"/>
                    <a:pt x="508443" y="257021"/>
                    <a:pt x="508443" y="250302"/>
                  </a:cubicBezTo>
                  <a:close/>
                  <a:moveTo>
                    <a:pt x="545087" y="250302"/>
                  </a:moveTo>
                  <a:cubicBezTo>
                    <a:pt x="545087" y="243585"/>
                    <a:pt x="539591" y="238088"/>
                    <a:pt x="532872" y="238088"/>
                  </a:cubicBezTo>
                  <a:cubicBezTo>
                    <a:pt x="526154" y="238088"/>
                    <a:pt x="520658" y="243585"/>
                    <a:pt x="520658" y="250302"/>
                  </a:cubicBezTo>
                  <a:cubicBezTo>
                    <a:pt x="520658" y="257021"/>
                    <a:pt x="526154" y="262517"/>
                    <a:pt x="532872" y="262517"/>
                  </a:cubicBezTo>
                  <a:cubicBezTo>
                    <a:pt x="539591" y="262517"/>
                    <a:pt x="545087" y="257021"/>
                    <a:pt x="545087" y="250302"/>
                  </a:cubicBezTo>
                  <a:close/>
                  <a:moveTo>
                    <a:pt x="581732" y="250302"/>
                  </a:moveTo>
                  <a:cubicBezTo>
                    <a:pt x="581732" y="243585"/>
                    <a:pt x="576235" y="238088"/>
                    <a:pt x="569517" y="238088"/>
                  </a:cubicBezTo>
                  <a:cubicBezTo>
                    <a:pt x="562799" y="238088"/>
                    <a:pt x="557302" y="243585"/>
                    <a:pt x="557302" y="250302"/>
                  </a:cubicBezTo>
                  <a:cubicBezTo>
                    <a:pt x="557302" y="257021"/>
                    <a:pt x="562799" y="262517"/>
                    <a:pt x="569517" y="262517"/>
                  </a:cubicBezTo>
                  <a:cubicBezTo>
                    <a:pt x="576235" y="262517"/>
                    <a:pt x="581732" y="257021"/>
                    <a:pt x="581732" y="250302"/>
                  </a:cubicBezTo>
                  <a:close/>
                  <a:moveTo>
                    <a:pt x="398611" y="351075"/>
                  </a:moveTo>
                  <a:cubicBezTo>
                    <a:pt x="398611" y="344357"/>
                    <a:pt x="393114" y="338860"/>
                    <a:pt x="386396" y="338860"/>
                  </a:cubicBezTo>
                  <a:cubicBezTo>
                    <a:pt x="379678" y="338860"/>
                    <a:pt x="374181" y="344357"/>
                    <a:pt x="374181" y="351075"/>
                  </a:cubicBezTo>
                  <a:cubicBezTo>
                    <a:pt x="374181" y="357793"/>
                    <a:pt x="379678" y="363290"/>
                    <a:pt x="386396" y="363290"/>
                  </a:cubicBezTo>
                  <a:cubicBezTo>
                    <a:pt x="393114" y="363290"/>
                    <a:pt x="398611" y="357793"/>
                    <a:pt x="398611" y="351075"/>
                  </a:cubicBezTo>
                  <a:close/>
                  <a:moveTo>
                    <a:pt x="435256" y="351075"/>
                  </a:moveTo>
                  <a:cubicBezTo>
                    <a:pt x="435256" y="344357"/>
                    <a:pt x="429759" y="338860"/>
                    <a:pt x="423041" y="338860"/>
                  </a:cubicBezTo>
                  <a:cubicBezTo>
                    <a:pt x="416323" y="338860"/>
                    <a:pt x="410826" y="344357"/>
                    <a:pt x="410826" y="351075"/>
                  </a:cubicBezTo>
                  <a:cubicBezTo>
                    <a:pt x="410826" y="357793"/>
                    <a:pt x="416323" y="363290"/>
                    <a:pt x="423041" y="363290"/>
                  </a:cubicBezTo>
                  <a:cubicBezTo>
                    <a:pt x="429759" y="363290"/>
                    <a:pt x="435256" y="357793"/>
                    <a:pt x="435256" y="351075"/>
                  </a:cubicBezTo>
                  <a:close/>
                  <a:moveTo>
                    <a:pt x="471900" y="351075"/>
                  </a:moveTo>
                  <a:cubicBezTo>
                    <a:pt x="471900" y="344357"/>
                    <a:pt x="466403" y="338860"/>
                    <a:pt x="459685" y="338860"/>
                  </a:cubicBezTo>
                  <a:cubicBezTo>
                    <a:pt x="452967" y="338860"/>
                    <a:pt x="447470" y="344357"/>
                    <a:pt x="447470" y="351075"/>
                  </a:cubicBezTo>
                  <a:cubicBezTo>
                    <a:pt x="447470" y="357793"/>
                    <a:pt x="452967" y="363290"/>
                    <a:pt x="459685" y="363290"/>
                  </a:cubicBezTo>
                  <a:cubicBezTo>
                    <a:pt x="466403" y="363290"/>
                    <a:pt x="471900" y="357793"/>
                    <a:pt x="471900" y="351075"/>
                  </a:cubicBezTo>
                  <a:close/>
                  <a:moveTo>
                    <a:pt x="508545" y="351075"/>
                  </a:moveTo>
                  <a:cubicBezTo>
                    <a:pt x="508545" y="344357"/>
                    <a:pt x="503048" y="338860"/>
                    <a:pt x="496330" y="338860"/>
                  </a:cubicBezTo>
                  <a:cubicBezTo>
                    <a:pt x="489612" y="338860"/>
                    <a:pt x="484115" y="344357"/>
                    <a:pt x="484115" y="351075"/>
                  </a:cubicBezTo>
                  <a:cubicBezTo>
                    <a:pt x="484115" y="357793"/>
                    <a:pt x="489612" y="363290"/>
                    <a:pt x="496330" y="363290"/>
                  </a:cubicBezTo>
                  <a:cubicBezTo>
                    <a:pt x="503048" y="363290"/>
                    <a:pt x="508545" y="357793"/>
                    <a:pt x="508545" y="351075"/>
                  </a:cubicBezTo>
                  <a:close/>
                  <a:moveTo>
                    <a:pt x="545189" y="351075"/>
                  </a:moveTo>
                  <a:cubicBezTo>
                    <a:pt x="545189" y="344357"/>
                    <a:pt x="539692" y="338860"/>
                    <a:pt x="532974" y="338860"/>
                  </a:cubicBezTo>
                  <a:cubicBezTo>
                    <a:pt x="526256" y="338860"/>
                    <a:pt x="520759" y="344357"/>
                    <a:pt x="520759" y="351075"/>
                  </a:cubicBezTo>
                  <a:cubicBezTo>
                    <a:pt x="520759" y="357793"/>
                    <a:pt x="526256" y="363290"/>
                    <a:pt x="532974" y="363290"/>
                  </a:cubicBezTo>
                  <a:cubicBezTo>
                    <a:pt x="539692" y="363290"/>
                    <a:pt x="545189" y="357793"/>
                    <a:pt x="545189" y="351075"/>
                  </a:cubicBezTo>
                  <a:close/>
                  <a:moveTo>
                    <a:pt x="581834" y="351075"/>
                  </a:moveTo>
                  <a:cubicBezTo>
                    <a:pt x="581834" y="344357"/>
                    <a:pt x="576337" y="338860"/>
                    <a:pt x="569619" y="338860"/>
                  </a:cubicBezTo>
                  <a:cubicBezTo>
                    <a:pt x="562901" y="338860"/>
                    <a:pt x="557404" y="344357"/>
                    <a:pt x="557404" y="351075"/>
                  </a:cubicBezTo>
                  <a:cubicBezTo>
                    <a:pt x="557404" y="357793"/>
                    <a:pt x="562901" y="363290"/>
                    <a:pt x="569619" y="363290"/>
                  </a:cubicBezTo>
                  <a:cubicBezTo>
                    <a:pt x="576337" y="363290"/>
                    <a:pt x="581834" y="357793"/>
                    <a:pt x="581834" y="35107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8" name="Полилиния: фигура 1097">
              <a:extLst>
                <a:ext uri="{FF2B5EF4-FFF2-40B4-BE49-F238E27FC236}">
                  <a16:creationId xmlns:a16="http://schemas.microsoft.com/office/drawing/2014/main" id="{C525ECDB-2918-4A8B-A1F1-FC5CD4393EBE}"/>
                </a:ext>
              </a:extLst>
            </p:cNvPr>
            <p:cNvSpPr/>
            <p:nvPr/>
          </p:nvSpPr>
          <p:spPr>
            <a:xfrm>
              <a:off x="8039463" y="4298183"/>
              <a:ext cx="581833" cy="364613"/>
            </a:xfrm>
            <a:custGeom>
              <a:avLst/>
              <a:gdLst>
                <a:gd name="connsiteX0" fmla="*/ 53338 w 581833"/>
                <a:gd name="connsiteY0" fmla="*/ 22394 h 364613"/>
                <a:gd name="connsiteX1" fmla="*/ 10586 w 581833"/>
                <a:gd name="connsiteY1" fmla="*/ 22394 h 364613"/>
                <a:gd name="connsiteX2" fmla="*/ 0 w 581833"/>
                <a:gd name="connsiteY2" fmla="*/ 11808 h 364613"/>
                <a:gd name="connsiteX3" fmla="*/ 10586 w 581833"/>
                <a:gd name="connsiteY3" fmla="*/ 1221 h 364613"/>
                <a:gd name="connsiteX4" fmla="*/ 53338 w 581833"/>
                <a:gd name="connsiteY4" fmla="*/ 1221 h 364613"/>
                <a:gd name="connsiteX5" fmla="*/ 63924 w 581833"/>
                <a:gd name="connsiteY5" fmla="*/ 11808 h 364613"/>
                <a:gd name="connsiteX6" fmla="*/ 53338 w 581833"/>
                <a:gd name="connsiteY6" fmla="*/ 22394 h 364613"/>
                <a:gd name="connsiteX7" fmla="*/ 63924 w 581833"/>
                <a:gd name="connsiteY7" fmla="*/ 60667 h 364613"/>
                <a:gd name="connsiteX8" fmla="*/ 53338 w 581833"/>
                <a:gd name="connsiteY8" fmla="*/ 50081 h 364613"/>
                <a:gd name="connsiteX9" fmla="*/ 10586 w 581833"/>
                <a:gd name="connsiteY9" fmla="*/ 50081 h 364613"/>
                <a:gd name="connsiteX10" fmla="*/ 0 w 581833"/>
                <a:gd name="connsiteY10" fmla="*/ 60667 h 364613"/>
                <a:gd name="connsiteX11" fmla="*/ 10586 w 581833"/>
                <a:gd name="connsiteY11" fmla="*/ 71253 h 364613"/>
                <a:gd name="connsiteX12" fmla="*/ 53338 w 581833"/>
                <a:gd name="connsiteY12" fmla="*/ 71253 h 364613"/>
                <a:gd name="connsiteX13" fmla="*/ 63924 w 581833"/>
                <a:gd name="connsiteY13" fmla="*/ 60667 h 364613"/>
                <a:gd name="connsiteX14" fmla="*/ 63924 w 581833"/>
                <a:gd name="connsiteY14" fmla="*/ 109527 h 364613"/>
                <a:gd name="connsiteX15" fmla="*/ 53338 w 581833"/>
                <a:gd name="connsiteY15" fmla="*/ 98940 h 364613"/>
                <a:gd name="connsiteX16" fmla="*/ 10586 w 581833"/>
                <a:gd name="connsiteY16" fmla="*/ 98940 h 364613"/>
                <a:gd name="connsiteX17" fmla="*/ 0 w 581833"/>
                <a:gd name="connsiteY17" fmla="*/ 109527 h 364613"/>
                <a:gd name="connsiteX18" fmla="*/ 10586 w 581833"/>
                <a:gd name="connsiteY18" fmla="*/ 120112 h 364613"/>
                <a:gd name="connsiteX19" fmla="*/ 53338 w 581833"/>
                <a:gd name="connsiteY19" fmla="*/ 120112 h 364613"/>
                <a:gd name="connsiteX20" fmla="*/ 63924 w 581833"/>
                <a:gd name="connsiteY20" fmla="*/ 109527 h 364613"/>
                <a:gd name="connsiteX21" fmla="*/ 63924 w 581833"/>
                <a:gd name="connsiteY21" fmla="*/ 158386 h 364613"/>
                <a:gd name="connsiteX22" fmla="*/ 53338 w 581833"/>
                <a:gd name="connsiteY22" fmla="*/ 147799 h 364613"/>
                <a:gd name="connsiteX23" fmla="*/ 10586 w 581833"/>
                <a:gd name="connsiteY23" fmla="*/ 147799 h 364613"/>
                <a:gd name="connsiteX24" fmla="*/ 0 w 581833"/>
                <a:gd name="connsiteY24" fmla="*/ 158386 h 364613"/>
                <a:gd name="connsiteX25" fmla="*/ 10586 w 581833"/>
                <a:gd name="connsiteY25" fmla="*/ 168972 h 364613"/>
                <a:gd name="connsiteX26" fmla="*/ 53338 w 581833"/>
                <a:gd name="connsiteY26" fmla="*/ 168972 h 364613"/>
                <a:gd name="connsiteX27" fmla="*/ 63924 w 581833"/>
                <a:gd name="connsiteY27" fmla="*/ 158386 h 364613"/>
                <a:gd name="connsiteX28" fmla="*/ 63924 w 581833"/>
                <a:gd name="connsiteY28" fmla="*/ 207245 h 364613"/>
                <a:gd name="connsiteX29" fmla="*/ 53338 w 581833"/>
                <a:gd name="connsiteY29" fmla="*/ 196659 h 364613"/>
                <a:gd name="connsiteX30" fmla="*/ 10586 w 581833"/>
                <a:gd name="connsiteY30" fmla="*/ 196659 h 364613"/>
                <a:gd name="connsiteX31" fmla="*/ 0 w 581833"/>
                <a:gd name="connsiteY31" fmla="*/ 207245 h 364613"/>
                <a:gd name="connsiteX32" fmla="*/ 10586 w 581833"/>
                <a:gd name="connsiteY32" fmla="*/ 217831 h 364613"/>
                <a:gd name="connsiteX33" fmla="*/ 53338 w 581833"/>
                <a:gd name="connsiteY33" fmla="*/ 217831 h 364613"/>
                <a:gd name="connsiteX34" fmla="*/ 63924 w 581833"/>
                <a:gd name="connsiteY34" fmla="*/ 207245 h 364613"/>
                <a:gd name="connsiteX35" fmla="*/ 63924 w 581833"/>
                <a:gd name="connsiteY35" fmla="*/ 256105 h 364613"/>
                <a:gd name="connsiteX36" fmla="*/ 53338 w 581833"/>
                <a:gd name="connsiteY36" fmla="*/ 245518 h 364613"/>
                <a:gd name="connsiteX37" fmla="*/ 10586 w 581833"/>
                <a:gd name="connsiteY37" fmla="*/ 245518 h 364613"/>
                <a:gd name="connsiteX38" fmla="*/ 0 w 581833"/>
                <a:gd name="connsiteY38" fmla="*/ 256105 h 364613"/>
                <a:gd name="connsiteX39" fmla="*/ 10586 w 581833"/>
                <a:gd name="connsiteY39" fmla="*/ 266691 h 364613"/>
                <a:gd name="connsiteX40" fmla="*/ 53338 w 581833"/>
                <a:gd name="connsiteY40" fmla="*/ 266691 h 364613"/>
                <a:gd name="connsiteX41" fmla="*/ 63924 w 581833"/>
                <a:gd name="connsiteY41" fmla="*/ 256105 h 364613"/>
                <a:gd name="connsiteX42" fmla="*/ 63924 w 581833"/>
                <a:gd name="connsiteY42" fmla="*/ 304964 h 364613"/>
                <a:gd name="connsiteX43" fmla="*/ 53338 w 581833"/>
                <a:gd name="connsiteY43" fmla="*/ 294378 h 364613"/>
                <a:gd name="connsiteX44" fmla="*/ 10586 w 581833"/>
                <a:gd name="connsiteY44" fmla="*/ 294378 h 364613"/>
                <a:gd name="connsiteX45" fmla="*/ 0 w 581833"/>
                <a:gd name="connsiteY45" fmla="*/ 304964 h 364613"/>
                <a:gd name="connsiteX46" fmla="*/ 10586 w 581833"/>
                <a:gd name="connsiteY46" fmla="*/ 315550 h 364613"/>
                <a:gd name="connsiteX47" fmla="*/ 53338 w 581833"/>
                <a:gd name="connsiteY47" fmla="*/ 315550 h 364613"/>
                <a:gd name="connsiteX48" fmla="*/ 63924 w 581833"/>
                <a:gd name="connsiteY48" fmla="*/ 304964 h 364613"/>
                <a:gd name="connsiteX49" fmla="*/ 63924 w 581833"/>
                <a:gd name="connsiteY49" fmla="*/ 353823 h 364613"/>
                <a:gd name="connsiteX50" fmla="*/ 53338 w 581833"/>
                <a:gd name="connsiteY50" fmla="*/ 343237 h 364613"/>
                <a:gd name="connsiteX51" fmla="*/ 10586 w 581833"/>
                <a:gd name="connsiteY51" fmla="*/ 343237 h 364613"/>
                <a:gd name="connsiteX52" fmla="*/ 0 w 581833"/>
                <a:gd name="connsiteY52" fmla="*/ 353823 h 364613"/>
                <a:gd name="connsiteX53" fmla="*/ 10586 w 581833"/>
                <a:gd name="connsiteY53" fmla="*/ 364409 h 364613"/>
                <a:gd name="connsiteX54" fmla="*/ 53338 w 581833"/>
                <a:gd name="connsiteY54" fmla="*/ 364409 h 364613"/>
                <a:gd name="connsiteX55" fmla="*/ 63924 w 581833"/>
                <a:gd name="connsiteY55" fmla="*/ 353823 h 364613"/>
                <a:gd name="connsiteX56" fmla="*/ 223837 w 581833"/>
                <a:gd name="connsiteY56" fmla="*/ 12011 h 364613"/>
                <a:gd name="connsiteX57" fmla="*/ 213251 w 581833"/>
                <a:gd name="connsiteY57" fmla="*/ 1425 h 364613"/>
                <a:gd name="connsiteX58" fmla="*/ 101078 w 581833"/>
                <a:gd name="connsiteY58" fmla="*/ 1425 h 364613"/>
                <a:gd name="connsiteX59" fmla="*/ 90492 w 581833"/>
                <a:gd name="connsiteY59" fmla="*/ 12011 h 364613"/>
                <a:gd name="connsiteX60" fmla="*/ 101078 w 581833"/>
                <a:gd name="connsiteY60" fmla="*/ 22597 h 364613"/>
                <a:gd name="connsiteX61" fmla="*/ 213251 w 581833"/>
                <a:gd name="connsiteY61" fmla="*/ 22597 h 364613"/>
                <a:gd name="connsiteX62" fmla="*/ 223837 w 581833"/>
                <a:gd name="connsiteY62" fmla="*/ 12011 h 364613"/>
                <a:gd name="connsiteX63" fmla="*/ 223837 w 581833"/>
                <a:gd name="connsiteY63" fmla="*/ 60871 h 364613"/>
                <a:gd name="connsiteX64" fmla="*/ 213251 w 581833"/>
                <a:gd name="connsiteY64" fmla="*/ 50284 h 364613"/>
                <a:gd name="connsiteX65" fmla="*/ 101078 w 581833"/>
                <a:gd name="connsiteY65" fmla="*/ 50284 h 364613"/>
                <a:gd name="connsiteX66" fmla="*/ 90492 w 581833"/>
                <a:gd name="connsiteY66" fmla="*/ 60871 h 364613"/>
                <a:gd name="connsiteX67" fmla="*/ 101078 w 581833"/>
                <a:gd name="connsiteY67" fmla="*/ 71457 h 364613"/>
                <a:gd name="connsiteX68" fmla="*/ 213251 w 581833"/>
                <a:gd name="connsiteY68" fmla="*/ 71457 h 364613"/>
                <a:gd name="connsiteX69" fmla="*/ 223837 w 581833"/>
                <a:gd name="connsiteY69" fmla="*/ 60871 h 364613"/>
                <a:gd name="connsiteX70" fmla="*/ 223837 w 581833"/>
                <a:gd name="connsiteY70" fmla="*/ 109730 h 364613"/>
                <a:gd name="connsiteX71" fmla="*/ 213251 w 581833"/>
                <a:gd name="connsiteY71" fmla="*/ 99144 h 364613"/>
                <a:gd name="connsiteX72" fmla="*/ 101078 w 581833"/>
                <a:gd name="connsiteY72" fmla="*/ 99144 h 364613"/>
                <a:gd name="connsiteX73" fmla="*/ 90492 w 581833"/>
                <a:gd name="connsiteY73" fmla="*/ 109730 h 364613"/>
                <a:gd name="connsiteX74" fmla="*/ 101078 w 581833"/>
                <a:gd name="connsiteY74" fmla="*/ 120316 h 364613"/>
                <a:gd name="connsiteX75" fmla="*/ 213251 w 581833"/>
                <a:gd name="connsiteY75" fmla="*/ 120316 h 364613"/>
                <a:gd name="connsiteX76" fmla="*/ 223837 w 581833"/>
                <a:gd name="connsiteY76" fmla="*/ 109730 h 364613"/>
                <a:gd name="connsiteX77" fmla="*/ 223837 w 581833"/>
                <a:gd name="connsiteY77" fmla="*/ 158589 h 364613"/>
                <a:gd name="connsiteX78" fmla="*/ 213251 w 581833"/>
                <a:gd name="connsiteY78" fmla="*/ 148003 h 364613"/>
                <a:gd name="connsiteX79" fmla="*/ 101078 w 581833"/>
                <a:gd name="connsiteY79" fmla="*/ 148003 h 364613"/>
                <a:gd name="connsiteX80" fmla="*/ 90492 w 581833"/>
                <a:gd name="connsiteY80" fmla="*/ 158589 h 364613"/>
                <a:gd name="connsiteX81" fmla="*/ 101078 w 581833"/>
                <a:gd name="connsiteY81" fmla="*/ 169176 h 364613"/>
                <a:gd name="connsiteX82" fmla="*/ 213251 w 581833"/>
                <a:gd name="connsiteY82" fmla="*/ 169176 h 364613"/>
                <a:gd name="connsiteX83" fmla="*/ 223837 w 581833"/>
                <a:gd name="connsiteY83" fmla="*/ 158589 h 364613"/>
                <a:gd name="connsiteX84" fmla="*/ 223837 w 581833"/>
                <a:gd name="connsiteY84" fmla="*/ 207449 h 364613"/>
                <a:gd name="connsiteX85" fmla="*/ 213251 w 581833"/>
                <a:gd name="connsiteY85" fmla="*/ 196863 h 364613"/>
                <a:gd name="connsiteX86" fmla="*/ 101078 w 581833"/>
                <a:gd name="connsiteY86" fmla="*/ 196863 h 364613"/>
                <a:gd name="connsiteX87" fmla="*/ 90492 w 581833"/>
                <a:gd name="connsiteY87" fmla="*/ 207449 h 364613"/>
                <a:gd name="connsiteX88" fmla="*/ 101078 w 581833"/>
                <a:gd name="connsiteY88" fmla="*/ 218035 h 364613"/>
                <a:gd name="connsiteX89" fmla="*/ 213251 w 581833"/>
                <a:gd name="connsiteY89" fmla="*/ 218035 h 364613"/>
                <a:gd name="connsiteX90" fmla="*/ 223837 w 581833"/>
                <a:gd name="connsiteY90" fmla="*/ 207449 h 364613"/>
                <a:gd name="connsiteX91" fmla="*/ 358098 w 581833"/>
                <a:gd name="connsiteY91" fmla="*/ 256308 h 364613"/>
                <a:gd name="connsiteX92" fmla="*/ 347512 w 581833"/>
                <a:gd name="connsiteY92" fmla="*/ 245722 h 364613"/>
                <a:gd name="connsiteX93" fmla="*/ 235339 w 581833"/>
                <a:gd name="connsiteY93" fmla="*/ 245722 h 364613"/>
                <a:gd name="connsiteX94" fmla="*/ 224753 w 581833"/>
                <a:gd name="connsiteY94" fmla="*/ 256308 h 364613"/>
                <a:gd name="connsiteX95" fmla="*/ 235339 w 581833"/>
                <a:gd name="connsiteY95" fmla="*/ 266894 h 364613"/>
                <a:gd name="connsiteX96" fmla="*/ 347512 w 581833"/>
                <a:gd name="connsiteY96" fmla="*/ 266894 h 364613"/>
                <a:gd name="connsiteX97" fmla="*/ 358098 w 581833"/>
                <a:gd name="connsiteY97" fmla="*/ 256308 h 364613"/>
                <a:gd name="connsiteX98" fmla="*/ 358098 w 581833"/>
                <a:gd name="connsiteY98" fmla="*/ 305168 h 364613"/>
                <a:gd name="connsiteX99" fmla="*/ 347512 w 581833"/>
                <a:gd name="connsiteY99" fmla="*/ 294581 h 364613"/>
                <a:gd name="connsiteX100" fmla="*/ 235339 w 581833"/>
                <a:gd name="connsiteY100" fmla="*/ 294581 h 364613"/>
                <a:gd name="connsiteX101" fmla="*/ 224753 w 581833"/>
                <a:gd name="connsiteY101" fmla="*/ 305168 h 364613"/>
                <a:gd name="connsiteX102" fmla="*/ 235339 w 581833"/>
                <a:gd name="connsiteY102" fmla="*/ 315754 h 364613"/>
                <a:gd name="connsiteX103" fmla="*/ 347512 w 581833"/>
                <a:gd name="connsiteY103" fmla="*/ 315754 h 364613"/>
                <a:gd name="connsiteX104" fmla="*/ 358098 w 581833"/>
                <a:gd name="connsiteY104" fmla="*/ 305168 h 364613"/>
                <a:gd name="connsiteX105" fmla="*/ 358098 w 581833"/>
                <a:gd name="connsiteY105" fmla="*/ 354027 h 364613"/>
                <a:gd name="connsiteX106" fmla="*/ 347512 w 581833"/>
                <a:gd name="connsiteY106" fmla="*/ 343441 h 364613"/>
                <a:gd name="connsiteX107" fmla="*/ 235339 w 581833"/>
                <a:gd name="connsiteY107" fmla="*/ 343441 h 364613"/>
                <a:gd name="connsiteX108" fmla="*/ 224753 w 581833"/>
                <a:gd name="connsiteY108" fmla="*/ 354027 h 364613"/>
                <a:gd name="connsiteX109" fmla="*/ 235339 w 581833"/>
                <a:gd name="connsiteY109" fmla="*/ 364613 h 364613"/>
                <a:gd name="connsiteX110" fmla="*/ 347512 w 581833"/>
                <a:gd name="connsiteY110" fmla="*/ 364613 h 364613"/>
                <a:gd name="connsiteX111" fmla="*/ 358098 w 581833"/>
                <a:gd name="connsiteY111" fmla="*/ 354027 h 364613"/>
                <a:gd name="connsiteX112" fmla="*/ 273205 w 581833"/>
                <a:gd name="connsiteY112" fmla="*/ 12215 h 364613"/>
                <a:gd name="connsiteX113" fmla="*/ 260991 w 581833"/>
                <a:gd name="connsiteY113" fmla="*/ 0 h 364613"/>
                <a:gd name="connsiteX114" fmla="*/ 248776 w 581833"/>
                <a:gd name="connsiteY114" fmla="*/ 12215 h 364613"/>
                <a:gd name="connsiteX115" fmla="*/ 260991 w 581833"/>
                <a:gd name="connsiteY115" fmla="*/ 24430 h 364613"/>
                <a:gd name="connsiteX116" fmla="*/ 273205 w 581833"/>
                <a:gd name="connsiteY116" fmla="*/ 12215 h 364613"/>
                <a:gd name="connsiteX117" fmla="*/ 309850 w 581833"/>
                <a:gd name="connsiteY117" fmla="*/ 12215 h 364613"/>
                <a:gd name="connsiteX118" fmla="*/ 297635 w 581833"/>
                <a:gd name="connsiteY118" fmla="*/ 0 h 364613"/>
                <a:gd name="connsiteX119" fmla="*/ 285420 w 581833"/>
                <a:gd name="connsiteY119" fmla="*/ 12215 h 364613"/>
                <a:gd name="connsiteX120" fmla="*/ 297635 w 581833"/>
                <a:gd name="connsiteY120" fmla="*/ 24430 h 364613"/>
                <a:gd name="connsiteX121" fmla="*/ 309850 w 581833"/>
                <a:gd name="connsiteY121" fmla="*/ 12215 h 364613"/>
                <a:gd name="connsiteX122" fmla="*/ 346494 w 581833"/>
                <a:gd name="connsiteY122" fmla="*/ 12215 h 364613"/>
                <a:gd name="connsiteX123" fmla="*/ 334280 w 581833"/>
                <a:gd name="connsiteY123" fmla="*/ 0 h 364613"/>
                <a:gd name="connsiteX124" fmla="*/ 322065 w 581833"/>
                <a:gd name="connsiteY124" fmla="*/ 12215 h 364613"/>
                <a:gd name="connsiteX125" fmla="*/ 334280 w 581833"/>
                <a:gd name="connsiteY125" fmla="*/ 24430 h 364613"/>
                <a:gd name="connsiteX126" fmla="*/ 346494 w 581833"/>
                <a:gd name="connsiteY126" fmla="*/ 12215 h 364613"/>
                <a:gd name="connsiteX127" fmla="*/ 383139 w 581833"/>
                <a:gd name="connsiteY127" fmla="*/ 12215 h 364613"/>
                <a:gd name="connsiteX128" fmla="*/ 370924 w 581833"/>
                <a:gd name="connsiteY128" fmla="*/ 0 h 364613"/>
                <a:gd name="connsiteX129" fmla="*/ 358709 w 581833"/>
                <a:gd name="connsiteY129" fmla="*/ 12215 h 364613"/>
                <a:gd name="connsiteX130" fmla="*/ 370924 w 581833"/>
                <a:gd name="connsiteY130" fmla="*/ 24430 h 364613"/>
                <a:gd name="connsiteX131" fmla="*/ 383139 w 581833"/>
                <a:gd name="connsiteY131" fmla="*/ 12215 h 364613"/>
                <a:gd name="connsiteX132" fmla="*/ 419783 w 581833"/>
                <a:gd name="connsiteY132" fmla="*/ 12215 h 364613"/>
                <a:gd name="connsiteX133" fmla="*/ 407569 w 581833"/>
                <a:gd name="connsiteY133" fmla="*/ 0 h 364613"/>
                <a:gd name="connsiteX134" fmla="*/ 395354 w 581833"/>
                <a:gd name="connsiteY134" fmla="*/ 12215 h 364613"/>
                <a:gd name="connsiteX135" fmla="*/ 407569 w 581833"/>
                <a:gd name="connsiteY135" fmla="*/ 24430 h 364613"/>
                <a:gd name="connsiteX136" fmla="*/ 419783 w 581833"/>
                <a:gd name="connsiteY136" fmla="*/ 12215 h 364613"/>
                <a:gd name="connsiteX137" fmla="*/ 456428 w 581833"/>
                <a:gd name="connsiteY137" fmla="*/ 12215 h 364613"/>
                <a:gd name="connsiteX138" fmla="*/ 444213 w 581833"/>
                <a:gd name="connsiteY138" fmla="*/ 0 h 364613"/>
                <a:gd name="connsiteX139" fmla="*/ 431998 w 581833"/>
                <a:gd name="connsiteY139" fmla="*/ 12215 h 364613"/>
                <a:gd name="connsiteX140" fmla="*/ 444213 w 581833"/>
                <a:gd name="connsiteY140" fmla="*/ 24430 h 364613"/>
                <a:gd name="connsiteX141" fmla="*/ 456428 w 581833"/>
                <a:gd name="connsiteY141" fmla="*/ 12215 h 364613"/>
                <a:gd name="connsiteX142" fmla="*/ 273307 w 581833"/>
                <a:gd name="connsiteY142" fmla="*/ 109933 h 364613"/>
                <a:gd name="connsiteX143" fmla="*/ 261092 w 581833"/>
                <a:gd name="connsiteY143" fmla="*/ 97719 h 364613"/>
                <a:gd name="connsiteX144" fmla="*/ 248877 w 581833"/>
                <a:gd name="connsiteY144" fmla="*/ 109933 h 364613"/>
                <a:gd name="connsiteX145" fmla="*/ 261092 w 581833"/>
                <a:gd name="connsiteY145" fmla="*/ 122148 h 364613"/>
                <a:gd name="connsiteX146" fmla="*/ 273307 w 581833"/>
                <a:gd name="connsiteY146" fmla="*/ 109933 h 364613"/>
                <a:gd name="connsiteX147" fmla="*/ 309952 w 581833"/>
                <a:gd name="connsiteY147" fmla="*/ 109933 h 364613"/>
                <a:gd name="connsiteX148" fmla="*/ 297737 w 581833"/>
                <a:gd name="connsiteY148" fmla="*/ 97719 h 364613"/>
                <a:gd name="connsiteX149" fmla="*/ 285522 w 581833"/>
                <a:gd name="connsiteY149" fmla="*/ 109933 h 364613"/>
                <a:gd name="connsiteX150" fmla="*/ 297737 w 581833"/>
                <a:gd name="connsiteY150" fmla="*/ 122148 h 364613"/>
                <a:gd name="connsiteX151" fmla="*/ 309952 w 581833"/>
                <a:gd name="connsiteY151" fmla="*/ 109933 h 364613"/>
                <a:gd name="connsiteX152" fmla="*/ 346596 w 581833"/>
                <a:gd name="connsiteY152" fmla="*/ 109933 h 364613"/>
                <a:gd name="connsiteX153" fmla="*/ 334381 w 581833"/>
                <a:gd name="connsiteY153" fmla="*/ 97719 h 364613"/>
                <a:gd name="connsiteX154" fmla="*/ 322166 w 581833"/>
                <a:gd name="connsiteY154" fmla="*/ 109933 h 364613"/>
                <a:gd name="connsiteX155" fmla="*/ 334381 w 581833"/>
                <a:gd name="connsiteY155" fmla="*/ 122148 h 364613"/>
                <a:gd name="connsiteX156" fmla="*/ 346596 w 581833"/>
                <a:gd name="connsiteY156" fmla="*/ 109933 h 364613"/>
                <a:gd name="connsiteX157" fmla="*/ 383241 w 581833"/>
                <a:gd name="connsiteY157" fmla="*/ 109933 h 364613"/>
                <a:gd name="connsiteX158" fmla="*/ 371026 w 581833"/>
                <a:gd name="connsiteY158" fmla="*/ 97719 h 364613"/>
                <a:gd name="connsiteX159" fmla="*/ 358811 w 581833"/>
                <a:gd name="connsiteY159" fmla="*/ 109933 h 364613"/>
                <a:gd name="connsiteX160" fmla="*/ 371026 w 581833"/>
                <a:gd name="connsiteY160" fmla="*/ 122148 h 364613"/>
                <a:gd name="connsiteX161" fmla="*/ 383241 w 581833"/>
                <a:gd name="connsiteY161" fmla="*/ 109933 h 364613"/>
                <a:gd name="connsiteX162" fmla="*/ 419885 w 581833"/>
                <a:gd name="connsiteY162" fmla="*/ 109933 h 364613"/>
                <a:gd name="connsiteX163" fmla="*/ 407670 w 581833"/>
                <a:gd name="connsiteY163" fmla="*/ 97719 h 364613"/>
                <a:gd name="connsiteX164" fmla="*/ 395455 w 581833"/>
                <a:gd name="connsiteY164" fmla="*/ 109933 h 364613"/>
                <a:gd name="connsiteX165" fmla="*/ 407670 w 581833"/>
                <a:gd name="connsiteY165" fmla="*/ 122148 h 364613"/>
                <a:gd name="connsiteX166" fmla="*/ 419885 w 581833"/>
                <a:gd name="connsiteY166" fmla="*/ 109933 h 364613"/>
                <a:gd name="connsiteX167" fmla="*/ 456530 w 581833"/>
                <a:gd name="connsiteY167" fmla="*/ 109933 h 364613"/>
                <a:gd name="connsiteX168" fmla="*/ 444315 w 581833"/>
                <a:gd name="connsiteY168" fmla="*/ 97719 h 364613"/>
                <a:gd name="connsiteX169" fmla="*/ 432100 w 581833"/>
                <a:gd name="connsiteY169" fmla="*/ 109933 h 364613"/>
                <a:gd name="connsiteX170" fmla="*/ 444315 w 581833"/>
                <a:gd name="connsiteY170" fmla="*/ 122148 h 364613"/>
                <a:gd name="connsiteX171" fmla="*/ 456530 w 581833"/>
                <a:gd name="connsiteY171" fmla="*/ 109933 h 364613"/>
                <a:gd name="connsiteX172" fmla="*/ 398509 w 581833"/>
                <a:gd name="connsiteY172" fmla="*/ 250302 h 364613"/>
                <a:gd name="connsiteX173" fmla="*/ 386294 w 581833"/>
                <a:gd name="connsiteY173" fmla="*/ 238088 h 364613"/>
                <a:gd name="connsiteX174" fmla="*/ 374080 w 581833"/>
                <a:gd name="connsiteY174" fmla="*/ 250302 h 364613"/>
                <a:gd name="connsiteX175" fmla="*/ 386294 w 581833"/>
                <a:gd name="connsiteY175" fmla="*/ 262517 h 364613"/>
                <a:gd name="connsiteX176" fmla="*/ 398509 w 581833"/>
                <a:gd name="connsiteY176" fmla="*/ 250302 h 364613"/>
                <a:gd name="connsiteX177" fmla="*/ 435154 w 581833"/>
                <a:gd name="connsiteY177" fmla="*/ 250302 h 364613"/>
                <a:gd name="connsiteX178" fmla="*/ 422939 w 581833"/>
                <a:gd name="connsiteY178" fmla="*/ 238088 h 364613"/>
                <a:gd name="connsiteX179" fmla="*/ 410724 w 581833"/>
                <a:gd name="connsiteY179" fmla="*/ 250302 h 364613"/>
                <a:gd name="connsiteX180" fmla="*/ 422939 w 581833"/>
                <a:gd name="connsiteY180" fmla="*/ 262517 h 364613"/>
                <a:gd name="connsiteX181" fmla="*/ 435154 w 581833"/>
                <a:gd name="connsiteY181" fmla="*/ 250302 h 364613"/>
                <a:gd name="connsiteX182" fmla="*/ 471798 w 581833"/>
                <a:gd name="connsiteY182" fmla="*/ 250302 h 364613"/>
                <a:gd name="connsiteX183" fmla="*/ 459583 w 581833"/>
                <a:gd name="connsiteY183" fmla="*/ 238088 h 364613"/>
                <a:gd name="connsiteX184" fmla="*/ 447369 w 581833"/>
                <a:gd name="connsiteY184" fmla="*/ 250302 h 364613"/>
                <a:gd name="connsiteX185" fmla="*/ 459583 w 581833"/>
                <a:gd name="connsiteY185" fmla="*/ 262517 h 364613"/>
                <a:gd name="connsiteX186" fmla="*/ 471798 w 581833"/>
                <a:gd name="connsiteY186" fmla="*/ 250302 h 364613"/>
                <a:gd name="connsiteX187" fmla="*/ 508443 w 581833"/>
                <a:gd name="connsiteY187" fmla="*/ 250302 h 364613"/>
                <a:gd name="connsiteX188" fmla="*/ 496228 w 581833"/>
                <a:gd name="connsiteY188" fmla="*/ 238088 h 364613"/>
                <a:gd name="connsiteX189" fmla="*/ 484013 w 581833"/>
                <a:gd name="connsiteY189" fmla="*/ 250302 h 364613"/>
                <a:gd name="connsiteX190" fmla="*/ 496228 w 581833"/>
                <a:gd name="connsiteY190" fmla="*/ 262517 h 364613"/>
                <a:gd name="connsiteX191" fmla="*/ 508443 w 581833"/>
                <a:gd name="connsiteY191" fmla="*/ 250302 h 364613"/>
                <a:gd name="connsiteX192" fmla="*/ 545087 w 581833"/>
                <a:gd name="connsiteY192" fmla="*/ 250302 h 364613"/>
                <a:gd name="connsiteX193" fmla="*/ 532872 w 581833"/>
                <a:gd name="connsiteY193" fmla="*/ 238088 h 364613"/>
                <a:gd name="connsiteX194" fmla="*/ 520658 w 581833"/>
                <a:gd name="connsiteY194" fmla="*/ 250302 h 364613"/>
                <a:gd name="connsiteX195" fmla="*/ 532872 w 581833"/>
                <a:gd name="connsiteY195" fmla="*/ 262517 h 364613"/>
                <a:gd name="connsiteX196" fmla="*/ 545087 w 581833"/>
                <a:gd name="connsiteY196" fmla="*/ 250302 h 364613"/>
                <a:gd name="connsiteX197" fmla="*/ 581732 w 581833"/>
                <a:gd name="connsiteY197" fmla="*/ 250302 h 364613"/>
                <a:gd name="connsiteX198" fmla="*/ 569517 w 581833"/>
                <a:gd name="connsiteY198" fmla="*/ 238088 h 364613"/>
                <a:gd name="connsiteX199" fmla="*/ 557302 w 581833"/>
                <a:gd name="connsiteY199" fmla="*/ 250302 h 364613"/>
                <a:gd name="connsiteX200" fmla="*/ 569517 w 581833"/>
                <a:gd name="connsiteY200" fmla="*/ 262517 h 364613"/>
                <a:gd name="connsiteX201" fmla="*/ 581732 w 581833"/>
                <a:gd name="connsiteY201" fmla="*/ 250302 h 364613"/>
                <a:gd name="connsiteX202" fmla="*/ 398611 w 581833"/>
                <a:gd name="connsiteY202" fmla="*/ 351075 h 364613"/>
                <a:gd name="connsiteX203" fmla="*/ 386396 w 581833"/>
                <a:gd name="connsiteY203" fmla="*/ 338860 h 364613"/>
                <a:gd name="connsiteX204" fmla="*/ 374181 w 581833"/>
                <a:gd name="connsiteY204" fmla="*/ 351075 h 364613"/>
                <a:gd name="connsiteX205" fmla="*/ 386396 w 581833"/>
                <a:gd name="connsiteY205" fmla="*/ 363290 h 364613"/>
                <a:gd name="connsiteX206" fmla="*/ 398611 w 581833"/>
                <a:gd name="connsiteY206" fmla="*/ 351075 h 364613"/>
                <a:gd name="connsiteX207" fmla="*/ 435256 w 581833"/>
                <a:gd name="connsiteY207" fmla="*/ 351075 h 364613"/>
                <a:gd name="connsiteX208" fmla="*/ 423041 w 581833"/>
                <a:gd name="connsiteY208" fmla="*/ 338860 h 364613"/>
                <a:gd name="connsiteX209" fmla="*/ 410826 w 581833"/>
                <a:gd name="connsiteY209" fmla="*/ 351075 h 364613"/>
                <a:gd name="connsiteX210" fmla="*/ 423041 w 581833"/>
                <a:gd name="connsiteY210" fmla="*/ 363290 h 364613"/>
                <a:gd name="connsiteX211" fmla="*/ 435256 w 581833"/>
                <a:gd name="connsiteY211" fmla="*/ 351075 h 364613"/>
                <a:gd name="connsiteX212" fmla="*/ 471900 w 581833"/>
                <a:gd name="connsiteY212" fmla="*/ 351075 h 364613"/>
                <a:gd name="connsiteX213" fmla="*/ 459685 w 581833"/>
                <a:gd name="connsiteY213" fmla="*/ 338860 h 364613"/>
                <a:gd name="connsiteX214" fmla="*/ 447470 w 581833"/>
                <a:gd name="connsiteY214" fmla="*/ 351075 h 364613"/>
                <a:gd name="connsiteX215" fmla="*/ 459685 w 581833"/>
                <a:gd name="connsiteY215" fmla="*/ 363290 h 364613"/>
                <a:gd name="connsiteX216" fmla="*/ 471900 w 581833"/>
                <a:gd name="connsiteY216" fmla="*/ 351075 h 364613"/>
                <a:gd name="connsiteX217" fmla="*/ 508545 w 581833"/>
                <a:gd name="connsiteY217" fmla="*/ 351075 h 364613"/>
                <a:gd name="connsiteX218" fmla="*/ 496330 w 581833"/>
                <a:gd name="connsiteY218" fmla="*/ 338860 h 364613"/>
                <a:gd name="connsiteX219" fmla="*/ 484115 w 581833"/>
                <a:gd name="connsiteY219" fmla="*/ 351075 h 364613"/>
                <a:gd name="connsiteX220" fmla="*/ 496330 w 581833"/>
                <a:gd name="connsiteY220" fmla="*/ 363290 h 364613"/>
                <a:gd name="connsiteX221" fmla="*/ 508545 w 581833"/>
                <a:gd name="connsiteY221" fmla="*/ 351075 h 364613"/>
                <a:gd name="connsiteX222" fmla="*/ 545189 w 581833"/>
                <a:gd name="connsiteY222" fmla="*/ 351075 h 364613"/>
                <a:gd name="connsiteX223" fmla="*/ 532974 w 581833"/>
                <a:gd name="connsiteY223" fmla="*/ 338860 h 364613"/>
                <a:gd name="connsiteX224" fmla="*/ 520759 w 581833"/>
                <a:gd name="connsiteY224" fmla="*/ 351075 h 364613"/>
                <a:gd name="connsiteX225" fmla="*/ 532974 w 581833"/>
                <a:gd name="connsiteY225" fmla="*/ 363290 h 364613"/>
                <a:gd name="connsiteX226" fmla="*/ 545189 w 581833"/>
                <a:gd name="connsiteY226" fmla="*/ 351075 h 364613"/>
                <a:gd name="connsiteX227" fmla="*/ 581834 w 581833"/>
                <a:gd name="connsiteY227" fmla="*/ 351075 h 364613"/>
                <a:gd name="connsiteX228" fmla="*/ 569619 w 581833"/>
                <a:gd name="connsiteY228" fmla="*/ 338860 h 364613"/>
                <a:gd name="connsiteX229" fmla="*/ 557404 w 581833"/>
                <a:gd name="connsiteY229" fmla="*/ 351075 h 364613"/>
                <a:gd name="connsiteX230" fmla="*/ 569619 w 581833"/>
                <a:gd name="connsiteY230" fmla="*/ 363290 h 364613"/>
                <a:gd name="connsiteX231" fmla="*/ 581834 w 581833"/>
                <a:gd name="connsiteY231" fmla="*/ 351075 h 364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581833" h="364613">
                  <a:moveTo>
                    <a:pt x="53338" y="22394"/>
                  </a:moveTo>
                  <a:lnTo>
                    <a:pt x="10586" y="22394"/>
                  </a:lnTo>
                  <a:cubicBezTo>
                    <a:pt x="4784" y="22394"/>
                    <a:pt x="0" y="17711"/>
                    <a:pt x="0" y="11808"/>
                  </a:cubicBezTo>
                  <a:cubicBezTo>
                    <a:pt x="0" y="5904"/>
                    <a:pt x="4682" y="1221"/>
                    <a:pt x="10586" y="1221"/>
                  </a:cubicBezTo>
                  <a:lnTo>
                    <a:pt x="53338" y="1221"/>
                  </a:lnTo>
                  <a:cubicBezTo>
                    <a:pt x="59140" y="1221"/>
                    <a:pt x="63924" y="5904"/>
                    <a:pt x="63924" y="11808"/>
                  </a:cubicBezTo>
                  <a:cubicBezTo>
                    <a:pt x="63924" y="17711"/>
                    <a:pt x="59242" y="22394"/>
                    <a:pt x="53338" y="22394"/>
                  </a:cubicBezTo>
                  <a:close/>
                  <a:moveTo>
                    <a:pt x="63924" y="60667"/>
                  </a:moveTo>
                  <a:cubicBezTo>
                    <a:pt x="63924" y="54865"/>
                    <a:pt x="59242" y="50081"/>
                    <a:pt x="53338" y="50081"/>
                  </a:cubicBezTo>
                  <a:lnTo>
                    <a:pt x="10586" y="50081"/>
                  </a:lnTo>
                  <a:cubicBezTo>
                    <a:pt x="4784" y="50081"/>
                    <a:pt x="0" y="54763"/>
                    <a:pt x="0" y="60667"/>
                  </a:cubicBezTo>
                  <a:cubicBezTo>
                    <a:pt x="0" y="66571"/>
                    <a:pt x="4682" y="71253"/>
                    <a:pt x="10586" y="71253"/>
                  </a:cubicBezTo>
                  <a:lnTo>
                    <a:pt x="53338" y="71253"/>
                  </a:lnTo>
                  <a:cubicBezTo>
                    <a:pt x="59140" y="71253"/>
                    <a:pt x="63924" y="66571"/>
                    <a:pt x="63924" y="60667"/>
                  </a:cubicBezTo>
                  <a:close/>
                  <a:moveTo>
                    <a:pt x="63924" y="109527"/>
                  </a:moveTo>
                  <a:cubicBezTo>
                    <a:pt x="63924" y="103724"/>
                    <a:pt x="59242" y="98940"/>
                    <a:pt x="53338" y="98940"/>
                  </a:cubicBezTo>
                  <a:lnTo>
                    <a:pt x="10586" y="98940"/>
                  </a:lnTo>
                  <a:cubicBezTo>
                    <a:pt x="4784" y="98940"/>
                    <a:pt x="0" y="103623"/>
                    <a:pt x="0" y="109527"/>
                  </a:cubicBezTo>
                  <a:cubicBezTo>
                    <a:pt x="0" y="115430"/>
                    <a:pt x="4682" y="120112"/>
                    <a:pt x="10586" y="120112"/>
                  </a:cubicBezTo>
                  <a:lnTo>
                    <a:pt x="53338" y="120112"/>
                  </a:lnTo>
                  <a:cubicBezTo>
                    <a:pt x="59140" y="120112"/>
                    <a:pt x="63924" y="115430"/>
                    <a:pt x="63924" y="109527"/>
                  </a:cubicBezTo>
                  <a:close/>
                  <a:moveTo>
                    <a:pt x="63924" y="158386"/>
                  </a:moveTo>
                  <a:cubicBezTo>
                    <a:pt x="63924" y="152584"/>
                    <a:pt x="59242" y="147799"/>
                    <a:pt x="53338" y="147799"/>
                  </a:cubicBezTo>
                  <a:lnTo>
                    <a:pt x="10586" y="147799"/>
                  </a:lnTo>
                  <a:cubicBezTo>
                    <a:pt x="4784" y="147799"/>
                    <a:pt x="0" y="152482"/>
                    <a:pt x="0" y="158386"/>
                  </a:cubicBezTo>
                  <a:cubicBezTo>
                    <a:pt x="0" y="164290"/>
                    <a:pt x="4682" y="168972"/>
                    <a:pt x="10586" y="168972"/>
                  </a:cubicBezTo>
                  <a:lnTo>
                    <a:pt x="53338" y="168972"/>
                  </a:lnTo>
                  <a:cubicBezTo>
                    <a:pt x="59140" y="168972"/>
                    <a:pt x="63924" y="164290"/>
                    <a:pt x="63924" y="158386"/>
                  </a:cubicBezTo>
                  <a:close/>
                  <a:moveTo>
                    <a:pt x="63924" y="207245"/>
                  </a:moveTo>
                  <a:cubicBezTo>
                    <a:pt x="63924" y="201443"/>
                    <a:pt x="59242" y="196659"/>
                    <a:pt x="53338" y="196659"/>
                  </a:cubicBezTo>
                  <a:lnTo>
                    <a:pt x="10586" y="196659"/>
                  </a:lnTo>
                  <a:cubicBezTo>
                    <a:pt x="4784" y="196659"/>
                    <a:pt x="0" y="201341"/>
                    <a:pt x="0" y="207245"/>
                  </a:cubicBezTo>
                  <a:cubicBezTo>
                    <a:pt x="0" y="213149"/>
                    <a:pt x="4682" y="217831"/>
                    <a:pt x="10586" y="217831"/>
                  </a:cubicBezTo>
                  <a:lnTo>
                    <a:pt x="53338" y="217831"/>
                  </a:lnTo>
                  <a:cubicBezTo>
                    <a:pt x="59140" y="217831"/>
                    <a:pt x="63924" y="213149"/>
                    <a:pt x="63924" y="207245"/>
                  </a:cubicBezTo>
                  <a:close/>
                  <a:moveTo>
                    <a:pt x="63924" y="256105"/>
                  </a:moveTo>
                  <a:cubicBezTo>
                    <a:pt x="63924" y="250302"/>
                    <a:pt x="59242" y="245518"/>
                    <a:pt x="53338" y="245518"/>
                  </a:cubicBezTo>
                  <a:lnTo>
                    <a:pt x="10586" y="245518"/>
                  </a:lnTo>
                  <a:cubicBezTo>
                    <a:pt x="4784" y="245518"/>
                    <a:pt x="0" y="250201"/>
                    <a:pt x="0" y="256105"/>
                  </a:cubicBezTo>
                  <a:cubicBezTo>
                    <a:pt x="0" y="262008"/>
                    <a:pt x="4682" y="266691"/>
                    <a:pt x="10586" y="266691"/>
                  </a:cubicBezTo>
                  <a:lnTo>
                    <a:pt x="53338" y="266691"/>
                  </a:lnTo>
                  <a:cubicBezTo>
                    <a:pt x="59140" y="266691"/>
                    <a:pt x="63924" y="262008"/>
                    <a:pt x="63924" y="256105"/>
                  </a:cubicBezTo>
                  <a:close/>
                  <a:moveTo>
                    <a:pt x="63924" y="304964"/>
                  </a:moveTo>
                  <a:cubicBezTo>
                    <a:pt x="63924" y="299162"/>
                    <a:pt x="59242" y="294378"/>
                    <a:pt x="53338" y="294378"/>
                  </a:cubicBezTo>
                  <a:lnTo>
                    <a:pt x="10586" y="294378"/>
                  </a:lnTo>
                  <a:cubicBezTo>
                    <a:pt x="4784" y="294378"/>
                    <a:pt x="0" y="299060"/>
                    <a:pt x="0" y="304964"/>
                  </a:cubicBezTo>
                  <a:cubicBezTo>
                    <a:pt x="0" y="310868"/>
                    <a:pt x="4682" y="315550"/>
                    <a:pt x="10586" y="315550"/>
                  </a:cubicBezTo>
                  <a:lnTo>
                    <a:pt x="53338" y="315550"/>
                  </a:lnTo>
                  <a:cubicBezTo>
                    <a:pt x="59140" y="315550"/>
                    <a:pt x="63924" y="310868"/>
                    <a:pt x="63924" y="304964"/>
                  </a:cubicBezTo>
                  <a:close/>
                  <a:moveTo>
                    <a:pt x="63924" y="353823"/>
                  </a:moveTo>
                  <a:cubicBezTo>
                    <a:pt x="63924" y="348021"/>
                    <a:pt x="59242" y="343237"/>
                    <a:pt x="53338" y="343237"/>
                  </a:cubicBezTo>
                  <a:lnTo>
                    <a:pt x="10586" y="343237"/>
                  </a:lnTo>
                  <a:cubicBezTo>
                    <a:pt x="4784" y="343237"/>
                    <a:pt x="0" y="347919"/>
                    <a:pt x="0" y="353823"/>
                  </a:cubicBezTo>
                  <a:cubicBezTo>
                    <a:pt x="0" y="359727"/>
                    <a:pt x="4682" y="364409"/>
                    <a:pt x="10586" y="364409"/>
                  </a:cubicBezTo>
                  <a:lnTo>
                    <a:pt x="53338" y="364409"/>
                  </a:lnTo>
                  <a:cubicBezTo>
                    <a:pt x="59140" y="364409"/>
                    <a:pt x="63924" y="359727"/>
                    <a:pt x="63924" y="353823"/>
                  </a:cubicBezTo>
                  <a:close/>
                  <a:moveTo>
                    <a:pt x="223837" y="12011"/>
                  </a:moveTo>
                  <a:cubicBezTo>
                    <a:pt x="223837" y="6209"/>
                    <a:pt x="219155" y="1425"/>
                    <a:pt x="213251" y="1425"/>
                  </a:cubicBezTo>
                  <a:lnTo>
                    <a:pt x="101078" y="1425"/>
                  </a:lnTo>
                  <a:cubicBezTo>
                    <a:pt x="95276" y="1425"/>
                    <a:pt x="90492" y="6107"/>
                    <a:pt x="90492" y="12011"/>
                  </a:cubicBezTo>
                  <a:cubicBezTo>
                    <a:pt x="90492" y="17915"/>
                    <a:pt x="95174" y="22597"/>
                    <a:pt x="101078" y="22597"/>
                  </a:cubicBezTo>
                  <a:lnTo>
                    <a:pt x="213251" y="22597"/>
                  </a:lnTo>
                  <a:cubicBezTo>
                    <a:pt x="219053" y="22597"/>
                    <a:pt x="223837" y="17915"/>
                    <a:pt x="223837" y="12011"/>
                  </a:cubicBezTo>
                  <a:close/>
                  <a:moveTo>
                    <a:pt x="223837" y="60871"/>
                  </a:moveTo>
                  <a:cubicBezTo>
                    <a:pt x="223837" y="55069"/>
                    <a:pt x="219155" y="50284"/>
                    <a:pt x="213251" y="50284"/>
                  </a:cubicBezTo>
                  <a:lnTo>
                    <a:pt x="101078" y="50284"/>
                  </a:lnTo>
                  <a:cubicBezTo>
                    <a:pt x="95276" y="50284"/>
                    <a:pt x="90492" y="54967"/>
                    <a:pt x="90492" y="60871"/>
                  </a:cubicBezTo>
                  <a:cubicBezTo>
                    <a:pt x="90492" y="66774"/>
                    <a:pt x="95174" y="71457"/>
                    <a:pt x="101078" y="71457"/>
                  </a:cubicBezTo>
                  <a:lnTo>
                    <a:pt x="213251" y="71457"/>
                  </a:lnTo>
                  <a:cubicBezTo>
                    <a:pt x="219053" y="71457"/>
                    <a:pt x="223837" y="66774"/>
                    <a:pt x="223837" y="60871"/>
                  </a:cubicBezTo>
                  <a:close/>
                  <a:moveTo>
                    <a:pt x="223837" y="109730"/>
                  </a:moveTo>
                  <a:cubicBezTo>
                    <a:pt x="223837" y="103928"/>
                    <a:pt x="219155" y="99144"/>
                    <a:pt x="213251" y="99144"/>
                  </a:cubicBezTo>
                  <a:lnTo>
                    <a:pt x="101078" y="99144"/>
                  </a:lnTo>
                  <a:cubicBezTo>
                    <a:pt x="95276" y="99144"/>
                    <a:pt x="90492" y="103826"/>
                    <a:pt x="90492" y="109730"/>
                  </a:cubicBezTo>
                  <a:cubicBezTo>
                    <a:pt x="90492" y="115634"/>
                    <a:pt x="95174" y="120316"/>
                    <a:pt x="101078" y="120316"/>
                  </a:cubicBezTo>
                  <a:lnTo>
                    <a:pt x="213251" y="120316"/>
                  </a:lnTo>
                  <a:cubicBezTo>
                    <a:pt x="219053" y="120316"/>
                    <a:pt x="223837" y="115634"/>
                    <a:pt x="223837" y="109730"/>
                  </a:cubicBezTo>
                  <a:close/>
                  <a:moveTo>
                    <a:pt x="223837" y="158589"/>
                  </a:moveTo>
                  <a:cubicBezTo>
                    <a:pt x="223837" y="152787"/>
                    <a:pt x="219155" y="148003"/>
                    <a:pt x="213251" y="148003"/>
                  </a:cubicBezTo>
                  <a:lnTo>
                    <a:pt x="101078" y="148003"/>
                  </a:lnTo>
                  <a:cubicBezTo>
                    <a:pt x="95276" y="148003"/>
                    <a:pt x="90492" y="152686"/>
                    <a:pt x="90492" y="158589"/>
                  </a:cubicBezTo>
                  <a:cubicBezTo>
                    <a:pt x="90492" y="164493"/>
                    <a:pt x="95174" y="169176"/>
                    <a:pt x="101078" y="169176"/>
                  </a:cubicBezTo>
                  <a:lnTo>
                    <a:pt x="213251" y="169176"/>
                  </a:lnTo>
                  <a:cubicBezTo>
                    <a:pt x="219053" y="169176"/>
                    <a:pt x="223837" y="164493"/>
                    <a:pt x="223837" y="158589"/>
                  </a:cubicBezTo>
                  <a:close/>
                  <a:moveTo>
                    <a:pt x="223837" y="207449"/>
                  </a:moveTo>
                  <a:cubicBezTo>
                    <a:pt x="223837" y="201647"/>
                    <a:pt x="219155" y="196863"/>
                    <a:pt x="213251" y="196863"/>
                  </a:cubicBezTo>
                  <a:lnTo>
                    <a:pt x="101078" y="196863"/>
                  </a:lnTo>
                  <a:cubicBezTo>
                    <a:pt x="95276" y="196863"/>
                    <a:pt x="90492" y="201545"/>
                    <a:pt x="90492" y="207449"/>
                  </a:cubicBezTo>
                  <a:cubicBezTo>
                    <a:pt x="90492" y="213352"/>
                    <a:pt x="95174" y="218035"/>
                    <a:pt x="101078" y="218035"/>
                  </a:cubicBezTo>
                  <a:lnTo>
                    <a:pt x="213251" y="218035"/>
                  </a:lnTo>
                  <a:cubicBezTo>
                    <a:pt x="219053" y="218035"/>
                    <a:pt x="223837" y="213352"/>
                    <a:pt x="223837" y="207449"/>
                  </a:cubicBezTo>
                  <a:close/>
                  <a:moveTo>
                    <a:pt x="358098" y="256308"/>
                  </a:moveTo>
                  <a:cubicBezTo>
                    <a:pt x="358098" y="250506"/>
                    <a:pt x="353416" y="245722"/>
                    <a:pt x="347512" y="245722"/>
                  </a:cubicBezTo>
                  <a:lnTo>
                    <a:pt x="235339" y="245722"/>
                  </a:lnTo>
                  <a:cubicBezTo>
                    <a:pt x="229537" y="245722"/>
                    <a:pt x="224753" y="250404"/>
                    <a:pt x="224753" y="256308"/>
                  </a:cubicBezTo>
                  <a:cubicBezTo>
                    <a:pt x="224753" y="262212"/>
                    <a:pt x="229435" y="266894"/>
                    <a:pt x="235339" y="266894"/>
                  </a:cubicBezTo>
                  <a:lnTo>
                    <a:pt x="347512" y="266894"/>
                  </a:lnTo>
                  <a:cubicBezTo>
                    <a:pt x="353314" y="266894"/>
                    <a:pt x="358098" y="262212"/>
                    <a:pt x="358098" y="256308"/>
                  </a:cubicBezTo>
                  <a:close/>
                  <a:moveTo>
                    <a:pt x="358098" y="305168"/>
                  </a:moveTo>
                  <a:cubicBezTo>
                    <a:pt x="358098" y="299365"/>
                    <a:pt x="353416" y="294581"/>
                    <a:pt x="347512" y="294581"/>
                  </a:cubicBezTo>
                  <a:lnTo>
                    <a:pt x="235339" y="294581"/>
                  </a:lnTo>
                  <a:cubicBezTo>
                    <a:pt x="229537" y="294581"/>
                    <a:pt x="224753" y="299264"/>
                    <a:pt x="224753" y="305168"/>
                  </a:cubicBezTo>
                  <a:cubicBezTo>
                    <a:pt x="224753" y="311071"/>
                    <a:pt x="229435" y="315754"/>
                    <a:pt x="235339" y="315754"/>
                  </a:cubicBezTo>
                  <a:lnTo>
                    <a:pt x="347512" y="315754"/>
                  </a:lnTo>
                  <a:cubicBezTo>
                    <a:pt x="353314" y="315754"/>
                    <a:pt x="358098" y="311071"/>
                    <a:pt x="358098" y="305168"/>
                  </a:cubicBezTo>
                  <a:close/>
                  <a:moveTo>
                    <a:pt x="358098" y="354027"/>
                  </a:moveTo>
                  <a:cubicBezTo>
                    <a:pt x="358098" y="348225"/>
                    <a:pt x="353416" y="343441"/>
                    <a:pt x="347512" y="343441"/>
                  </a:cubicBezTo>
                  <a:lnTo>
                    <a:pt x="235339" y="343441"/>
                  </a:lnTo>
                  <a:cubicBezTo>
                    <a:pt x="229537" y="343441"/>
                    <a:pt x="224753" y="348123"/>
                    <a:pt x="224753" y="354027"/>
                  </a:cubicBezTo>
                  <a:cubicBezTo>
                    <a:pt x="224753" y="359931"/>
                    <a:pt x="229435" y="364613"/>
                    <a:pt x="235339" y="364613"/>
                  </a:cubicBezTo>
                  <a:lnTo>
                    <a:pt x="347512" y="364613"/>
                  </a:lnTo>
                  <a:cubicBezTo>
                    <a:pt x="353314" y="364613"/>
                    <a:pt x="358098" y="359931"/>
                    <a:pt x="358098" y="354027"/>
                  </a:cubicBezTo>
                  <a:close/>
                  <a:moveTo>
                    <a:pt x="273205" y="12215"/>
                  </a:moveTo>
                  <a:cubicBezTo>
                    <a:pt x="273205" y="5497"/>
                    <a:pt x="267709" y="0"/>
                    <a:pt x="260991" y="0"/>
                  </a:cubicBezTo>
                  <a:cubicBezTo>
                    <a:pt x="254272" y="0"/>
                    <a:pt x="248776" y="5497"/>
                    <a:pt x="248776" y="12215"/>
                  </a:cubicBezTo>
                  <a:cubicBezTo>
                    <a:pt x="248776" y="18933"/>
                    <a:pt x="254272" y="24430"/>
                    <a:pt x="260991" y="24430"/>
                  </a:cubicBezTo>
                  <a:cubicBezTo>
                    <a:pt x="267709" y="24430"/>
                    <a:pt x="273205" y="18933"/>
                    <a:pt x="273205" y="12215"/>
                  </a:cubicBezTo>
                  <a:close/>
                  <a:moveTo>
                    <a:pt x="309850" y="12215"/>
                  </a:moveTo>
                  <a:cubicBezTo>
                    <a:pt x="309850" y="5497"/>
                    <a:pt x="304353" y="0"/>
                    <a:pt x="297635" y="0"/>
                  </a:cubicBezTo>
                  <a:cubicBezTo>
                    <a:pt x="290917" y="0"/>
                    <a:pt x="285420" y="5497"/>
                    <a:pt x="285420" y="12215"/>
                  </a:cubicBezTo>
                  <a:cubicBezTo>
                    <a:pt x="285420" y="18933"/>
                    <a:pt x="290917" y="24430"/>
                    <a:pt x="297635" y="24430"/>
                  </a:cubicBezTo>
                  <a:cubicBezTo>
                    <a:pt x="304353" y="24430"/>
                    <a:pt x="309850" y="18933"/>
                    <a:pt x="309850" y="12215"/>
                  </a:cubicBezTo>
                  <a:close/>
                  <a:moveTo>
                    <a:pt x="346494" y="12215"/>
                  </a:moveTo>
                  <a:cubicBezTo>
                    <a:pt x="346494" y="5497"/>
                    <a:pt x="340998" y="0"/>
                    <a:pt x="334280" y="0"/>
                  </a:cubicBezTo>
                  <a:cubicBezTo>
                    <a:pt x="327561" y="0"/>
                    <a:pt x="322065" y="5497"/>
                    <a:pt x="322065" y="12215"/>
                  </a:cubicBezTo>
                  <a:cubicBezTo>
                    <a:pt x="322065" y="18933"/>
                    <a:pt x="327561" y="24430"/>
                    <a:pt x="334280" y="24430"/>
                  </a:cubicBezTo>
                  <a:cubicBezTo>
                    <a:pt x="340998" y="24430"/>
                    <a:pt x="346494" y="18933"/>
                    <a:pt x="346494" y="12215"/>
                  </a:cubicBezTo>
                  <a:close/>
                  <a:moveTo>
                    <a:pt x="383139" y="12215"/>
                  </a:moveTo>
                  <a:cubicBezTo>
                    <a:pt x="383139" y="5497"/>
                    <a:pt x="377642" y="0"/>
                    <a:pt x="370924" y="0"/>
                  </a:cubicBezTo>
                  <a:cubicBezTo>
                    <a:pt x="364206" y="0"/>
                    <a:pt x="358709" y="5497"/>
                    <a:pt x="358709" y="12215"/>
                  </a:cubicBezTo>
                  <a:cubicBezTo>
                    <a:pt x="358709" y="18933"/>
                    <a:pt x="364206" y="24430"/>
                    <a:pt x="370924" y="24430"/>
                  </a:cubicBezTo>
                  <a:cubicBezTo>
                    <a:pt x="377642" y="24430"/>
                    <a:pt x="383139" y="18933"/>
                    <a:pt x="383139" y="12215"/>
                  </a:cubicBezTo>
                  <a:close/>
                  <a:moveTo>
                    <a:pt x="419783" y="12215"/>
                  </a:moveTo>
                  <a:cubicBezTo>
                    <a:pt x="419783" y="5497"/>
                    <a:pt x="414287" y="0"/>
                    <a:pt x="407569" y="0"/>
                  </a:cubicBezTo>
                  <a:cubicBezTo>
                    <a:pt x="400850" y="0"/>
                    <a:pt x="395354" y="5497"/>
                    <a:pt x="395354" y="12215"/>
                  </a:cubicBezTo>
                  <a:cubicBezTo>
                    <a:pt x="395354" y="18933"/>
                    <a:pt x="400850" y="24430"/>
                    <a:pt x="407569" y="24430"/>
                  </a:cubicBezTo>
                  <a:cubicBezTo>
                    <a:pt x="414287" y="24430"/>
                    <a:pt x="419783" y="18933"/>
                    <a:pt x="419783" y="12215"/>
                  </a:cubicBezTo>
                  <a:close/>
                  <a:moveTo>
                    <a:pt x="456428" y="12215"/>
                  </a:moveTo>
                  <a:cubicBezTo>
                    <a:pt x="456428" y="5497"/>
                    <a:pt x="450931" y="0"/>
                    <a:pt x="444213" y="0"/>
                  </a:cubicBezTo>
                  <a:cubicBezTo>
                    <a:pt x="437495" y="0"/>
                    <a:pt x="431998" y="5497"/>
                    <a:pt x="431998" y="12215"/>
                  </a:cubicBezTo>
                  <a:cubicBezTo>
                    <a:pt x="431998" y="18933"/>
                    <a:pt x="437495" y="24430"/>
                    <a:pt x="444213" y="24430"/>
                  </a:cubicBezTo>
                  <a:cubicBezTo>
                    <a:pt x="450931" y="24430"/>
                    <a:pt x="456428" y="18933"/>
                    <a:pt x="456428" y="12215"/>
                  </a:cubicBezTo>
                  <a:close/>
                  <a:moveTo>
                    <a:pt x="273307" y="109933"/>
                  </a:moveTo>
                  <a:cubicBezTo>
                    <a:pt x="273307" y="103216"/>
                    <a:pt x="267810" y="97719"/>
                    <a:pt x="261092" y="97719"/>
                  </a:cubicBezTo>
                  <a:cubicBezTo>
                    <a:pt x="254374" y="97719"/>
                    <a:pt x="248877" y="103216"/>
                    <a:pt x="248877" y="109933"/>
                  </a:cubicBezTo>
                  <a:cubicBezTo>
                    <a:pt x="248877" y="116652"/>
                    <a:pt x="254374" y="122148"/>
                    <a:pt x="261092" y="122148"/>
                  </a:cubicBezTo>
                  <a:cubicBezTo>
                    <a:pt x="267810" y="122148"/>
                    <a:pt x="273307" y="116652"/>
                    <a:pt x="273307" y="109933"/>
                  </a:cubicBezTo>
                  <a:close/>
                  <a:moveTo>
                    <a:pt x="309952" y="109933"/>
                  </a:moveTo>
                  <a:cubicBezTo>
                    <a:pt x="309952" y="103216"/>
                    <a:pt x="304455" y="97719"/>
                    <a:pt x="297737" y="97719"/>
                  </a:cubicBezTo>
                  <a:cubicBezTo>
                    <a:pt x="291019" y="97719"/>
                    <a:pt x="285522" y="103216"/>
                    <a:pt x="285522" y="109933"/>
                  </a:cubicBezTo>
                  <a:cubicBezTo>
                    <a:pt x="285522" y="116652"/>
                    <a:pt x="291019" y="122148"/>
                    <a:pt x="297737" y="122148"/>
                  </a:cubicBezTo>
                  <a:cubicBezTo>
                    <a:pt x="304455" y="122148"/>
                    <a:pt x="309952" y="116652"/>
                    <a:pt x="309952" y="109933"/>
                  </a:cubicBezTo>
                  <a:close/>
                  <a:moveTo>
                    <a:pt x="346596" y="109933"/>
                  </a:moveTo>
                  <a:cubicBezTo>
                    <a:pt x="346596" y="103216"/>
                    <a:pt x="341099" y="97719"/>
                    <a:pt x="334381" y="97719"/>
                  </a:cubicBezTo>
                  <a:cubicBezTo>
                    <a:pt x="327663" y="97719"/>
                    <a:pt x="322166" y="103216"/>
                    <a:pt x="322166" y="109933"/>
                  </a:cubicBezTo>
                  <a:cubicBezTo>
                    <a:pt x="322166" y="116652"/>
                    <a:pt x="327663" y="122148"/>
                    <a:pt x="334381" y="122148"/>
                  </a:cubicBezTo>
                  <a:cubicBezTo>
                    <a:pt x="341099" y="122148"/>
                    <a:pt x="346596" y="116652"/>
                    <a:pt x="346596" y="109933"/>
                  </a:cubicBezTo>
                  <a:close/>
                  <a:moveTo>
                    <a:pt x="383241" y="109933"/>
                  </a:moveTo>
                  <a:cubicBezTo>
                    <a:pt x="383241" y="103216"/>
                    <a:pt x="377744" y="97719"/>
                    <a:pt x="371026" y="97719"/>
                  </a:cubicBezTo>
                  <a:cubicBezTo>
                    <a:pt x="364308" y="97719"/>
                    <a:pt x="358811" y="103216"/>
                    <a:pt x="358811" y="109933"/>
                  </a:cubicBezTo>
                  <a:cubicBezTo>
                    <a:pt x="358811" y="116652"/>
                    <a:pt x="364308" y="122148"/>
                    <a:pt x="371026" y="122148"/>
                  </a:cubicBezTo>
                  <a:cubicBezTo>
                    <a:pt x="377744" y="122148"/>
                    <a:pt x="383241" y="116652"/>
                    <a:pt x="383241" y="109933"/>
                  </a:cubicBezTo>
                  <a:close/>
                  <a:moveTo>
                    <a:pt x="419885" y="109933"/>
                  </a:moveTo>
                  <a:cubicBezTo>
                    <a:pt x="419885" y="103216"/>
                    <a:pt x="414389" y="97719"/>
                    <a:pt x="407670" y="97719"/>
                  </a:cubicBezTo>
                  <a:cubicBezTo>
                    <a:pt x="400952" y="97719"/>
                    <a:pt x="395455" y="103216"/>
                    <a:pt x="395455" y="109933"/>
                  </a:cubicBezTo>
                  <a:cubicBezTo>
                    <a:pt x="395455" y="116652"/>
                    <a:pt x="400952" y="122148"/>
                    <a:pt x="407670" y="122148"/>
                  </a:cubicBezTo>
                  <a:cubicBezTo>
                    <a:pt x="414389" y="122148"/>
                    <a:pt x="419885" y="116652"/>
                    <a:pt x="419885" y="109933"/>
                  </a:cubicBezTo>
                  <a:close/>
                  <a:moveTo>
                    <a:pt x="456530" y="109933"/>
                  </a:moveTo>
                  <a:cubicBezTo>
                    <a:pt x="456530" y="103216"/>
                    <a:pt x="451033" y="97719"/>
                    <a:pt x="444315" y="97719"/>
                  </a:cubicBezTo>
                  <a:cubicBezTo>
                    <a:pt x="437597" y="97719"/>
                    <a:pt x="432100" y="103216"/>
                    <a:pt x="432100" y="109933"/>
                  </a:cubicBezTo>
                  <a:cubicBezTo>
                    <a:pt x="432100" y="116652"/>
                    <a:pt x="437597" y="122148"/>
                    <a:pt x="444315" y="122148"/>
                  </a:cubicBezTo>
                  <a:cubicBezTo>
                    <a:pt x="451033" y="122148"/>
                    <a:pt x="456530" y="116652"/>
                    <a:pt x="456530" y="109933"/>
                  </a:cubicBezTo>
                  <a:close/>
                  <a:moveTo>
                    <a:pt x="398509" y="250302"/>
                  </a:moveTo>
                  <a:cubicBezTo>
                    <a:pt x="398509" y="243584"/>
                    <a:pt x="393013" y="238088"/>
                    <a:pt x="386294" y="238088"/>
                  </a:cubicBezTo>
                  <a:cubicBezTo>
                    <a:pt x="379576" y="238088"/>
                    <a:pt x="374080" y="243584"/>
                    <a:pt x="374080" y="250302"/>
                  </a:cubicBezTo>
                  <a:cubicBezTo>
                    <a:pt x="374080" y="257021"/>
                    <a:pt x="379576" y="262517"/>
                    <a:pt x="386294" y="262517"/>
                  </a:cubicBezTo>
                  <a:cubicBezTo>
                    <a:pt x="393013" y="262517"/>
                    <a:pt x="398509" y="257021"/>
                    <a:pt x="398509" y="250302"/>
                  </a:cubicBezTo>
                  <a:close/>
                  <a:moveTo>
                    <a:pt x="435154" y="250302"/>
                  </a:moveTo>
                  <a:cubicBezTo>
                    <a:pt x="435154" y="243584"/>
                    <a:pt x="429657" y="238088"/>
                    <a:pt x="422939" y="238088"/>
                  </a:cubicBezTo>
                  <a:cubicBezTo>
                    <a:pt x="416221" y="238088"/>
                    <a:pt x="410724" y="243584"/>
                    <a:pt x="410724" y="250302"/>
                  </a:cubicBezTo>
                  <a:cubicBezTo>
                    <a:pt x="410724" y="257021"/>
                    <a:pt x="416221" y="262517"/>
                    <a:pt x="422939" y="262517"/>
                  </a:cubicBezTo>
                  <a:cubicBezTo>
                    <a:pt x="429657" y="262517"/>
                    <a:pt x="435154" y="257021"/>
                    <a:pt x="435154" y="250302"/>
                  </a:cubicBezTo>
                  <a:close/>
                  <a:moveTo>
                    <a:pt x="471798" y="250302"/>
                  </a:moveTo>
                  <a:cubicBezTo>
                    <a:pt x="471798" y="243584"/>
                    <a:pt x="466302" y="238088"/>
                    <a:pt x="459583" y="238088"/>
                  </a:cubicBezTo>
                  <a:cubicBezTo>
                    <a:pt x="452865" y="238088"/>
                    <a:pt x="447369" y="243584"/>
                    <a:pt x="447369" y="250302"/>
                  </a:cubicBezTo>
                  <a:cubicBezTo>
                    <a:pt x="447369" y="257021"/>
                    <a:pt x="452865" y="262517"/>
                    <a:pt x="459583" y="262517"/>
                  </a:cubicBezTo>
                  <a:cubicBezTo>
                    <a:pt x="466302" y="262517"/>
                    <a:pt x="471798" y="257021"/>
                    <a:pt x="471798" y="250302"/>
                  </a:cubicBezTo>
                  <a:close/>
                  <a:moveTo>
                    <a:pt x="508443" y="250302"/>
                  </a:moveTo>
                  <a:cubicBezTo>
                    <a:pt x="508443" y="243584"/>
                    <a:pt x="502946" y="238088"/>
                    <a:pt x="496228" y="238088"/>
                  </a:cubicBezTo>
                  <a:cubicBezTo>
                    <a:pt x="489510" y="238088"/>
                    <a:pt x="484013" y="243584"/>
                    <a:pt x="484013" y="250302"/>
                  </a:cubicBezTo>
                  <a:cubicBezTo>
                    <a:pt x="484013" y="257021"/>
                    <a:pt x="489510" y="262517"/>
                    <a:pt x="496228" y="262517"/>
                  </a:cubicBezTo>
                  <a:cubicBezTo>
                    <a:pt x="502946" y="262517"/>
                    <a:pt x="508443" y="257021"/>
                    <a:pt x="508443" y="250302"/>
                  </a:cubicBezTo>
                  <a:close/>
                  <a:moveTo>
                    <a:pt x="545087" y="250302"/>
                  </a:moveTo>
                  <a:cubicBezTo>
                    <a:pt x="545087" y="243584"/>
                    <a:pt x="539591" y="238088"/>
                    <a:pt x="532872" y="238088"/>
                  </a:cubicBezTo>
                  <a:cubicBezTo>
                    <a:pt x="526154" y="238088"/>
                    <a:pt x="520658" y="243584"/>
                    <a:pt x="520658" y="250302"/>
                  </a:cubicBezTo>
                  <a:cubicBezTo>
                    <a:pt x="520658" y="257021"/>
                    <a:pt x="526154" y="262517"/>
                    <a:pt x="532872" y="262517"/>
                  </a:cubicBezTo>
                  <a:cubicBezTo>
                    <a:pt x="539591" y="262517"/>
                    <a:pt x="545087" y="257021"/>
                    <a:pt x="545087" y="250302"/>
                  </a:cubicBezTo>
                  <a:close/>
                  <a:moveTo>
                    <a:pt x="581732" y="250302"/>
                  </a:moveTo>
                  <a:cubicBezTo>
                    <a:pt x="581732" y="243584"/>
                    <a:pt x="576235" y="238088"/>
                    <a:pt x="569517" y="238088"/>
                  </a:cubicBezTo>
                  <a:cubicBezTo>
                    <a:pt x="562799" y="238088"/>
                    <a:pt x="557302" y="243584"/>
                    <a:pt x="557302" y="250302"/>
                  </a:cubicBezTo>
                  <a:cubicBezTo>
                    <a:pt x="557302" y="257021"/>
                    <a:pt x="562799" y="262517"/>
                    <a:pt x="569517" y="262517"/>
                  </a:cubicBezTo>
                  <a:cubicBezTo>
                    <a:pt x="576235" y="262517"/>
                    <a:pt x="581732" y="257021"/>
                    <a:pt x="581732" y="250302"/>
                  </a:cubicBezTo>
                  <a:close/>
                  <a:moveTo>
                    <a:pt x="398611" y="351075"/>
                  </a:moveTo>
                  <a:cubicBezTo>
                    <a:pt x="398611" y="344357"/>
                    <a:pt x="393114" y="338860"/>
                    <a:pt x="386396" y="338860"/>
                  </a:cubicBezTo>
                  <a:cubicBezTo>
                    <a:pt x="379678" y="338860"/>
                    <a:pt x="374181" y="344357"/>
                    <a:pt x="374181" y="351075"/>
                  </a:cubicBezTo>
                  <a:cubicBezTo>
                    <a:pt x="374181" y="357793"/>
                    <a:pt x="379678" y="363290"/>
                    <a:pt x="386396" y="363290"/>
                  </a:cubicBezTo>
                  <a:cubicBezTo>
                    <a:pt x="393114" y="363290"/>
                    <a:pt x="398611" y="357793"/>
                    <a:pt x="398611" y="351075"/>
                  </a:cubicBezTo>
                  <a:close/>
                  <a:moveTo>
                    <a:pt x="435256" y="351075"/>
                  </a:moveTo>
                  <a:cubicBezTo>
                    <a:pt x="435256" y="344357"/>
                    <a:pt x="429759" y="338860"/>
                    <a:pt x="423041" y="338860"/>
                  </a:cubicBezTo>
                  <a:cubicBezTo>
                    <a:pt x="416323" y="338860"/>
                    <a:pt x="410826" y="344357"/>
                    <a:pt x="410826" y="351075"/>
                  </a:cubicBezTo>
                  <a:cubicBezTo>
                    <a:pt x="410826" y="357793"/>
                    <a:pt x="416323" y="363290"/>
                    <a:pt x="423041" y="363290"/>
                  </a:cubicBezTo>
                  <a:cubicBezTo>
                    <a:pt x="429759" y="363290"/>
                    <a:pt x="435256" y="357793"/>
                    <a:pt x="435256" y="351075"/>
                  </a:cubicBezTo>
                  <a:close/>
                  <a:moveTo>
                    <a:pt x="471900" y="351075"/>
                  </a:moveTo>
                  <a:cubicBezTo>
                    <a:pt x="471900" y="344357"/>
                    <a:pt x="466403" y="338860"/>
                    <a:pt x="459685" y="338860"/>
                  </a:cubicBezTo>
                  <a:cubicBezTo>
                    <a:pt x="452967" y="338860"/>
                    <a:pt x="447470" y="344357"/>
                    <a:pt x="447470" y="351075"/>
                  </a:cubicBezTo>
                  <a:cubicBezTo>
                    <a:pt x="447470" y="357793"/>
                    <a:pt x="452967" y="363290"/>
                    <a:pt x="459685" y="363290"/>
                  </a:cubicBezTo>
                  <a:cubicBezTo>
                    <a:pt x="466403" y="363290"/>
                    <a:pt x="471900" y="357793"/>
                    <a:pt x="471900" y="351075"/>
                  </a:cubicBezTo>
                  <a:close/>
                  <a:moveTo>
                    <a:pt x="508545" y="351075"/>
                  </a:moveTo>
                  <a:cubicBezTo>
                    <a:pt x="508545" y="344357"/>
                    <a:pt x="503048" y="338860"/>
                    <a:pt x="496330" y="338860"/>
                  </a:cubicBezTo>
                  <a:cubicBezTo>
                    <a:pt x="489612" y="338860"/>
                    <a:pt x="484115" y="344357"/>
                    <a:pt x="484115" y="351075"/>
                  </a:cubicBezTo>
                  <a:cubicBezTo>
                    <a:pt x="484115" y="357793"/>
                    <a:pt x="489612" y="363290"/>
                    <a:pt x="496330" y="363290"/>
                  </a:cubicBezTo>
                  <a:cubicBezTo>
                    <a:pt x="503048" y="363290"/>
                    <a:pt x="508545" y="357793"/>
                    <a:pt x="508545" y="351075"/>
                  </a:cubicBezTo>
                  <a:close/>
                  <a:moveTo>
                    <a:pt x="545189" y="351075"/>
                  </a:moveTo>
                  <a:cubicBezTo>
                    <a:pt x="545189" y="344357"/>
                    <a:pt x="539692" y="338860"/>
                    <a:pt x="532974" y="338860"/>
                  </a:cubicBezTo>
                  <a:cubicBezTo>
                    <a:pt x="526256" y="338860"/>
                    <a:pt x="520759" y="344357"/>
                    <a:pt x="520759" y="351075"/>
                  </a:cubicBezTo>
                  <a:cubicBezTo>
                    <a:pt x="520759" y="357793"/>
                    <a:pt x="526256" y="363290"/>
                    <a:pt x="532974" y="363290"/>
                  </a:cubicBezTo>
                  <a:cubicBezTo>
                    <a:pt x="539692" y="363290"/>
                    <a:pt x="545189" y="357793"/>
                    <a:pt x="545189" y="351075"/>
                  </a:cubicBezTo>
                  <a:close/>
                  <a:moveTo>
                    <a:pt x="581834" y="351075"/>
                  </a:moveTo>
                  <a:cubicBezTo>
                    <a:pt x="581834" y="344357"/>
                    <a:pt x="576337" y="338860"/>
                    <a:pt x="569619" y="338860"/>
                  </a:cubicBezTo>
                  <a:cubicBezTo>
                    <a:pt x="562901" y="338860"/>
                    <a:pt x="557404" y="344357"/>
                    <a:pt x="557404" y="351075"/>
                  </a:cubicBezTo>
                  <a:cubicBezTo>
                    <a:pt x="557404" y="357793"/>
                    <a:pt x="562901" y="363290"/>
                    <a:pt x="569619" y="363290"/>
                  </a:cubicBezTo>
                  <a:cubicBezTo>
                    <a:pt x="576337" y="363290"/>
                    <a:pt x="581834" y="357793"/>
                    <a:pt x="581834" y="35107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00" name="Полилиния: фигура 1099">
            <a:extLst>
              <a:ext uri="{FF2B5EF4-FFF2-40B4-BE49-F238E27FC236}">
                <a16:creationId xmlns:a16="http://schemas.microsoft.com/office/drawing/2014/main" id="{DA7A1C54-E28F-4F91-9F10-74420948E69D}"/>
              </a:ext>
            </a:extLst>
          </p:cNvPr>
          <p:cNvSpPr/>
          <p:nvPr/>
        </p:nvSpPr>
        <p:spPr>
          <a:xfrm>
            <a:off x="7424141" y="3671724"/>
            <a:ext cx="1032561" cy="129884"/>
          </a:xfrm>
          <a:custGeom>
            <a:avLst/>
            <a:gdLst>
              <a:gd name="connsiteX0" fmla="*/ 0 w 1032561"/>
              <a:gd name="connsiteY0" fmla="*/ 0 h 129884"/>
              <a:gd name="connsiteX1" fmla="*/ 1032561 w 1032561"/>
              <a:gd name="connsiteY1" fmla="*/ 0 h 129884"/>
              <a:gd name="connsiteX2" fmla="*/ 1032561 w 1032561"/>
              <a:gd name="connsiteY2" fmla="*/ 129885 h 129884"/>
              <a:gd name="connsiteX3" fmla="*/ 0 w 1032561"/>
              <a:gd name="connsiteY3" fmla="*/ 129885 h 12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561" h="129884">
                <a:moveTo>
                  <a:pt x="0" y="0"/>
                </a:moveTo>
                <a:lnTo>
                  <a:pt x="1032561" y="0"/>
                </a:lnTo>
                <a:lnTo>
                  <a:pt x="1032561" y="129885"/>
                </a:lnTo>
                <a:lnTo>
                  <a:pt x="0" y="129885"/>
                </a:lnTo>
                <a:close/>
              </a:path>
            </a:pathLst>
          </a:custGeom>
          <a:noFill/>
          <a:ln w="10166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01" name="Полилиния: фигура 1100">
            <a:extLst>
              <a:ext uri="{FF2B5EF4-FFF2-40B4-BE49-F238E27FC236}">
                <a16:creationId xmlns:a16="http://schemas.microsoft.com/office/drawing/2014/main" id="{CE222B03-370E-44A4-A5AD-8E9F2CCF0524}"/>
              </a:ext>
            </a:extLst>
          </p:cNvPr>
          <p:cNvSpPr/>
          <p:nvPr/>
        </p:nvSpPr>
        <p:spPr>
          <a:xfrm>
            <a:off x="7424141" y="3671724"/>
            <a:ext cx="516280" cy="129884"/>
          </a:xfrm>
          <a:custGeom>
            <a:avLst/>
            <a:gdLst>
              <a:gd name="connsiteX0" fmla="*/ 0 w 516280"/>
              <a:gd name="connsiteY0" fmla="*/ 0 h 129884"/>
              <a:gd name="connsiteX1" fmla="*/ 516281 w 516280"/>
              <a:gd name="connsiteY1" fmla="*/ 0 h 129884"/>
              <a:gd name="connsiteX2" fmla="*/ 516281 w 516280"/>
              <a:gd name="connsiteY2" fmla="*/ 129885 h 129884"/>
              <a:gd name="connsiteX3" fmla="*/ 0 w 516280"/>
              <a:gd name="connsiteY3" fmla="*/ 129885 h 12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6280" h="129884">
                <a:moveTo>
                  <a:pt x="0" y="0"/>
                </a:moveTo>
                <a:lnTo>
                  <a:pt x="516281" y="0"/>
                </a:lnTo>
                <a:lnTo>
                  <a:pt x="516281" y="129885"/>
                </a:lnTo>
                <a:lnTo>
                  <a:pt x="0" y="129885"/>
                </a:lnTo>
                <a:close/>
              </a:path>
            </a:pathLst>
          </a:custGeom>
          <a:solidFill>
            <a:schemeClr val="accent2"/>
          </a:solidFill>
          <a:ln w="10166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102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7847080" y="3512320"/>
            <a:ext cx="198592" cy="101892"/>
            <a:chOff x="7847080" y="3436120"/>
            <a:chExt cx="198592" cy="101892"/>
          </a:xfrm>
          <a:solidFill>
            <a:srgbClr val="263238"/>
          </a:solidFill>
        </p:grpSpPr>
        <p:sp>
          <p:nvSpPr>
            <p:cNvPr id="1103" name="Полилиния: фигура 1102">
              <a:extLst>
                <a:ext uri="{FF2B5EF4-FFF2-40B4-BE49-F238E27FC236}">
                  <a16:creationId xmlns:a16="http://schemas.microsoft.com/office/drawing/2014/main" id="{9BE7CBA3-B054-4A89-BE3A-3E416D43288F}"/>
                </a:ext>
              </a:extLst>
            </p:cNvPr>
            <p:cNvSpPr/>
            <p:nvPr/>
          </p:nvSpPr>
          <p:spPr>
            <a:xfrm>
              <a:off x="7847080" y="3437749"/>
              <a:ext cx="44991" cy="100161"/>
            </a:xfrm>
            <a:custGeom>
              <a:avLst/>
              <a:gdLst>
                <a:gd name="connsiteX0" fmla="*/ 21987 w 44991"/>
                <a:gd name="connsiteY0" fmla="*/ 100162 h 100161"/>
                <a:gd name="connsiteX1" fmla="*/ 9263 w 44991"/>
                <a:gd name="connsiteY1" fmla="*/ 97108 h 100161"/>
                <a:gd name="connsiteX2" fmla="*/ 2239 w 44991"/>
                <a:gd name="connsiteY2" fmla="*/ 88049 h 100161"/>
                <a:gd name="connsiteX3" fmla="*/ 0 w 44991"/>
                <a:gd name="connsiteY3" fmla="*/ 73493 h 100161"/>
                <a:gd name="connsiteX4" fmla="*/ 8958 w 44991"/>
                <a:gd name="connsiteY4" fmla="*/ 73493 h 100161"/>
                <a:gd name="connsiteX5" fmla="*/ 10077 w 44991"/>
                <a:gd name="connsiteY5" fmla="*/ 83875 h 100161"/>
                <a:gd name="connsiteX6" fmla="*/ 14251 w 44991"/>
                <a:gd name="connsiteY6" fmla="*/ 90695 h 100161"/>
                <a:gd name="connsiteX7" fmla="*/ 22394 w 44991"/>
                <a:gd name="connsiteY7" fmla="*/ 93037 h 100161"/>
                <a:gd name="connsiteX8" fmla="*/ 30944 w 44991"/>
                <a:gd name="connsiteY8" fmla="*/ 90085 h 100161"/>
                <a:gd name="connsiteX9" fmla="*/ 35016 w 44991"/>
                <a:gd name="connsiteY9" fmla="*/ 81534 h 100161"/>
                <a:gd name="connsiteX10" fmla="*/ 36136 w 44991"/>
                <a:gd name="connsiteY10" fmla="*/ 67691 h 100161"/>
                <a:gd name="connsiteX11" fmla="*/ 34812 w 44991"/>
                <a:gd name="connsiteY11" fmla="*/ 53236 h 100161"/>
                <a:gd name="connsiteX12" fmla="*/ 30537 w 44991"/>
                <a:gd name="connsiteY12" fmla="*/ 45500 h 100161"/>
                <a:gd name="connsiteX13" fmla="*/ 22496 w 44991"/>
                <a:gd name="connsiteY13" fmla="*/ 43159 h 100161"/>
                <a:gd name="connsiteX14" fmla="*/ 15370 w 44991"/>
                <a:gd name="connsiteY14" fmla="*/ 45195 h 100161"/>
                <a:gd name="connsiteX15" fmla="*/ 9670 w 44991"/>
                <a:gd name="connsiteY15" fmla="*/ 51302 h 100161"/>
                <a:gd name="connsiteX16" fmla="*/ 2239 w 44991"/>
                <a:gd name="connsiteY16" fmla="*/ 51302 h 100161"/>
                <a:gd name="connsiteX17" fmla="*/ 2239 w 44991"/>
                <a:gd name="connsiteY17" fmla="*/ 0 h 100161"/>
                <a:gd name="connsiteX18" fmla="*/ 40716 w 44991"/>
                <a:gd name="connsiteY18" fmla="*/ 0 h 100161"/>
                <a:gd name="connsiteX19" fmla="*/ 40716 w 44991"/>
                <a:gd name="connsiteY19" fmla="*/ 8449 h 100161"/>
                <a:gd name="connsiteX20" fmla="*/ 10179 w 44991"/>
                <a:gd name="connsiteY20" fmla="*/ 8449 h 100161"/>
                <a:gd name="connsiteX21" fmla="*/ 9670 w 44991"/>
                <a:gd name="connsiteY21" fmla="*/ 42752 h 100161"/>
                <a:gd name="connsiteX22" fmla="*/ 15574 w 44991"/>
                <a:gd name="connsiteY22" fmla="*/ 38069 h 100161"/>
                <a:gd name="connsiteX23" fmla="*/ 24837 w 44991"/>
                <a:gd name="connsiteY23" fmla="*/ 36135 h 100161"/>
                <a:gd name="connsiteX24" fmla="*/ 36645 w 44991"/>
                <a:gd name="connsiteY24" fmla="*/ 39800 h 100161"/>
                <a:gd name="connsiteX25" fmla="*/ 43057 w 44991"/>
                <a:gd name="connsiteY25" fmla="*/ 50284 h 100161"/>
                <a:gd name="connsiteX26" fmla="*/ 44991 w 44991"/>
                <a:gd name="connsiteY26" fmla="*/ 66571 h 100161"/>
                <a:gd name="connsiteX27" fmla="*/ 43770 w 44991"/>
                <a:gd name="connsiteY27" fmla="*/ 80822 h 100161"/>
                <a:gd name="connsiteX28" fmla="*/ 39800 w 44991"/>
                <a:gd name="connsiteY28" fmla="*/ 91306 h 100161"/>
                <a:gd name="connsiteX29" fmla="*/ 32675 w 44991"/>
                <a:gd name="connsiteY29" fmla="*/ 97820 h 100161"/>
                <a:gd name="connsiteX30" fmla="*/ 21987 w 44991"/>
                <a:gd name="connsiteY30" fmla="*/ 100060 h 100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4991" h="100161">
                  <a:moveTo>
                    <a:pt x="21987" y="100162"/>
                  </a:moveTo>
                  <a:cubicBezTo>
                    <a:pt x="16694" y="100162"/>
                    <a:pt x="12418" y="99144"/>
                    <a:pt x="9263" y="97108"/>
                  </a:cubicBezTo>
                  <a:cubicBezTo>
                    <a:pt x="6006" y="95072"/>
                    <a:pt x="3664" y="92019"/>
                    <a:pt x="2239" y="88049"/>
                  </a:cubicBezTo>
                  <a:cubicBezTo>
                    <a:pt x="814" y="84079"/>
                    <a:pt x="0" y="79193"/>
                    <a:pt x="0" y="73493"/>
                  </a:cubicBezTo>
                  <a:lnTo>
                    <a:pt x="8958" y="73493"/>
                  </a:lnTo>
                  <a:cubicBezTo>
                    <a:pt x="8958" y="77462"/>
                    <a:pt x="9365" y="80923"/>
                    <a:pt x="10077" y="83875"/>
                  </a:cubicBezTo>
                  <a:cubicBezTo>
                    <a:pt x="10892" y="86827"/>
                    <a:pt x="12215" y="89067"/>
                    <a:pt x="14251" y="90695"/>
                  </a:cubicBezTo>
                  <a:cubicBezTo>
                    <a:pt x="16287" y="92324"/>
                    <a:pt x="18933" y="93037"/>
                    <a:pt x="22394" y="93037"/>
                  </a:cubicBezTo>
                  <a:cubicBezTo>
                    <a:pt x="26160" y="93037"/>
                    <a:pt x="29010" y="92019"/>
                    <a:pt x="30944" y="90085"/>
                  </a:cubicBezTo>
                  <a:cubicBezTo>
                    <a:pt x="32878" y="88150"/>
                    <a:pt x="34202" y="85300"/>
                    <a:pt x="35016" y="81534"/>
                  </a:cubicBezTo>
                  <a:cubicBezTo>
                    <a:pt x="35728" y="77768"/>
                    <a:pt x="36136" y="73187"/>
                    <a:pt x="36136" y="67691"/>
                  </a:cubicBezTo>
                  <a:cubicBezTo>
                    <a:pt x="36136" y="61685"/>
                    <a:pt x="35728" y="56901"/>
                    <a:pt x="34812" y="53236"/>
                  </a:cubicBezTo>
                  <a:cubicBezTo>
                    <a:pt x="33998" y="49674"/>
                    <a:pt x="32573" y="47027"/>
                    <a:pt x="30537" y="45500"/>
                  </a:cubicBezTo>
                  <a:cubicBezTo>
                    <a:pt x="28501" y="43872"/>
                    <a:pt x="25855" y="43159"/>
                    <a:pt x="22496" y="43159"/>
                  </a:cubicBezTo>
                  <a:cubicBezTo>
                    <a:pt x="19951" y="43159"/>
                    <a:pt x="17610" y="43872"/>
                    <a:pt x="15370" y="45195"/>
                  </a:cubicBezTo>
                  <a:cubicBezTo>
                    <a:pt x="13131" y="46620"/>
                    <a:pt x="11299" y="48656"/>
                    <a:pt x="9670" y="51302"/>
                  </a:cubicBezTo>
                  <a:lnTo>
                    <a:pt x="2239" y="51302"/>
                  </a:lnTo>
                  <a:lnTo>
                    <a:pt x="2239" y="0"/>
                  </a:lnTo>
                  <a:lnTo>
                    <a:pt x="40716" y="0"/>
                  </a:lnTo>
                  <a:lnTo>
                    <a:pt x="40716" y="8449"/>
                  </a:lnTo>
                  <a:lnTo>
                    <a:pt x="10179" y="8449"/>
                  </a:lnTo>
                  <a:lnTo>
                    <a:pt x="9670" y="42752"/>
                  </a:lnTo>
                  <a:cubicBezTo>
                    <a:pt x="11095" y="40920"/>
                    <a:pt x="13131" y="39393"/>
                    <a:pt x="15574" y="38069"/>
                  </a:cubicBezTo>
                  <a:cubicBezTo>
                    <a:pt x="18017" y="36746"/>
                    <a:pt x="21172" y="36135"/>
                    <a:pt x="24837" y="36135"/>
                  </a:cubicBezTo>
                  <a:cubicBezTo>
                    <a:pt x="29723" y="36135"/>
                    <a:pt x="33693" y="37357"/>
                    <a:pt x="36645" y="39800"/>
                  </a:cubicBezTo>
                  <a:cubicBezTo>
                    <a:pt x="39596" y="42243"/>
                    <a:pt x="41734" y="45704"/>
                    <a:pt x="43057" y="50284"/>
                  </a:cubicBezTo>
                  <a:cubicBezTo>
                    <a:pt x="44381" y="54763"/>
                    <a:pt x="44991" y="60260"/>
                    <a:pt x="44991" y="66571"/>
                  </a:cubicBezTo>
                  <a:cubicBezTo>
                    <a:pt x="44991" y="71966"/>
                    <a:pt x="44584" y="76750"/>
                    <a:pt x="43770" y="80822"/>
                  </a:cubicBezTo>
                  <a:cubicBezTo>
                    <a:pt x="42956" y="84995"/>
                    <a:pt x="41632" y="88456"/>
                    <a:pt x="39800" y="91306"/>
                  </a:cubicBezTo>
                  <a:cubicBezTo>
                    <a:pt x="37968" y="94156"/>
                    <a:pt x="35627" y="96294"/>
                    <a:pt x="32675" y="97820"/>
                  </a:cubicBezTo>
                  <a:cubicBezTo>
                    <a:pt x="29825" y="99246"/>
                    <a:pt x="26262" y="100060"/>
                    <a:pt x="21987" y="100060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4" name="Полилиния: фигура 1103">
              <a:extLst>
                <a:ext uri="{FF2B5EF4-FFF2-40B4-BE49-F238E27FC236}">
                  <a16:creationId xmlns:a16="http://schemas.microsoft.com/office/drawing/2014/main" id="{5902D97D-07DE-4A08-A583-FF75EA668BA0}"/>
                </a:ext>
              </a:extLst>
            </p:cNvPr>
            <p:cNvSpPr/>
            <p:nvPr/>
          </p:nvSpPr>
          <p:spPr>
            <a:xfrm>
              <a:off x="7905914" y="3436935"/>
              <a:ext cx="47027" cy="101077"/>
            </a:xfrm>
            <a:custGeom>
              <a:avLst/>
              <a:gdLst>
                <a:gd name="connsiteX0" fmla="*/ 23514 w 47027"/>
                <a:gd name="connsiteY0" fmla="*/ 101078 h 101077"/>
                <a:gd name="connsiteX1" fmla="*/ 9568 w 47027"/>
                <a:gd name="connsiteY1" fmla="*/ 97312 h 101077"/>
                <a:gd name="connsiteX2" fmla="*/ 2239 w 47027"/>
                <a:gd name="connsiteY2" fmla="*/ 86929 h 101077"/>
                <a:gd name="connsiteX3" fmla="*/ 0 w 47027"/>
                <a:gd name="connsiteY3" fmla="*/ 71864 h 101077"/>
                <a:gd name="connsiteX4" fmla="*/ 0 w 47027"/>
                <a:gd name="connsiteY4" fmla="*/ 28909 h 101077"/>
                <a:gd name="connsiteX5" fmla="*/ 2239 w 47027"/>
                <a:gd name="connsiteY5" fmla="*/ 13843 h 101077"/>
                <a:gd name="connsiteX6" fmla="*/ 9670 w 47027"/>
                <a:gd name="connsiteY6" fmla="*/ 3664 h 101077"/>
                <a:gd name="connsiteX7" fmla="*/ 23412 w 47027"/>
                <a:gd name="connsiteY7" fmla="*/ 0 h 101077"/>
                <a:gd name="connsiteX8" fmla="*/ 37357 w 47027"/>
                <a:gd name="connsiteY8" fmla="*/ 3664 h 101077"/>
                <a:gd name="connsiteX9" fmla="*/ 44788 w 47027"/>
                <a:gd name="connsiteY9" fmla="*/ 13843 h 101077"/>
                <a:gd name="connsiteX10" fmla="*/ 47027 w 47027"/>
                <a:gd name="connsiteY10" fmla="*/ 28909 h 101077"/>
                <a:gd name="connsiteX11" fmla="*/ 47027 w 47027"/>
                <a:gd name="connsiteY11" fmla="*/ 71864 h 101077"/>
                <a:gd name="connsiteX12" fmla="*/ 44788 w 47027"/>
                <a:gd name="connsiteY12" fmla="*/ 87031 h 101077"/>
                <a:gd name="connsiteX13" fmla="*/ 37459 w 47027"/>
                <a:gd name="connsiteY13" fmla="*/ 97312 h 101077"/>
                <a:gd name="connsiteX14" fmla="*/ 23412 w 47027"/>
                <a:gd name="connsiteY14" fmla="*/ 101078 h 101077"/>
                <a:gd name="connsiteX15" fmla="*/ 23514 w 47027"/>
                <a:gd name="connsiteY15" fmla="*/ 93952 h 101077"/>
                <a:gd name="connsiteX16" fmla="*/ 32369 w 47027"/>
                <a:gd name="connsiteY16" fmla="*/ 91102 h 101077"/>
                <a:gd name="connsiteX17" fmla="*/ 36746 w 47027"/>
                <a:gd name="connsiteY17" fmla="*/ 83366 h 101077"/>
                <a:gd name="connsiteX18" fmla="*/ 38070 w 47027"/>
                <a:gd name="connsiteY18" fmla="*/ 72576 h 101077"/>
                <a:gd name="connsiteX19" fmla="*/ 38070 w 47027"/>
                <a:gd name="connsiteY19" fmla="*/ 28196 h 101077"/>
                <a:gd name="connsiteX20" fmla="*/ 36746 w 47027"/>
                <a:gd name="connsiteY20" fmla="*/ 17406 h 101077"/>
                <a:gd name="connsiteX21" fmla="*/ 32369 w 47027"/>
                <a:gd name="connsiteY21" fmla="*/ 9772 h 101077"/>
                <a:gd name="connsiteX22" fmla="*/ 23412 w 47027"/>
                <a:gd name="connsiteY22" fmla="*/ 6922 h 101077"/>
                <a:gd name="connsiteX23" fmla="*/ 14658 w 47027"/>
                <a:gd name="connsiteY23" fmla="*/ 9772 h 101077"/>
                <a:gd name="connsiteX24" fmla="*/ 10281 w 47027"/>
                <a:gd name="connsiteY24" fmla="*/ 17406 h 101077"/>
                <a:gd name="connsiteX25" fmla="*/ 8958 w 47027"/>
                <a:gd name="connsiteY25" fmla="*/ 28196 h 101077"/>
                <a:gd name="connsiteX26" fmla="*/ 8958 w 47027"/>
                <a:gd name="connsiteY26" fmla="*/ 72576 h 101077"/>
                <a:gd name="connsiteX27" fmla="*/ 10281 w 47027"/>
                <a:gd name="connsiteY27" fmla="*/ 83366 h 101077"/>
                <a:gd name="connsiteX28" fmla="*/ 14760 w 47027"/>
                <a:gd name="connsiteY28" fmla="*/ 91102 h 101077"/>
                <a:gd name="connsiteX29" fmla="*/ 23412 w 47027"/>
                <a:gd name="connsiteY29" fmla="*/ 93952 h 101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027" h="101077">
                  <a:moveTo>
                    <a:pt x="23514" y="101078"/>
                  </a:moveTo>
                  <a:cubicBezTo>
                    <a:pt x="17610" y="101078"/>
                    <a:pt x="13029" y="99856"/>
                    <a:pt x="9568" y="97312"/>
                  </a:cubicBezTo>
                  <a:cubicBezTo>
                    <a:pt x="6107" y="94767"/>
                    <a:pt x="3664" y="91306"/>
                    <a:pt x="2239" y="86929"/>
                  </a:cubicBezTo>
                  <a:cubicBezTo>
                    <a:pt x="814" y="82552"/>
                    <a:pt x="0" y="77564"/>
                    <a:pt x="0" y="71864"/>
                  </a:cubicBezTo>
                  <a:lnTo>
                    <a:pt x="0" y="28909"/>
                  </a:lnTo>
                  <a:cubicBezTo>
                    <a:pt x="0" y="23208"/>
                    <a:pt x="713" y="18221"/>
                    <a:pt x="2239" y="13843"/>
                  </a:cubicBezTo>
                  <a:cubicBezTo>
                    <a:pt x="3766" y="9467"/>
                    <a:pt x="6209" y="6107"/>
                    <a:pt x="9670" y="3664"/>
                  </a:cubicBezTo>
                  <a:cubicBezTo>
                    <a:pt x="13131" y="1221"/>
                    <a:pt x="17712" y="0"/>
                    <a:pt x="23412" y="0"/>
                  </a:cubicBezTo>
                  <a:cubicBezTo>
                    <a:pt x="29112" y="0"/>
                    <a:pt x="33896" y="1221"/>
                    <a:pt x="37357" y="3664"/>
                  </a:cubicBezTo>
                  <a:cubicBezTo>
                    <a:pt x="40818" y="6107"/>
                    <a:pt x="43261" y="9467"/>
                    <a:pt x="44788" y="13843"/>
                  </a:cubicBezTo>
                  <a:cubicBezTo>
                    <a:pt x="46315" y="18221"/>
                    <a:pt x="47027" y="23208"/>
                    <a:pt x="47027" y="28909"/>
                  </a:cubicBezTo>
                  <a:lnTo>
                    <a:pt x="47027" y="71864"/>
                  </a:lnTo>
                  <a:cubicBezTo>
                    <a:pt x="47027" y="77564"/>
                    <a:pt x="46315" y="82654"/>
                    <a:pt x="44788" y="87031"/>
                  </a:cubicBezTo>
                  <a:cubicBezTo>
                    <a:pt x="43363" y="91408"/>
                    <a:pt x="40920" y="94869"/>
                    <a:pt x="37459" y="97312"/>
                  </a:cubicBezTo>
                  <a:cubicBezTo>
                    <a:pt x="33998" y="99755"/>
                    <a:pt x="29316" y="101078"/>
                    <a:pt x="23412" y="101078"/>
                  </a:cubicBezTo>
                  <a:close/>
                  <a:moveTo>
                    <a:pt x="23514" y="93952"/>
                  </a:moveTo>
                  <a:cubicBezTo>
                    <a:pt x="27382" y="93952"/>
                    <a:pt x="30334" y="93036"/>
                    <a:pt x="32369" y="91102"/>
                  </a:cubicBezTo>
                  <a:cubicBezTo>
                    <a:pt x="34405" y="89168"/>
                    <a:pt x="35932" y="86624"/>
                    <a:pt x="36746" y="83366"/>
                  </a:cubicBezTo>
                  <a:cubicBezTo>
                    <a:pt x="37561" y="80109"/>
                    <a:pt x="38070" y="76546"/>
                    <a:pt x="38070" y="72576"/>
                  </a:cubicBezTo>
                  <a:lnTo>
                    <a:pt x="38070" y="28196"/>
                  </a:lnTo>
                  <a:cubicBezTo>
                    <a:pt x="38070" y="24226"/>
                    <a:pt x="37662" y="20562"/>
                    <a:pt x="36746" y="17406"/>
                  </a:cubicBezTo>
                  <a:cubicBezTo>
                    <a:pt x="35932" y="14149"/>
                    <a:pt x="34405" y="11604"/>
                    <a:pt x="32369" y="9772"/>
                  </a:cubicBezTo>
                  <a:cubicBezTo>
                    <a:pt x="30334" y="7940"/>
                    <a:pt x="27382" y="6922"/>
                    <a:pt x="23412" y="6922"/>
                  </a:cubicBezTo>
                  <a:cubicBezTo>
                    <a:pt x="19442" y="6922"/>
                    <a:pt x="16795" y="7838"/>
                    <a:pt x="14658" y="9772"/>
                  </a:cubicBezTo>
                  <a:cubicBezTo>
                    <a:pt x="12622" y="11604"/>
                    <a:pt x="11095" y="14149"/>
                    <a:pt x="10281" y="17406"/>
                  </a:cubicBezTo>
                  <a:cubicBezTo>
                    <a:pt x="9467" y="20664"/>
                    <a:pt x="8958" y="24226"/>
                    <a:pt x="8958" y="28196"/>
                  </a:cubicBezTo>
                  <a:lnTo>
                    <a:pt x="8958" y="72576"/>
                  </a:lnTo>
                  <a:cubicBezTo>
                    <a:pt x="8958" y="76546"/>
                    <a:pt x="9365" y="80211"/>
                    <a:pt x="10281" y="83366"/>
                  </a:cubicBezTo>
                  <a:cubicBezTo>
                    <a:pt x="11095" y="86624"/>
                    <a:pt x="12622" y="89168"/>
                    <a:pt x="14760" y="91102"/>
                  </a:cubicBezTo>
                  <a:cubicBezTo>
                    <a:pt x="16897" y="93036"/>
                    <a:pt x="19747" y="93952"/>
                    <a:pt x="23412" y="93952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5" name="Полилиния: фигура 1104">
              <a:extLst>
                <a:ext uri="{FF2B5EF4-FFF2-40B4-BE49-F238E27FC236}">
                  <a16:creationId xmlns:a16="http://schemas.microsoft.com/office/drawing/2014/main" id="{CA0BDD7B-49F2-48DC-A1BA-C4D9B47AE21D}"/>
                </a:ext>
              </a:extLst>
            </p:cNvPr>
            <p:cNvSpPr/>
            <p:nvPr/>
          </p:nvSpPr>
          <p:spPr>
            <a:xfrm>
              <a:off x="7965869" y="3436120"/>
              <a:ext cx="79803" cy="101484"/>
            </a:xfrm>
            <a:custGeom>
              <a:avLst/>
              <a:gdLst>
                <a:gd name="connsiteX0" fmla="*/ 15065 w 79803"/>
                <a:gd name="connsiteY0" fmla="*/ 51506 h 101484"/>
                <a:gd name="connsiteX1" fmla="*/ 3461 w 79803"/>
                <a:gd name="connsiteY1" fmla="*/ 46213 h 101484"/>
                <a:gd name="connsiteX2" fmla="*/ 0 w 79803"/>
                <a:gd name="connsiteY2" fmla="*/ 32471 h 101484"/>
                <a:gd name="connsiteX3" fmla="*/ 0 w 79803"/>
                <a:gd name="connsiteY3" fmla="*/ 18628 h 101484"/>
                <a:gd name="connsiteX4" fmla="*/ 3359 w 79803"/>
                <a:gd name="connsiteY4" fmla="*/ 4988 h 101484"/>
                <a:gd name="connsiteX5" fmla="*/ 15065 w 79803"/>
                <a:gd name="connsiteY5" fmla="*/ 0 h 101484"/>
                <a:gd name="connsiteX6" fmla="*/ 26567 w 79803"/>
                <a:gd name="connsiteY6" fmla="*/ 4988 h 101484"/>
                <a:gd name="connsiteX7" fmla="*/ 29926 w 79803"/>
                <a:gd name="connsiteY7" fmla="*/ 18526 h 101484"/>
                <a:gd name="connsiteX8" fmla="*/ 29926 w 79803"/>
                <a:gd name="connsiteY8" fmla="*/ 32777 h 101484"/>
                <a:gd name="connsiteX9" fmla="*/ 26567 w 79803"/>
                <a:gd name="connsiteY9" fmla="*/ 46416 h 101484"/>
                <a:gd name="connsiteX10" fmla="*/ 15065 w 79803"/>
                <a:gd name="connsiteY10" fmla="*/ 51608 h 101484"/>
                <a:gd name="connsiteX11" fmla="*/ 15065 w 79803"/>
                <a:gd name="connsiteY11" fmla="*/ 44584 h 101484"/>
                <a:gd name="connsiteX12" fmla="*/ 19238 w 79803"/>
                <a:gd name="connsiteY12" fmla="*/ 43057 h 101484"/>
                <a:gd name="connsiteX13" fmla="*/ 21274 w 79803"/>
                <a:gd name="connsiteY13" fmla="*/ 38884 h 101484"/>
                <a:gd name="connsiteX14" fmla="*/ 21885 w 79803"/>
                <a:gd name="connsiteY14" fmla="*/ 32878 h 101484"/>
                <a:gd name="connsiteX15" fmla="*/ 21885 w 79803"/>
                <a:gd name="connsiteY15" fmla="*/ 18322 h 101484"/>
                <a:gd name="connsiteX16" fmla="*/ 20460 w 79803"/>
                <a:gd name="connsiteY16" fmla="*/ 10179 h 101484"/>
                <a:gd name="connsiteX17" fmla="*/ 15065 w 79803"/>
                <a:gd name="connsiteY17" fmla="*/ 7024 h 101484"/>
                <a:gd name="connsiteX18" fmla="*/ 9568 w 79803"/>
                <a:gd name="connsiteY18" fmla="*/ 10281 h 101484"/>
                <a:gd name="connsiteX19" fmla="*/ 8245 w 79803"/>
                <a:gd name="connsiteY19" fmla="*/ 18526 h 101484"/>
                <a:gd name="connsiteX20" fmla="*/ 8245 w 79803"/>
                <a:gd name="connsiteY20" fmla="*/ 32980 h 101484"/>
                <a:gd name="connsiteX21" fmla="*/ 8856 w 79803"/>
                <a:gd name="connsiteY21" fmla="*/ 38986 h 101484"/>
                <a:gd name="connsiteX22" fmla="*/ 10892 w 79803"/>
                <a:gd name="connsiteY22" fmla="*/ 43159 h 101484"/>
                <a:gd name="connsiteX23" fmla="*/ 15065 w 79803"/>
                <a:gd name="connsiteY23" fmla="*/ 44686 h 101484"/>
                <a:gd name="connsiteX24" fmla="*/ 20358 w 79803"/>
                <a:gd name="connsiteY24" fmla="*/ 100772 h 101484"/>
                <a:gd name="connsiteX25" fmla="*/ 51709 w 79803"/>
                <a:gd name="connsiteY25" fmla="*/ 1018 h 101484"/>
                <a:gd name="connsiteX26" fmla="*/ 59547 w 79803"/>
                <a:gd name="connsiteY26" fmla="*/ 1018 h 101484"/>
                <a:gd name="connsiteX27" fmla="*/ 28399 w 79803"/>
                <a:gd name="connsiteY27" fmla="*/ 100772 h 101484"/>
                <a:gd name="connsiteX28" fmla="*/ 20358 w 79803"/>
                <a:gd name="connsiteY28" fmla="*/ 100772 h 101484"/>
                <a:gd name="connsiteX29" fmla="*/ 64739 w 79803"/>
                <a:gd name="connsiteY29" fmla="*/ 101485 h 101484"/>
                <a:gd name="connsiteX30" fmla="*/ 53236 w 79803"/>
                <a:gd name="connsiteY30" fmla="*/ 96192 h 101484"/>
                <a:gd name="connsiteX31" fmla="*/ 49877 w 79803"/>
                <a:gd name="connsiteY31" fmla="*/ 82348 h 101484"/>
                <a:gd name="connsiteX32" fmla="*/ 49877 w 79803"/>
                <a:gd name="connsiteY32" fmla="*/ 68708 h 101484"/>
                <a:gd name="connsiteX33" fmla="*/ 53236 w 79803"/>
                <a:gd name="connsiteY33" fmla="*/ 55069 h 101484"/>
                <a:gd name="connsiteX34" fmla="*/ 64739 w 79803"/>
                <a:gd name="connsiteY34" fmla="*/ 50081 h 101484"/>
                <a:gd name="connsiteX35" fmla="*/ 76343 w 79803"/>
                <a:gd name="connsiteY35" fmla="*/ 54967 h 101484"/>
                <a:gd name="connsiteX36" fmla="*/ 79804 w 79803"/>
                <a:gd name="connsiteY36" fmla="*/ 68505 h 101484"/>
                <a:gd name="connsiteX37" fmla="*/ 79804 w 79803"/>
                <a:gd name="connsiteY37" fmla="*/ 82654 h 101484"/>
                <a:gd name="connsiteX38" fmla="*/ 76444 w 79803"/>
                <a:gd name="connsiteY38" fmla="*/ 96294 h 101484"/>
                <a:gd name="connsiteX39" fmla="*/ 64739 w 79803"/>
                <a:gd name="connsiteY39" fmla="*/ 101383 h 101484"/>
                <a:gd name="connsiteX40" fmla="*/ 64739 w 79803"/>
                <a:gd name="connsiteY40" fmla="*/ 94665 h 101484"/>
                <a:gd name="connsiteX41" fmla="*/ 68912 w 79803"/>
                <a:gd name="connsiteY41" fmla="*/ 93037 h 101484"/>
                <a:gd name="connsiteX42" fmla="*/ 70948 w 79803"/>
                <a:gd name="connsiteY42" fmla="*/ 88863 h 101484"/>
                <a:gd name="connsiteX43" fmla="*/ 71457 w 79803"/>
                <a:gd name="connsiteY43" fmla="*/ 82959 h 101484"/>
                <a:gd name="connsiteX44" fmla="*/ 71457 w 79803"/>
                <a:gd name="connsiteY44" fmla="*/ 68403 h 101484"/>
                <a:gd name="connsiteX45" fmla="*/ 70134 w 79803"/>
                <a:gd name="connsiteY45" fmla="*/ 60158 h 101484"/>
                <a:gd name="connsiteX46" fmla="*/ 64637 w 79803"/>
                <a:gd name="connsiteY46" fmla="*/ 56901 h 101484"/>
                <a:gd name="connsiteX47" fmla="*/ 59140 w 79803"/>
                <a:gd name="connsiteY47" fmla="*/ 60158 h 101484"/>
                <a:gd name="connsiteX48" fmla="*/ 57817 w 79803"/>
                <a:gd name="connsiteY48" fmla="*/ 68403 h 101484"/>
                <a:gd name="connsiteX49" fmla="*/ 57817 w 79803"/>
                <a:gd name="connsiteY49" fmla="*/ 82959 h 101484"/>
                <a:gd name="connsiteX50" fmla="*/ 58428 w 79803"/>
                <a:gd name="connsiteY50" fmla="*/ 88863 h 101484"/>
                <a:gd name="connsiteX51" fmla="*/ 60463 w 79803"/>
                <a:gd name="connsiteY51" fmla="*/ 93037 h 101484"/>
                <a:gd name="connsiteX52" fmla="*/ 64637 w 79803"/>
                <a:gd name="connsiteY52" fmla="*/ 94665 h 101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79803" h="101484">
                  <a:moveTo>
                    <a:pt x="15065" y="51506"/>
                  </a:moveTo>
                  <a:cubicBezTo>
                    <a:pt x="9568" y="51506"/>
                    <a:pt x="5700" y="49776"/>
                    <a:pt x="3461" y="46213"/>
                  </a:cubicBezTo>
                  <a:cubicBezTo>
                    <a:pt x="1221" y="42650"/>
                    <a:pt x="0" y="38069"/>
                    <a:pt x="0" y="32471"/>
                  </a:cubicBezTo>
                  <a:lnTo>
                    <a:pt x="0" y="18628"/>
                  </a:lnTo>
                  <a:cubicBezTo>
                    <a:pt x="0" y="12826"/>
                    <a:pt x="1120" y="8245"/>
                    <a:pt x="3359" y="4988"/>
                  </a:cubicBezTo>
                  <a:cubicBezTo>
                    <a:pt x="5598" y="1629"/>
                    <a:pt x="9467" y="0"/>
                    <a:pt x="15065" y="0"/>
                  </a:cubicBezTo>
                  <a:cubicBezTo>
                    <a:pt x="20663" y="0"/>
                    <a:pt x="24328" y="1629"/>
                    <a:pt x="26567" y="4988"/>
                  </a:cubicBezTo>
                  <a:cubicBezTo>
                    <a:pt x="28807" y="8245"/>
                    <a:pt x="29926" y="12826"/>
                    <a:pt x="29926" y="18526"/>
                  </a:cubicBezTo>
                  <a:lnTo>
                    <a:pt x="29926" y="32777"/>
                  </a:lnTo>
                  <a:cubicBezTo>
                    <a:pt x="29926" y="38375"/>
                    <a:pt x="28807" y="42956"/>
                    <a:pt x="26567" y="46416"/>
                  </a:cubicBezTo>
                  <a:cubicBezTo>
                    <a:pt x="24328" y="49877"/>
                    <a:pt x="20460" y="51608"/>
                    <a:pt x="15065" y="51608"/>
                  </a:cubicBezTo>
                  <a:close/>
                  <a:moveTo>
                    <a:pt x="15065" y="44584"/>
                  </a:moveTo>
                  <a:cubicBezTo>
                    <a:pt x="16897" y="44584"/>
                    <a:pt x="18220" y="44075"/>
                    <a:pt x="19238" y="43057"/>
                  </a:cubicBezTo>
                  <a:cubicBezTo>
                    <a:pt x="20256" y="42039"/>
                    <a:pt x="20867" y="40614"/>
                    <a:pt x="21274" y="38884"/>
                  </a:cubicBezTo>
                  <a:cubicBezTo>
                    <a:pt x="21681" y="37052"/>
                    <a:pt x="21885" y="35118"/>
                    <a:pt x="21885" y="32878"/>
                  </a:cubicBezTo>
                  <a:lnTo>
                    <a:pt x="21885" y="18322"/>
                  </a:lnTo>
                  <a:cubicBezTo>
                    <a:pt x="21885" y="14963"/>
                    <a:pt x="21376" y="12215"/>
                    <a:pt x="20460" y="10179"/>
                  </a:cubicBezTo>
                  <a:cubicBezTo>
                    <a:pt x="19544" y="8042"/>
                    <a:pt x="17711" y="7024"/>
                    <a:pt x="15065" y="7024"/>
                  </a:cubicBezTo>
                  <a:cubicBezTo>
                    <a:pt x="12418" y="7024"/>
                    <a:pt x="10484" y="8143"/>
                    <a:pt x="9568" y="10281"/>
                  </a:cubicBezTo>
                  <a:cubicBezTo>
                    <a:pt x="8652" y="12418"/>
                    <a:pt x="8245" y="15167"/>
                    <a:pt x="8245" y="18526"/>
                  </a:cubicBezTo>
                  <a:lnTo>
                    <a:pt x="8245" y="32980"/>
                  </a:lnTo>
                  <a:cubicBezTo>
                    <a:pt x="8245" y="35219"/>
                    <a:pt x="8449" y="37255"/>
                    <a:pt x="8856" y="38986"/>
                  </a:cubicBezTo>
                  <a:cubicBezTo>
                    <a:pt x="9263" y="40716"/>
                    <a:pt x="9975" y="42141"/>
                    <a:pt x="10892" y="43159"/>
                  </a:cubicBezTo>
                  <a:cubicBezTo>
                    <a:pt x="11909" y="44177"/>
                    <a:pt x="13233" y="44686"/>
                    <a:pt x="15065" y="44686"/>
                  </a:cubicBezTo>
                  <a:close/>
                  <a:moveTo>
                    <a:pt x="20358" y="100772"/>
                  </a:moveTo>
                  <a:lnTo>
                    <a:pt x="51709" y="1018"/>
                  </a:lnTo>
                  <a:lnTo>
                    <a:pt x="59547" y="1018"/>
                  </a:lnTo>
                  <a:lnTo>
                    <a:pt x="28399" y="100772"/>
                  </a:lnTo>
                  <a:lnTo>
                    <a:pt x="20358" y="100772"/>
                  </a:lnTo>
                  <a:close/>
                  <a:moveTo>
                    <a:pt x="64739" y="101485"/>
                  </a:moveTo>
                  <a:cubicBezTo>
                    <a:pt x="59242" y="101485"/>
                    <a:pt x="55476" y="99755"/>
                    <a:pt x="53236" y="96192"/>
                  </a:cubicBezTo>
                  <a:cubicBezTo>
                    <a:pt x="50997" y="92731"/>
                    <a:pt x="49877" y="88049"/>
                    <a:pt x="49877" y="82348"/>
                  </a:cubicBezTo>
                  <a:lnTo>
                    <a:pt x="49877" y="68708"/>
                  </a:lnTo>
                  <a:cubicBezTo>
                    <a:pt x="49877" y="62906"/>
                    <a:pt x="50997" y="58326"/>
                    <a:pt x="53236" y="55069"/>
                  </a:cubicBezTo>
                  <a:cubicBezTo>
                    <a:pt x="55476" y="51811"/>
                    <a:pt x="59344" y="50081"/>
                    <a:pt x="64739" y="50081"/>
                  </a:cubicBezTo>
                  <a:cubicBezTo>
                    <a:pt x="70134" y="50081"/>
                    <a:pt x="74103" y="51710"/>
                    <a:pt x="76343" y="54967"/>
                  </a:cubicBezTo>
                  <a:cubicBezTo>
                    <a:pt x="78582" y="58224"/>
                    <a:pt x="79804" y="62703"/>
                    <a:pt x="79804" y="68505"/>
                  </a:cubicBezTo>
                  <a:lnTo>
                    <a:pt x="79804" y="82654"/>
                  </a:lnTo>
                  <a:cubicBezTo>
                    <a:pt x="79804" y="88354"/>
                    <a:pt x="78684" y="92935"/>
                    <a:pt x="76444" y="96294"/>
                  </a:cubicBezTo>
                  <a:cubicBezTo>
                    <a:pt x="74205" y="99755"/>
                    <a:pt x="70337" y="101383"/>
                    <a:pt x="64739" y="101383"/>
                  </a:cubicBezTo>
                  <a:close/>
                  <a:moveTo>
                    <a:pt x="64739" y="94665"/>
                  </a:moveTo>
                  <a:cubicBezTo>
                    <a:pt x="66571" y="94665"/>
                    <a:pt x="67894" y="94156"/>
                    <a:pt x="68912" y="93037"/>
                  </a:cubicBezTo>
                  <a:cubicBezTo>
                    <a:pt x="69930" y="92019"/>
                    <a:pt x="70642" y="90593"/>
                    <a:pt x="70948" y="88863"/>
                  </a:cubicBezTo>
                  <a:cubicBezTo>
                    <a:pt x="71355" y="87133"/>
                    <a:pt x="71457" y="85097"/>
                    <a:pt x="71457" y="82959"/>
                  </a:cubicBezTo>
                  <a:lnTo>
                    <a:pt x="71457" y="68403"/>
                  </a:lnTo>
                  <a:cubicBezTo>
                    <a:pt x="71457" y="65044"/>
                    <a:pt x="71050" y="62296"/>
                    <a:pt x="70134" y="60158"/>
                  </a:cubicBezTo>
                  <a:cubicBezTo>
                    <a:pt x="69217" y="58021"/>
                    <a:pt x="67385" y="56901"/>
                    <a:pt x="64637" y="56901"/>
                  </a:cubicBezTo>
                  <a:cubicBezTo>
                    <a:pt x="61888" y="56901"/>
                    <a:pt x="60056" y="58021"/>
                    <a:pt x="59140" y="60158"/>
                  </a:cubicBezTo>
                  <a:cubicBezTo>
                    <a:pt x="58224" y="62296"/>
                    <a:pt x="57817" y="65044"/>
                    <a:pt x="57817" y="68403"/>
                  </a:cubicBezTo>
                  <a:lnTo>
                    <a:pt x="57817" y="82959"/>
                  </a:lnTo>
                  <a:cubicBezTo>
                    <a:pt x="57817" y="85198"/>
                    <a:pt x="58020" y="87133"/>
                    <a:pt x="58428" y="88863"/>
                  </a:cubicBezTo>
                  <a:cubicBezTo>
                    <a:pt x="58835" y="90593"/>
                    <a:pt x="59547" y="92019"/>
                    <a:pt x="60463" y="93037"/>
                  </a:cubicBezTo>
                  <a:cubicBezTo>
                    <a:pt x="61481" y="94054"/>
                    <a:pt x="62805" y="94665"/>
                    <a:pt x="64637" y="94665"/>
                  </a:cubicBezTo>
                  <a:close/>
                </a:path>
              </a:pathLst>
            </a:custGeom>
            <a:solidFill>
              <a:srgbClr val="263238"/>
            </a:solidFill>
            <a:ln w="1016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06" name="Рисунок 1">
            <a:extLst>
              <a:ext uri="{FF2B5EF4-FFF2-40B4-BE49-F238E27FC236}">
                <a16:creationId xmlns:a16="http://schemas.microsoft.com/office/drawing/2014/main" id="{6AB4B3CF-F550-40F5-B79A-21746224F834}"/>
              </a:ext>
            </a:extLst>
          </p:cNvPr>
          <p:cNvGrpSpPr/>
          <p:nvPr/>
        </p:nvGrpSpPr>
        <p:grpSpPr>
          <a:xfrm>
            <a:off x="7699076" y="1651491"/>
            <a:ext cx="3200492" cy="1894013"/>
            <a:chOff x="7699076" y="1575291"/>
            <a:chExt cx="3200492" cy="1894013"/>
          </a:xfrm>
          <a:noFill/>
        </p:grpSpPr>
        <p:grpSp>
          <p:nvGrpSpPr>
            <p:cNvPr id="1107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7699076" y="1575291"/>
              <a:ext cx="808622" cy="1589252"/>
              <a:chOff x="7699076" y="1575291"/>
              <a:chExt cx="808622" cy="1589252"/>
            </a:xfrm>
            <a:noFill/>
          </p:grpSpPr>
          <p:sp>
            <p:nvSpPr>
              <p:cNvPr id="1108" name="Полилиния: фигура 1107">
                <a:extLst>
                  <a:ext uri="{FF2B5EF4-FFF2-40B4-BE49-F238E27FC236}">
                    <a16:creationId xmlns:a16="http://schemas.microsoft.com/office/drawing/2014/main" id="{7954B89F-1D5C-43BF-AD4F-EA861A0956DB}"/>
                  </a:ext>
                </a:extLst>
              </p:cNvPr>
              <p:cNvSpPr/>
              <p:nvPr/>
            </p:nvSpPr>
            <p:spPr>
              <a:xfrm>
                <a:off x="8094837" y="1575291"/>
                <a:ext cx="412861" cy="1073481"/>
              </a:xfrm>
              <a:custGeom>
                <a:avLst/>
                <a:gdLst>
                  <a:gd name="connsiteX0" fmla="*/ 412862 w 412861"/>
                  <a:gd name="connsiteY0" fmla="*/ 536741 h 1073481"/>
                  <a:gd name="connsiteX1" fmla="*/ 206431 w 412861"/>
                  <a:gd name="connsiteY1" fmla="*/ 1073481 h 1073481"/>
                  <a:gd name="connsiteX2" fmla="*/ 0 w 412861"/>
                  <a:gd name="connsiteY2" fmla="*/ 536741 h 1073481"/>
                  <a:gd name="connsiteX3" fmla="*/ 206431 w 412861"/>
                  <a:gd name="connsiteY3" fmla="*/ 0 h 1073481"/>
                  <a:gd name="connsiteX4" fmla="*/ 412862 w 412861"/>
                  <a:gd name="connsiteY4" fmla="*/ 536741 h 107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861" h="1073481">
                    <a:moveTo>
                      <a:pt x="412862" y="536741"/>
                    </a:moveTo>
                    <a:cubicBezTo>
                      <a:pt x="412862" y="833174"/>
                      <a:pt x="320439" y="1073481"/>
                      <a:pt x="206431" y="1073481"/>
                    </a:cubicBezTo>
                    <a:cubicBezTo>
                      <a:pt x="92422" y="1073481"/>
                      <a:pt x="0" y="833174"/>
                      <a:pt x="0" y="536741"/>
                    </a:cubicBezTo>
                    <a:cubicBezTo>
                      <a:pt x="0" y="240307"/>
                      <a:pt x="92422" y="0"/>
                      <a:pt x="206431" y="0"/>
                    </a:cubicBezTo>
                    <a:cubicBezTo>
                      <a:pt x="320439" y="0"/>
                      <a:pt x="412862" y="240307"/>
                      <a:pt x="412862" y="536741"/>
                    </a:cubicBez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09" name="Полилиния: фигура 1108">
                <a:extLst>
                  <a:ext uri="{FF2B5EF4-FFF2-40B4-BE49-F238E27FC236}">
                    <a16:creationId xmlns:a16="http://schemas.microsoft.com/office/drawing/2014/main" id="{F119DA83-D2E8-42AB-BBD5-B45F8AAE8DD4}"/>
                  </a:ext>
                </a:extLst>
              </p:cNvPr>
              <p:cNvSpPr/>
              <p:nvPr/>
            </p:nvSpPr>
            <p:spPr>
              <a:xfrm>
                <a:off x="8156420" y="1735509"/>
                <a:ext cx="289695" cy="753045"/>
              </a:xfrm>
              <a:custGeom>
                <a:avLst/>
                <a:gdLst>
                  <a:gd name="connsiteX0" fmla="*/ 289695 w 289695"/>
                  <a:gd name="connsiteY0" fmla="*/ 376523 h 753045"/>
                  <a:gd name="connsiteX1" fmla="*/ 144848 w 289695"/>
                  <a:gd name="connsiteY1" fmla="*/ 753045 h 753045"/>
                  <a:gd name="connsiteX2" fmla="*/ 0 w 289695"/>
                  <a:gd name="connsiteY2" fmla="*/ 376523 h 753045"/>
                  <a:gd name="connsiteX3" fmla="*/ 144848 w 289695"/>
                  <a:gd name="connsiteY3" fmla="*/ 0 h 753045"/>
                  <a:gd name="connsiteX4" fmla="*/ 289695 w 289695"/>
                  <a:gd name="connsiteY4" fmla="*/ 376523 h 753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9695" h="753045">
                    <a:moveTo>
                      <a:pt x="289695" y="376523"/>
                    </a:moveTo>
                    <a:cubicBezTo>
                      <a:pt x="289695" y="584470"/>
                      <a:pt x="224845" y="753045"/>
                      <a:pt x="144848" y="753045"/>
                    </a:cubicBezTo>
                    <a:cubicBezTo>
                      <a:pt x="64851" y="753045"/>
                      <a:pt x="0" y="584470"/>
                      <a:pt x="0" y="376523"/>
                    </a:cubicBezTo>
                    <a:cubicBezTo>
                      <a:pt x="0" y="168575"/>
                      <a:pt x="64851" y="0"/>
                      <a:pt x="144848" y="0"/>
                    </a:cubicBezTo>
                    <a:cubicBezTo>
                      <a:pt x="224845" y="0"/>
                      <a:pt x="289695" y="168575"/>
                      <a:pt x="289695" y="376523"/>
                    </a:cubicBez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0" name="Полилиния: фигура 1109">
                <a:extLst>
                  <a:ext uri="{FF2B5EF4-FFF2-40B4-BE49-F238E27FC236}">
                    <a16:creationId xmlns:a16="http://schemas.microsoft.com/office/drawing/2014/main" id="{E9A9F18B-434E-4D77-8D60-C6E560C4370A}"/>
                  </a:ext>
                </a:extLst>
              </p:cNvPr>
              <p:cNvSpPr/>
              <p:nvPr/>
            </p:nvSpPr>
            <p:spPr>
              <a:xfrm>
                <a:off x="7699076" y="1936749"/>
                <a:ext cx="134770" cy="350565"/>
              </a:xfrm>
              <a:custGeom>
                <a:avLst/>
                <a:gdLst>
                  <a:gd name="connsiteX0" fmla="*/ 134770 w 134770"/>
                  <a:gd name="connsiteY0" fmla="*/ 175283 h 350565"/>
                  <a:gd name="connsiteX1" fmla="*/ 67385 w 134770"/>
                  <a:gd name="connsiteY1" fmla="*/ 350566 h 350565"/>
                  <a:gd name="connsiteX2" fmla="*/ 0 w 134770"/>
                  <a:gd name="connsiteY2" fmla="*/ 175283 h 350565"/>
                  <a:gd name="connsiteX3" fmla="*/ 67385 w 134770"/>
                  <a:gd name="connsiteY3" fmla="*/ 0 h 350565"/>
                  <a:gd name="connsiteX4" fmla="*/ 134770 w 134770"/>
                  <a:gd name="connsiteY4" fmla="*/ 175283 h 350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770" h="350565">
                    <a:moveTo>
                      <a:pt x="134770" y="175283"/>
                    </a:moveTo>
                    <a:cubicBezTo>
                      <a:pt x="134770" y="272086"/>
                      <a:pt x="104539" y="350566"/>
                      <a:pt x="67385" y="350566"/>
                    </a:cubicBezTo>
                    <a:cubicBezTo>
                      <a:pt x="30232" y="350566"/>
                      <a:pt x="0" y="272086"/>
                      <a:pt x="0" y="175283"/>
                    </a:cubicBezTo>
                    <a:cubicBezTo>
                      <a:pt x="0" y="78480"/>
                      <a:pt x="30232" y="0"/>
                      <a:pt x="67385" y="0"/>
                    </a:cubicBezTo>
                    <a:cubicBezTo>
                      <a:pt x="104539" y="0"/>
                      <a:pt x="134770" y="78480"/>
                      <a:pt x="134770" y="175283"/>
                    </a:cubicBez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111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7852169" y="2259119"/>
                <a:ext cx="207448" cy="186988"/>
                <a:chOff x="7852169" y="2259119"/>
                <a:chExt cx="207448" cy="186988"/>
              </a:xfrm>
            </p:grpSpPr>
            <p:sp>
              <p:nvSpPr>
                <p:cNvPr id="1112" name="Полилиния: фигура 1111">
                  <a:extLst>
                    <a:ext uri="{FF2B5EF4-FFF2-40B4-BE49-F238E27FC236}">
                      <a16:creationId xmlns:a16="http://schemas.microsoft.com/office/drawing/2014/main" id="{B8485E2C-8099-47C3-A138-DD0877F8C124}"/>
                    </a:ext>
                  </a:extLst>
                </p:cNvPr>
                <p:cNvSpPr/>
                <p:nvPr/>
              </p:nvSpPr>
              <p:spPr>
                <a:xfrm>
                  <a:off x="7852169" y="2259119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13" name="Полилиния: фигура 1112">
                  <a:extLst>
                    <a:ext uri="{FF2B5EF4-FFF2-40B4-BE49-F238E27FC236}">
                      <a16:creationId xmlns:a16="http://schemas.microsoft.com/office/drawing/2014/main" id="{82289AF4-45C6-4486-A0FE-E90AD93499A3}"/>
                    </a:ext>
                  </a:extLst>
                </p:cNvPr>
                <p:cNvSpPr/>
                <p:nvPr/>
              </p:nvSpPr>
              <p:spPr>
                <a:xfrm>
                  <a:off x="7852169" y="2305840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14" name="Полилиния: фигура 1113">
                  <a:extLst>
                    <a:ext uri="{FF2B5EF4-FFF2-40B4-BE49-F238E27FC236}">
                      <a16:creationId xmlns:a16="http://schemas.microsoft.com/office/drawing/2014/main" id="{6EEF4E6B-A9B6-46C2-BF90-AE94AF5E9A08}"/>
                    </a:ext>
                  </a:extLst>
                </p:cNvPr>
                <p:cNvSpPr/>
                <p:nvPr/>
              </p:nvSpPr>
              <p:spPr>
                <a:xfrm>
                  <a:off x="7852169" y="2352562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15" name="Полилиния: фигура 1114">
                  <a:extLst>
                    <a:ext uri="{FF2B5EF4-FFF2-40B4-BE49-F238E27FC236}">
                      <a16:creationId xmlns:a16="http://schemas.microsoft.com/office/drawing/2014/main" id="{8B199A6B-5EDA-449C-B289-1E3AC6FAC4EE}"/>
                    </a:ext>
                  </a:extLst>
                </p:cNvPr>
                <p:cNvSpPr/>
                <p:nvPr/>
              </p:nvSpPr>
              <p:spPr>
                <a:xfrm>
                  <a:off x="7852169" y="2399386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16" name="Полилиния: фигура 1115">
                  <a:extLst>
                    <a:ext uri="{FF2B5EF4-FFF2-40B4-BE49-F238E27FC236}">
                      <a16:creationId xmlns:a16="http://schemas.microsoft.com/office/drawing/2014/main" id="{BEB49E2B-4C3D-4DE8-8833-AC453D7AED22}"/>
                    </a:ext>
                  </a:extLst>
                </p:cNvPr>
                <p:cNvSpPr/>
                <p:nvPr/>
              </p:nvSpPr>
              <p:spPr>
                <a:xfrm>
                  <a:off x="7852169" y="2446108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117" name="Полилиния: фигура 1116">
                <a:extLst>
                  <a:ext uri="{FF2B5EF4-FFF2-40B4-BE49-F238E27FC236}">
                    <a16:creationId xmlns:a16="http://schemas.microsoft.com/office/drawing/2014/main" id="{249BED6E-699E-41AA-AF59-1550FDCD1C8F}"/>
                  </a:ext>
                </a:extLst>
              </p:cNvPr>
              <p:cNvSpPr/>
              <p:nvPr/>
            </p:nvSpPr>
            <p:spPr>
              <a:xfrm>
                <a:off x="7836799" y="2137785"/>
                <a:ext cx="472917" cy="10179"/>
              </a:xfrm>
              <a:custGeom>
                <a:avLst/>
                <a:gdLst>
                  <a:gd name="connsiteX0" fmla="*/ 472918 w 472917"/>
                  <a:gd name="connsiteY0" fmla="*/ 0 h 10179"/>
                  <a:gd name="connsiteX1" fmla="*/ 0 w 472917"/>
                  <a:gd name="connsiteY1" fmla="*/ 0 h 1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2917" h="10179">
                    <a:moveTo>
                      <a:pt x="472918" y="0"/>
                    </a:moveTo>
                    <a:lnTo>
                      <a:pt x="0" y="0"/>
                    </a:lnTo>
                  </a:path>
                </a:pathLst>
              </a:custGeom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8" name="Полилиния: фигура 1117">
                <a:extLst>
                  <a:ext uri="{FF2B5EF4-FFF2-40B4-BE49-F238E27FC236}">
                    <a16:creationId xmlns:a16="http://schemas.microsoft.com/office/drawing/2014/main" id="{302F1555-660D-419C-A15B-9659BD368BC5}"/>
                  </a:ext>
                </a:extLst>
              </p:cNvPr>
              <p:cNvSpPr/>
              <p:nvPr/>
            </p:nvSpPr>
            <p:spPr>
              <a:xfrm>
                <a:off x="8008010" y="2488554"/>
                <a:ext cx="293257" cy="608502"/>
              </a:xfrm>
              <a:custGeom>
                <a:avLst/>
                <a:gdLst>
                  <a:gd name="connsiteX0" fmla="*/ 293258 w 293257"/>
                  <a:gd name="connsiteY0" fmla="*/ 0 h 608502"/>
                  <a:gd name="connsiteX1" fmla="*/ 293258 w 293257"/>
                  <a:gd name="connsiteY1" fmla="*/ 608503 h 608502"/>
                  <a:gd name="connsiteX2" fmla="*/ 0 w 293257"/>
                  <a:gd name="connsiteY2" fmla="*/ 608503 h 608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3257" h="608502">
                    <a:moveTo>
                      <a:pt x="293258" y="0"/>
                    </a:moveTo>
                    <a:lnTo>
                      <a:pt x="293258" y="608503"/>
                    </a:lnTo>
                    <a:lnTo>
                      <a:pt x="0" y="608503"/>
                    </a:lnTo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9" name="Полилиния: фигура 1118">
                <a:extLst>
                  <a:ext uri="{FF2B5EF4-FFF2-40B4-BE49-F238E27FC236}">
                    <a16:creationId xmlns:a16="http://schemas.microsoft.com/office/drawing/2014/main" id="{C11580D4-048C-4AE2-9A52-FDD8B052F1A5}"/>
                  </a:ext>
                </a:extLst>
              </p:cNvPr>
              <p:cNvSpPr/>
              <p:nvPr/>
            </p:nvSpPr>
            <p:spPr>
              <a:xfrm>
                <a:off x="7761677" y="2995877"/>
                <a:ext cx="246230" cy="168666"/>
              </a:xfrm>
              <a:custGeom>
                <a:avLst/>
                <a:gdLst>
                  <a:gd name="connsiteX0" fmla="*/ 0 w 246230"/>
                  <a:gd name="connsiteY0" fmla="*/ 0 h 168666"/>
                  <a:gd name="connsiteX1" fmla="*/ 246231 w 246230"/>
                  <a:gd name="connsiteY1" fmla="*/ 0 h 168666"/>
                  <a:gd name="connsiteX2" fmla="*/ 246231 w 246230"/>
                  <a:gd name="connsiteY2" fmla="*/ 168667 h 168666"/>
                  <a:gd name="connsiteX3" fmla="*/ 0 w 246230"/>
                  <a:gd name="connsiteY3" fmla="*/ 168667 h 16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230" h="168666">
                    <a:moveTo>
                      <a:pt x="0" y="0"/>
                    </a:moveTo>
                    <a:lnTo>
                      <a:pt x="246231" y="0"/>
                    </a:lnTo>
                    <a:lnTo>
                      <a:pt x="246231" y="168667"/>
                    </a:lnTo>
                    <a:lnTo>
                      <a:pt x="0" y="168667"/>
                    </a:ln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0" name="Полилиния: фигура 1119">
                <a:extLst>
                  <a:ext uri="{FF2B5EF4-FFF2-40B4-BE49-F238E27FC236}">
                    <a16:creationId xmlns:a16="http://schemas.microsoft.com/office/drawing/2014/main" id="{B4B9B899-3B27-48E3-8E97-02DA41E35391}"/>
                  </a:ext>
                </a:extLst>
              </p:cNvPr>
              <p:cNvSpPr/>
              <p:nvPr/>
            </p:nvSpPr>
            <p:spPr>
              <a:xfrm>
                <a:off x="7761677" y="2746287"/>
                <a:ext cx="246230" cy="168666"/>
              </a:xfrm>
              <a:custGeom>
                <a:avLst/>
                <a:gdLst>
                  <a:gd name="connsiteX0" fmla="*/ 0 w 246230"/>
                  <a:gd name="connsiteY0" fmla="*/ 0 h 168666"/>
                  <a:gd name="connsiteX1" fmla="*/ 246231 w 246230"/>
                  <a:gd name="connsiteY1" fmla="*/ 0 h 168666"/>
                  <a:gd name="connsiteX2" fmla="*/ 246231 w 246230"/>
                  <a:gd name="connsiteY2" fmla="*/ 168667 h 168666"/>
                  <a:gd name="connsiteX3" fmla="*/ 0 w 246230"/>
                  <a:gd name="connsiteY3" fmla="*/ 168667 h 16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230" h="168666">
                    <a:moveTo>
                      <a:pt x="0" y="0"/>
                    </a:moveTo>
                    <a:lnTo>
                      <a:pt x="246231" y="0"/>
                    </a:lnTo>
                    <a:lnTo>
                      <a:pt x="246231" y="168667"/>
                    </a:lnTo>
                    <a:lnTo>
                      <a:pt x="0" y="168667"/>
                    </a:ln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1" name="Полилиния: фигура 1120">
                <a:extLst>
                  <a:ext uri="{FF2B5EF4-FFF2-40B4-BE49-F238E27FC236}">
                    <a16:creationId xmlns:a16="http://schemas.microsoft.com/office/drawing/2014/main" id="{73B6B5AF-AB59-4D9C-A952-77C155BDEA03}"/>
                  </a:ext>
                </a:extLst>
              </p:cNvPr>
              <p:cNvSpPr/>
              <p:nvPr/>
            </p:nvSpPr>
            <p:spPr>
              <a:xfrm>
                <a:off x="8008010" y="2827211"/>
                <a:ext cx="290102" cy="10179"/>
              </a:xfrm>
              <a:custGeom>
                <a:avLst/>
                <a:gdLst>
                  <a:gd name="connsiteX0" fmla="*/ 0 w 290102"/>
                  <a:gd name="connsiteY0" fmla="*/ 0 h 10179"/>
                  <a:gd name="connsiteX1" fmla="*/ 290102 w 290102"/>
                  <a:gd name="connsiteY1" fmla="*/ 0 h 10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0102" h="10179">
                    <a:moveTo>
                      <a:pt x="0" y="0"/>
                    </a:moveTo>
                    <a:lnTo>
                      <a:pt x="290102" y="0"/>
                    </a:lnTo>
                  </a:path>
                </a:pathLst>
              </a:custGeom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122" name="Рисунок 1">
              <a:extLst>
                <a:ext uri="{FF2B5EF4-FFF2-40B4-BE49-F238E27FC236}">
                  <a16:creationId xmlns:a16="http://schemas.microsoft.com/office/drawing/2014/main" id="{6AB4B3CF-F550-40F5-B79A-21746224F834}"/>
                </a:ext>
              </a:extLst>
            </p:cNvPr>
            <p:cNvGrpSpPr/>
            <p:nvPr/>
          </p:nvGrpSpPr>
          <p:grpSpPr>
            <a:xfrm>
              <a:off x="9075521" y="2294033"/>
              <a:ext cx="1824047" cy="1175271"/>
              <a:chOff x="9075521" y="2294033"/>
              <a:chExt cx="1824047" cy="1175271"/>
            </a:xfrm>
            <a:noFill/>
          </p:grpSpPr>
          <p:grpSp>
            <p:nvGrpSpPr>
              <p:cNvPr id="1123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10002694" y="2420151"/>
                <a:ext cx="896874" cy="998360"/>
                <a:chOff x="10002694" y="2420151"/>
                <a:chExt cx="896874" cy="998360"/>
              </a:xfrm>
              <a:noFill/>
            </p:grpSpPr>
            <p:sp>
              <p:nvSpPr>
                <p:cNvPr id="1124" name="Полилиния: фигура 1123">
                  <a:extLst>
                    <a:ext uri="{FF2B5EF4-FFF2-40B4-BE49-F238E27FC236}">
                      <a16:creationId xmlns:a16="http://schemas.microsoft.com/office/drawing/2014/main" id="{F67717C1-191C-441A-A58D-E71E2464D56C}"/>
                    </a:ext>
                  </a:extLst>
                </p:cNvPr>
                <p:cNvSpPr/>
                <p:nvPr/>
              </p:nvSpPr>
              <p:spPr>
                <a:xfrm>
                  <a:off x="10002694" y="2747203"/>
                  <a:ext cx="477294" cy="340895"/>
                </a:xfrm>
                <a:custGeom>
                  <a:avLst/>
                  <a:gdLst>
                    <a:gd name="connsiteX0" fmla="*/ 0 w 477294"/>
                    <a:gd name="connsiteY0" fmla="*/ 0 h 340895"/>
                    <a:gd name="connsiteX1" fmla="*/ 477295 w 477294"/>
                    <a:gd name="connsiteY1" fmla="*/ 0 h 340895"/>
                    <a:gd name="connsiteX2" fmla="*/ 477295 w 477294"/>
                    <a:gd name="connsiteY2" fmla="*/ 340896 h 340895"/>
                    <a:gd name="connsiteX3" fmla="*/ 0 w 477294"/>
                    <a:gd name="connsiteY3" fmla="*/ 340896 h 340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7294" h="340895">
                      <a:moveTo>
                        <a:pt x="0" y="0"/>
                      </a:moveTo>
                      <a:lnTo>
                        <a:pt x="477295" y="0"/>
                      </a:lnTo>
                      <a:lnTo>
                        <a:pt x="477295" y="340896"/>
                      </a:lnTo>
                      <a:lnTo>
                        <a:pt x="0" y="340896"/>
                      </a:ln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25" name="Полилиния: фигура 1124">
                  <a:extLst>
                    <a:ext uri="{FF2B5EF4-FFF2-40B4-BE49-F238E27FC236}">
                      <a16:creationId xmlns:a16="http://schemas.microsoft.com/office/drawing/2014/main" id="{72C118A5-78A1-47ED-AE39-121B8CB7EFEC}"/>
                    </a:ext>
                  </a:extLst>
                </p:cNvPr>
                <p:cNvSpPr/>
                <p:nvPr/>
              </p:nvSpPr>
              <p:spPr>
                <a:xfrm>
                  <a:off x="10126165" y="2420151"/>
                  <a:ext cx="230249" cy="164493"/>
                </a:xfrm>
                <a:custGeom>
                  <a:avLst/>
                  <a:gdLst>
                    <a:gd name="connsiteX0" fmla="*/ 0 w 230249"/>
                    <a:gd name="connsiteY0" fmla="*/ 0 h 164493"/>
                    <a:gd name="connsiteX1" fmla="*/ 230250 w 230249"/>
                    <a:gd name="connsiteY1" fmla="*/ 0 h 164493"/>
                    <a:gd name="connsiteX2" fmla="*/ 230250 w 230249"/>
                    <a:gd name="connsiteY2" fmla="*/ 164493 h 164493"/>
                    <a:gd name="connsiteX3" fmla="*/ 0 w 230249"/>
                    <a:gd name="connsiteY3" fmla="*/ 164493 h 1644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0249" h="164493">
                      <a:moveTo>
                        <a:pt x="0" y="0"/>
                      </a:moveTo>
                      <a:lnTo>
                        <a:pt x="230250" y="0"/>
                      </a:lnTo>
                      <a:lnTo>
                        <a:pt x="230250" y="164493"/>
                      </a:lnTo>
                      <a:lnTo>
                        <a:pt x="0" y="164493"/>
                      </a:ln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26" name="Полилиния: фигура 1125">
                  <a:extLst>
                    <a:ext uri="{FF2B5EF4-FFF2-40B4-BE49-F238E27FC236}">
                      <a16:creationId xmlns:a16="http://schemas.microsoft.com/office/drawing/2014/main" id="{4D07DE85-E248-43A6-8596-9DACA9C196A1}"/>
                    </a:ext>
                  </a:extLst>
                </p:cNvPr>
                <p:cNvSpPr/>
                <p:nvPr/>
              </p:nvSpPr>
              <p:spPr>
                <a:xfrm>
                  <a:off x="10233452" y="2579351"/>
                  <a:ext cx="10179" cy="162660"/>
                </a:xfrm>
                <a:custGeom>
                  <a:avLst/>
                  <a:gdLst>
                    <a:gd name="connsiteX0" fmla="*/ 0 w 10179"/>
                    <a:gd name="connsiteY0" fmla="*/ 162661 h 162660"/>
                    <a:gd name="connsiteX1" fmla="*/ 0 w 10179"/>
                    <a:gd name="connsiteY1" fmla="*/ 0 h 16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62660">
                      <a:moveTo>
                        <a:pt x="0" y="162661"/>
                      </a:moveTo>
                      <a:lnTo>
                        <a:pt x="0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27" name="Полилиния: фигура 1126">
                  <a:extLst>
                    <a:ext uri="{FF2B5EF4-FFF2-40B4-BE49-F238E27FC236}">
                      <a16:creationId xmlns:a16="http://schemas.microsoft.com/office/drawing/2014/main" id="{BFBA7556-1327-4644-AFF8-6C7112E27B40}"/>
                    </a:ext>
                  </a:extLst>
                </p:cNvPr>
                <p:cNvSpPr/>
                <p:nvPr/>
              </p:nvSpPr>
              <p:spPr>
                <a:xfrm>
                  <a:off x="10233452" y="3093392"/>
                  <a:ext cx="10179" cy="162559"/>
                </a:xfrm>
                <a:custGeom>
                  <a:avLst/>
                  <a:gdLst>
                    <a:gd name="connsiteX0" fmla="*/ 0 w 10179"/>
                    <a:gd name="connsiteY0" fmla="*/ 162559 h 162559"/>
                    <a:gd name="connsiteX1" fmla="*/ 0 w 10179"/>
                    <a:gd name="connsiteY1" fmla="*/ 0 h 162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62559">
                      <a:moveTo>
                        <a:pt x="0" y="162559"/>
                      </a:moveTo>
                      <a:lnTo>
                        <a:pt x="0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28" name="Полилиния: фигура 1127">
                  <a:extLst>
                    <a:ext uri="{FF2B5EF4-FFF2-40B4-BE49-F238E27FC236}">
                      <a16:creationId xmlns:a16="http://schemas.microsoft.com/office/drawing/2014/main" id="{58702CAC-EBE5-42A5-A6C5-3116EF2B7698}"/>
                    </a:ext>
                  </a:extLst>
                </p:cNvPr>
                <p:cNvSpPr/>
                <p:nvPr/>
              </p:nvSpPr>
              <p:spPr>
                <a:xfrm rot="-2700000">
                  <a:off x="10149656" y="3250761"/>
                  <a:ext cx="167750" cy="167750"/>
                </a:xfrm>
                <a:custGeom>
                  <a:avLst/>
                  <a:gdLst>
                    <a:gd name="connsiteX0" fmla="*/ 167750 w 167750"/>
                    <a:gd name="connsiteY0" fmla="*/ 83875 h 167750"/>
                    <a:gd name="connsiteX1" fmla="*/ 83875 w 167750"/>
                    <a:gd name="connsiteY1" fmla="*/ 167751 h 167750"/>
                    <a:gd name="connsiteX2" fmla="*/ 0 w 167750"/>
                    <a:gd name="connsiteY2" fmla="*/ 83875 h 167750"/>
                    <a:gd name="connsiteX3" fmla="*/ 83875 w 167750"/>
                    <a:gd name="connsiteY3" fmla="*/ 0 h 167750"/>
                    <a:gd name="connsiteX4" fmla="*/ 167750 w 167750"/>
                    <a:gd name="connsiteY4" fmla="*/ 83875 h 167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7750" h="167750">
                      <a:moveTo>
                        <a:pt x="167750" y="83875"/>
                      </a:moveTo>
                      <a:cubicBezTo>
                        <a:pt x="167750" y="130198"/>
                        <a:pt x="130198" y="167751"/>
                        <a:pt x="83875" y="167751"/>
                      </a:cubicBezTo>
                      <a:cubicBezTo>
                        <a:pt x="37552" y="167751"/>
                        <a:pt x="0" y="130198"/>
                        <a:pt x="0" y="83875"/>
                      </a:cubicBezTo>
                      <a:cubicBezTo>
                        <a:pt x="0" y="37552"/>
                        <a:pt x="37552" y="0"/>
                        <a:pt x="83875" y="0"/>
                      </a:cubicBezTo>
                      <a:cubicBezTo>
                        <a:pt x="130198" y="0"/>
                        <a:pt x="167750" y="37552"/>
                        <a:pt x="167750" y="83875"/>
                      </a:cubicBez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29" name="Полилиния: фигура 1128">
                  <a:extLst>
                    <a:ext uri="{FF2B5EF4-FFF2-40B4-BE49-F238E27FC236}">
                      <a16:creationId xmlns:a16="http://schemas.microsoft.com/office/drawing/2014/main" id="{7E8D5DCC-5870-43B5-95C9-EA1321BB7635}"/>
                    </a:ext>
                  </a:extLst>
                </p:cNvPr>
                <p:cNvSpPr/>
                <p:nvPr/>
              </p:nvSpPr>
              <p:spPr>
                <a:xfrm>
                  <a:off x="10390820" y="2652844"/>
                  <a:ext cx="172432" cy="89168"/>
                </a:xfrm>
                <a:custGeom>
                  <a:avLst/>
                  <a:gdLst>
                    <a:gd name="connsiteX0" fmla="*/ 172433 w 172432"/>
                    <a:gd name="connsiteY0" fmla="*/ 0 h 89168"/>
                    <a:gd name="connsiteX1" fmla="*/ 0 w 172432"/>
                    <a:gd name="connsiteY1" fmla="*/ 0 h 89168"/>
                    <a:gd name="connsiteX2" fmla="*/ 0 w 172432"/>
                    <a:gd name="connsiteY2" fmla="*/ 89168 h 89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2432" h="89168">
                      <a:moveTo>
                        <a:pt x="172433" y="0"/>
                      </a:moveTo>
                      <a:lnTo>
                        <a:pt x="0" y="0"/>
                      </a:lnTo>
                      <a:lnTo>
                        <a:pt x="0" y="89168"/>
                      </a:lnTo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0" name="Полилиния: фигура 1129">
                  <a:extLst>
                    <a:ext uri="{FF2B5EF4-FFF2-40B4-BE49-F238E27FC236}">
                      <a16:creationId xmlns:a16="http://schemas.microsoft.com/office/drawing/2014/main" id="{4965CB97-DCCB-4025-9ED6-A9AA42236D84}"/>
                    </a:ext>
                  </a:extLst>
                </p:cNvPr>
                <p:cNvSpPr/>
                <p:nvPr/>
              </p:nvSpPr>
              <p:spPr>
                <a:xfrm>
                  <a:off x="10763068" y="2652844"/>
                  <a:ext cx="136500" cy="527070"/>
                </a:xfrm>
                <a:custGeom>
                  <a:avLst/>
                  <a:gdLst>
                    <a:gd name="connsiteX0" fmla="*/ 0 w 136500"/>
                    <a:gd name="connsiteY0" fmla="*/ 527070 h 527070"/>
                    <a:gd name="connsiteX1" fmla="*/ 136501 w 136500"/>
                    <a:gd name="connsiteY1" fmla="*/ 527070 h 527070"/>
                    <a:gd name="connsiteX2" fmla="*/ 136501 w 136500"/>
                    <a:gd name="connsiteY2" fmla="*/ 0 h 527070"/>
                    <a:gd name="connsiteX3" fmla="*/ 0 w 136500"/>
                    <a:gd name="connsiteY3" fmla="*/ 0 h 527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6500" h="527070">
                      <a:moveTo>
                        <a:pt x="0" y="527070"/>
                      </a:moveTo>
                      <a:lnTo>
                        <a:pt x="136501" y="527070"/>
                      </a:lnTo>
                      <a:lnTo>
                        <a:pt x="13650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1" name="Полилиния: фигура 1130">
                  <a:extLst>
                    <a:ext uri="{FF2B5EF4-FFF2-40B4-BE49-F238E27FC236}">
                      <a16:creationId xmlns:a16="http://schemas.microsoft.com/office/drawing/2014/main" id="{F6CBACD0-63E7-4611-9352-B34C71E006DE}"/>
                    </a:ext>
                  </a:extLst>
                </p:cNvPr>
                <p:cNvSpPr/>
                <p:nvPr/>
              </p:nvSpPr>
              <p:spPr>
                <a:xfrm>
                  <a:off x="10390820" y="3088099"/>
                  <a:ext cx="172432" cy="91814"/>
                </a:xfrm>
                <a:custGeom>
                  <a:avLst/>
                  <a:gdLst>
                    <a:gd name="connsiteX0" fmla="*/ 0 w 172432"/>
                    <a:gd name="connsiteY0" fmla="*/ 0 h 91814"/>
                    <a:gd name="connsiteX1" fmla="*/ 0 w 172432"/>
                    <a:gd name="connsiteY1" fmla="*/ 91815 h 91814"/>
                    <a:gd name="connsiteX2" fmla="*/ 172433 w 172432"/>
                    <a:gd name="connsiteY2" fmla="*/ 91815 h 91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2432" h="91814">
                      <a:moveTo>
                        <a:pt x="0" y="0"/>
                      </a:moveTo>
                      <a:lnTo>
                        <a:pt x="0" y="91815"/>
                      </a:lnTo>
                      <a:lnTo>
                        <a:pt x="172433" y="91815"/>
                      </a:lnTo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2" name="Полилиния: фигура 1131">
                  <a:extLst>
                    <a:ext uri="{FF2B5EF4-FFF2-40B4-BE49-F238E27FC236}">
                      <a16:creationId xmlns:a16="http://schemas.microsoft.com/office/drawing/2014/main" id="{75F79EA1-A67C-41DB-B78F-AC0356AAD3B8}"/>
                    </a:ext>
                  </a:extLst>
                </p:cNvPr>
                <p:cNvSpPr/>
                <p:nvPr/>
              </p:nvSpPr>
              <p:spPr>
                <a:xfrm>
                  <a:off x="10561523" y="2590853"/>
                  <a:ext cx="204496" cy="125914"/>
                </a:xfrm>
                <a:custGeom>
                  <a:avLst/>
                  <a:gdLst>
                    <a:gd name="connsiteX0" fmla="*/ 0 w 204496"/>
                    <a:gd name="connsiteY0" fmla="*/ 0 h 125914"/>
                    <a:gd name="connsiteX1" fmla="*/ 204497 w 204496"/>
                    <a:gd name="connsiteY1" fmla="*/ 0 h 125914"/>
                    <a:gd name="connsiteX2" fmla="*/ 204497 w 204496"/>
                    <a:gd name="connsiteY2" fmla="*/ 125915 h 125914"/>
                    <a:gd name="connsiteX3" fmla="*/ 0 w 204496"/>
                    <a:gd name="connsiteY3" fmla="*/ 125915 h 125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496" h="125914">
                      <a:moveTo>
                        <a:pt x="0" y="0"/>
                      </a:moveTo>
                      <a:lnTo>
                        <a:pt x="204497" y="0"/>
                      </a:lnTo>
                      <a:lnTo>
                        <a:pt x="204497" y="125915"/>
                      </a:lnTo>
                      <a:lnTo>
                        <a:pt x="0" y="125915"/>
                      </a:ln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3" name="Полилиния: фигура 1132">
                  <a:extLst>
                    <a:ext uri="{FF2B5EF4-FFF2-40B4-BE49-F238E27FC236}">
                      <a16:creationId xmlns:a16="http://schemas.microsoft.com/office/drawing/2014/main" id="{94AFCED1-D102-4562-BEFD-72BA5D013FE0}"/>
                    </a:ext>
                  </a:extLst>
                </p:cNvPr>
                <p:cNvSpPr/>
                <p:nvPr/>
              </p:nvSpPr>
              <p:spPr>
                <a:xfrm>
                  <a:off x="10561523" y="2847263"/>
                  <a:ext cx="204496" cy="125914"/>
                </a:xfrm>
                <a:custGeom>
                  <a:avLst/>
                  <a:gdLst>
                    <a:gd name="connsiteX0" fmla="*/ 0 w 204496"/>
                    <a:gd name="connsiteY0" fmla="*/ 0 h 125914"/>
                    <a:gd name="connsiteX1" fmla="*/ 204497 w 204496"/>
                    <a:gd name="connsiteY1" fmla="*/ 0 h 125914"/>
                    <a:gd name="connsiteX2" fmla="*/ 204497 w 204496"/>
                    <a:gd name="connsiteY2" fmla="*/ 125915 h 125914"/>
                    <a:gd name="connsiteX3" fmla="*/ 0 w 204496"/>
                    <a:gd name="connsiteY3" fmla="*/ 125915 h 125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496" h="125914">
                      <a:moveTo>
                        <a:pt x="0" y="0"/>
                      </a:moveTo>
                      <a:lnTo>
                        <a:pt x="204497" y="0"/>
                      </a:lnTo>
                      <a:lnTo>
                        <a:pt x="204497" y="125915"/>
                      </a:lnTo>
                      <a:lnTo>
                        <a:pt x="0" y="125915"/>
                      </a:ln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4" name="Полилиния: фигура 1133">
                  <a:extLst>
                    <a:ext uri="{FF2B5EF4-FFF2-40B4-BE49-F238E27FC236}">
                      <a16:creationId xmlns:a16="http://schemas.microsoft.com/office/drawing/2014/main" id="{CCFBF4AE-6128-4F2F-91BA-9FD0BB87E52A}"/>
                    </a:ext>
                  </a:extLst>
                </p:cNvPr>
                <p:cNvSpPr/>
                <p:nvPr/>
              </p:nvSpPr>
              <p:spPr>
                <a:xfrm>
                  <a:off x="10561523" y="3103673"/>
                  <a:ext cx="204496" cy="125914"/>
                </a:xfrm>
                <a:custGeom>
                  <a:avLst/>
                  <a:gdLst>
                    <a:gd name="connsiteX0" fmla="*/ 0 w 204496"/>
                    <a:gd name="connsiteY0" fmla="*/ 0 h 125914"/>
                    <a:gd name="connsiteX1" fmla="*/ 204497 w 204496"/>
                    <a:gd name="connsiteY1" fmla="*/ 0 h 125914"/>
                    <a:gd name="connsiteX2" fmla="*/ 204497 w 204496"/>
                    <a:gd name="connsiteY2" fmla="*/ 125915 h 125914"/>
                    <a:gd name="connsiteX3" fmla="*/ 0 w 204496"/>
                    <a:gd name="connsiteY3" fmla="*/ 125915 h 125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496" h="125914">
                      <a:moveTo>
                        <a:pt x="0" y="0"/>
                      </a:moveTo>
                      <a:lnTo>
                        <a:pt x="204497" y="0"/>
                      </a:lnTo>
                      <a:lnTo>
                        <a:pt x="204497" y="125915"/>
                      </a:lnTo>
                      <a:lnTo>
                        <a:pt x="0" y="125915"/>
                      </a:lnTo>
                      <a:close/>
                    </a:path>
                  </a:pathLst>
                </a:custGeom>
                <a:noFill/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5" name="Полилиния: фигура 1134">
                  <a:extLst>
                    <a:ext uri="{FF2B5EF4-FFF2-40B4-BE49-F238E27FC236}">
                      <a16:creationId xmlns:a16="http://schemas.microsoft.com/office/drawing/2014/main" id="{83F2D3A0-2C33-4C1A-B337-81C31136249C}"/>
                    </a:ext>
                  </a:extLst>
                </p:cNvPr>
                <p:cNvSpPr/>
                <p:nvPr/>
              </p:nvSpPr>
              <p:spPr>
                <a:xfrm>
                  <a:off x="10667690" y="2722061"/>
                  <a:ext cx="10179" cy="125202"/>
                </a:xfrm>
                <a:custGeom>
                  <a:avLst/>
                  <a:gdLst>
                    <a:gd name="connsiteX0" fmla="*/ 0 w 10179"/>
                    <a:gd name="connsiteY0" fmla="*/ 0 h 125202"/>
                    <a:gd name="connsiteX1" fmla="*/ 0 w 10179"/>
                    <a:gd name="connsiteY1" fmla="*/ 125202 h 125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5202">
                      <a:moveTo>
                        <a:pt x="0" y="0"/>
                      </a:moveTo>
                      <a:lnTo>
                        <a:pt x="0" y="125202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6" name="Полилиния: фигура 1135">
                  <a:extLst>
                    <a:ext uri="{FF2B5EF4-FFF2-40B4-BE49-F238E27FC236}">
                      <a16:creationId xmlns:a16="http://schemas.microsoft.com/office/drawing/2014/main" id="{A71BF29D-5710-4E91-AB6F-29B6937DD45D}"/>
                    </a:ext>
                  </a:extLst>
                </p:cNvPr>
                <p:cNvSpPr/>
                <p:nvPr/>
              </p:nvSpPr>
              <p:spPr>
                <a:xfrm>
                  <a:off x="10667690" y="2975417"/>
                  <a:ext cx="10179" cy="125202"/>
                </a:xfrm>
                <a:custGeom>
                  <a:avLst/>
                  <a:gdLst>
                    <a:gd name="connsiteX0" fmla="*/ 0 w 10179"/>
                    <a:gd name="connsiteY0" fmla="*/ 0 h 125202"/>
                    <a:gd name="connsiteX1" fmla="*/ 0 w 10179"/>
                    <a:gd name="connsiteY1" fmla="*/ 125202 h 125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179" h="125202">
                      <a:moveTo>
                        <a:pt x="0" y="0"/>
                      </a:moveTo>
                      <a:lnTo>
                        <a:pt x="0" y="125202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137" name="Полилиния: фигура 1136">
                <a:extLst>
                  <a:ext uri="{FF2B5EF4-FFF2-40B4-BE49-F238E27FC236}">
                    <a16:creationId xmlns:a16="http://schemas.microsoft.com/office/drawing/2014/main" id="{9E3ABBE8-B1FE-4D7A-B660-964315DF7A4A}"/>
                  </a:ext>
                </a:extLst>
              </p:cNvPr>
              <p:cNvSpPr/>
              <p:nvPr/>
            </p:nvSpPr>
            <p:spPr>
              <a:xfrm>
                <a:off x="9180329" y="2668214"/>
                <a:ext cx="675073" cy="504269"/>
              </a:xfrm>
              <a:custGeom>
                <a:avLst/>
                <a:gdLst>
                  <a:gd name="connsiteX0" fmla="*/ 0 w 675073"/>
                  <a:gd name="connsiteY0" fmla="*/ 134160 h 504269"/>
                  <a:gd name="connsiteX1" fmla="*/ 0 w 675073"/>
                  <a:gd name="connsiteY1" fmla="*/ 0 h 504269"/>
                  <a:gd name="connsiteX2" fmla="*/ 675074 w 675073"/>
                  <a:gd name="connsiteY2" fmla="*/ 0 h 504269"/>
                  <a:gd name="connsiteX3" fmla="*/ 675074 w 675073"/>
                  <a:gd name="connsiteY3" fmla="*/ 504270 h 504269"/>
                  <a:gd name="connsiteX4" fmla="*/ 0 w 675073"/>
                  <a:gd name="connsiteY4" fmla="*/ 504270 h 504269"/>
                  <a:gd name="connsiteX5" fmla="*/ 0 w 675073"/>
                  <a:gd name="connsiteY5" fmla="*/ 284606 h 504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5073" h="504269">
                    <a:moveTo>
                      <a:pt x="0" y="134160"/>
                    </a:moveTo>
                    <a:lnTo>
                      <a:pt x="0" y="0"/>
                    </a:lnTo>
                    <a:lnTo>
                      <a:pt x="675074" y="0"/>
                    </a:lnTo>
                    <a:lnTo>
                      <a:pt x="675074" y="504270"/>
                    </a:lnTo>
                    <a:lnTo>
                      <a:pt x="0" y="504270"/>
                    </a:lnTo>
                    <a:lnTo>
                      <a:pt x="0" y="284606"/>
                    </a:lnTo>
                  </a:path>
                </a:pathLst>
              </a:custGeom>
              <a:solidFill>
                <a:srgbClr val="FFFFFF">
                  <a:alpha val="41000"/>
                </a:srgbClr>
              </a:solidFill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8" name="Полилиния: фигура 1137">
                <a:extLst>
                  <a:ext uri="{FF2B5EF4-FFF2-40B4-BE49-F238E27FC236}">
                    <a16:creationId xmlns:a16="http://schemas.microsoft.com/office/drawing/2014/main" id="{764AA623-5D04-4B3A-A923-BDE695E2B438}"/>
                  </a:ext>
                </a:extLst>
              </p:cNvPr>
              <p:cNvSpPr/>
              <p:nvPr/>
            </p:nvSpPr>
            <p:spPr>
              <a:xfrm>
                <a:off x="9753816" y="2294033"/>
                <a:ext cx="284605" cy="284605"/>
              </a:xfrm>
              <a:custGeom>
                <a:avLst/>
                <a:gdLst>
                  <a:gd name="connsiteX0" fmla="*/ 284606 w 284605"/>
                  <a:gd name="connsiteY0" fmla="*/ 142303 h 284605"/>
                  <a:gd name="connsiteX1" fmla="*/ 142303 w 284605"/>
                  <a:gd name="connsiteY1" fmla="*/ 284606 h 284605"/>
                  <a:gd name="connsiteX2" fmla="*/ 0 w 284605"/>
                  <a:gd name="connsiteY2" fmla="*/ 142303 h 284605"/>
                  <a:gd name="connsiteX3" fmla="*/ 142303 w 284605"/>
                  <a:gd name="connsiteY3" fmla="*/ 0 h 284605"/>
                  <a:gd name="connsiteX4" fmla="*/ 284606 w 284605"/>
                  <a:gd name="connsiteY4" fmla="*/ 142303 h 28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4605" h="284605">
                    <a:moveTo>
                      <a:pt x="284606" y="142303"/>
                    </a:moveTo>
                    <a:cubicBezTo>
                      <a:pt x="284606" y="220895"/>
                      <a:pt x="220895" y="284606"/>
                      <a:pt x="142303" y="284606"/>
                    </a:cubicBezTo>
                    <a:cubicBezTo>
                      <a:pt x="63711" y="284606"/>
                      <a:pt x="0" y="220895"/>
                      <a:pt x="0" y="142303"/>
                    </a:cubicBezTo>
                    <a:cubicBezTo>
                      <a:pt x="0" y="63711"/>
                      <a:pt x="63711" y="0"/>
                      <a:pt x="142303" y="0"/>
                    </a:cubicBezTo>
                    <a:cubicBezTo>
                      <a:pt x="220895" y="0"/>
                      <a:pt x="284606" y="63711"/>
                      <a:pt x="284606" y="142303"/>
                    </a:cubicBez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9" name="Полилиния: фигура 1138">
                <a:extLst>
                  <a:ext uri="{FF2B5EF4-FFF2-40B4-BE49-F238E27FC236}">
                    <a16:creationId xmlns:a16="http://schemas.microsoft.com/office/drawing/2014/main" id="{89085401-AA12-4416-A47F-5C22726E083D}"/>
                  </a:ext>
                </a:extLst>
              </p:cNvPr>
              <p:cNvSpPr/>
              <p:nvPr/>
            </p:nvSpPr>
            <p:spPr>
              <a:xfrm rot="18806400">
                <a:off x="9075521" y="2798647"/>
                <a:ext cx="161846" cy="161846"/>
              </a:xfrm>
              <a:custGeom>
                <a:avLst/>
                <a:gdLst>
                  <a:gd name="connsiteX0" fmla="*/ 161847 w 161846"/>
                  <a:gd name="connsiteY0" fmla="*/ 80923 h 161846"/>
                  <a:gd name="connsiteX1" fmla="*/ 80923 w 161846"/>
                  <a:gd name="connsiteY1" fmla="*/ 161847 h 161846"/>
                  <a:gd name="connsiteX2" fmla="*/ 0 w 161846"/>
                  <a:gd name="connsiteY2" fmla="*/ 80923 h 161846"/>
                  <a:gd name="connsiteX3" fmla="*/ 80923 w 161846"/>
                  <a:gd name="connsiteY3" fmla="*/ 0 h 161846"/>
                  <a:gd name="connsiteX4" fmla="*/ 161847 w 161846"/>
                  <a:gd name="connsiteY4" fmla="*/ 80923 h 161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846" h="161846">
                    <a:moveTo>
                      <a:pt x="161847" y="80923"/>
                    </a:moveTo>
                    <a:cubicBezTo>
                      <a:pt x="161847" y="125616"/>
                      <a:pt x="125616" y="161847"/>
                      <a:pt x="80923" y="161847"/>
                    </a:cubicBezTo>
                    <a:cubicBezTo>
                      <a:pt x="36231" y="161847"/>
                      <a:pt x="0" y="125616"/>
                      <a:pt x="0" y="80923"/>
                    </a:cubicBezTo>
                    <a:cubicBezTo>
                      <a:pt x="0" y="36231"/>
                      <a:pt x="36231" y="0"/>
                      <a:pt x="80923" y="0"/>
                    </a:cubicBezTo>
                    <a:cubicBezTo>
                      <a:pt x="125616" y="0"/>
                      <a:pt x="161847" y="36231"/>
                      <a:pt x="161847" y="80923"/>
                    </a:cubicBezTo>
                    <a:close/>
                  </a:path>
                </a:pathLst>
              </a:custGeom>
              <a:noFill/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40" name="Полилиния: фигура 1139">
                <a:extLst>
                  <a:ext uri="{FF2B5EF4-FFF2-40B4-BE49-F238E27FC236}">
                    <a16:creationId xmlns:a16="http://schemas.microsoft.com/office/drawing/2014/main" id="{CD7BC4A5-3AF8-4171-8944-1C3736764FDB}"/>
                  </a:ext>
                </a:extLst>
              </p:cNvPr>
              <p:cNvSpPr/>
              <p:nvPr/>
            </p:nvSpPr>
            <p:spPr>
              <a:xfrm>
                <a:off x="9733458" y="2558382"/>
                <a:ext cx="77258" cy="117873"/>
              </a:xfrm>
              <a:custGeom>
                <a:avLst/>
                <a:gdLst>
                  <a:gd name="connsiteX0" fmla="*/ 77259 w 77258"/>
                  <a:gd name="connsiteY0" fmla="*/ 0 h 117873"/>
                  <a:gd name="connsiteX1" fmla="*/ 0 w 77258"/>
                  <a:gd name="connsiteY1" fmla="*/ 117873 h 117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7258" h="117873">
                    <a:moveTo>
                      <a:pt x="77259" y="0"/>
                    </a:moveTo>
                    <a:lnTo>
                      <a:pt x="0" y="117873"/>
                    </a:lnTo>
                  </a:path>
                </a:pathLst>
              </a:custGeom>
              <a:ln w="10166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141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9696814" y="3282214"/>
                <a:ext cx="207448" cy="187090"/>
                <a:chOff x="9696814" y="3282214"/>
                <a:chExt cx="207448" cy="187090"/>
              </a:xfrm>
            </p:grpSpPr>
            <p:sp>
              <p:nvSpPr>
                <p:cNvPr id="1142" name="Полилиния: фигура 1141">
                  <a:extLst>
                    <a:ext uri="{FF2B5EF4-FFF2-40B4-BE49-F238E27FC236}">
                      <a16:creationId xmlns:a16="http://schemas.microsoft.com/office/drawing/2014/main" id="{63F54A03-1280-46C3-915E-9503F856104F}"/>
                    </a:ext>
                  </a:extLst>
                </p:cNvPr>
                <p:cNvSpPr/>
                <p:nvPr/>
              </p:nvSpPr>
              <p:spPr>
                <a:xfrm>
                  <a:off x="9696814" y="3282214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43" name="Полилиния: фигура 1142">
                  <a:extLst>
                    <a:ext uri="{FF2B5EF4-FFF2-40B4-BE49-F238E27FC236}">
                      <a16:creationId xmlns:a16="http://schemas.microsoft.com/office/drawing/2014/main" id="{5BC6AA35-0A2E-4C2B-9013-EEBCED7C8448}"/>
                    </a:ext>
                  </a:extLst>
                </p:cNvPr>
                <p:cNvSpPr/>
                <p:nvPr/>
              </p:nvSpPr>
              <p:spPr>
                <a:xfrm>
                  <a:off x="9696814" y="3329037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44" name="Полилиния: фигура 1143">
                  <a:extLst>
                    <a:ext uri="{FF2B5EF4-FFF2-40B4-BE49-F238E27FC236}">
                      <a16:creationId xmlns:a16="http://schemas.microsoft.com/office/drawing/2014/main" id="{3E027304-8E42-4086-9E1E-2E94C33EDE66}"/>
                    </a:ext>
                  </a:extLst>
                </p:cNvPr>
                <p:cNvSpPr/>
                <p:nvPr/>
              </p:nvSpPr>
              <p:spPr>
                <a:xfrm>
                  <a:off x="9696814" y="3375759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45" name="Полилиния: фигура 1144">
                  <a:extLst>
                    <a:ext uri="{FF2B5EF4-FFF2-40B4-BE49-F238E27FC236}">
                      <a16:creationId xmlns:a16="http://schemas.microsoft.com/office/drawing/2014/main" id="{D6C53696-AF13-402C-9A6D-E3354819ABCC}"/>
                    </a:ext>
                  </a:extLst>
                </p:cNvPr>
                <p:cNvSpPr/>
                <p:nvPr/>
              </p:nvSpPr>
              <p:spPr>
                <a:xfrm>
                  <a:off x="9696814" y="3422582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46" name="Полилиния: фигура 1145">
                  <a:extLst>
                    <a:ext uri="{FF2B5EF4-FFF2-40B4-BE49-F238E27FC236}">
                      <a16:creationId xmlns:a16="http://schemas.microsoft.com/office/drawing/2014/main" id="{0268729C-3F89-49A9-86AF-8C3CC30DEFD4}"/>
                    </a:ext>
                  </a:extLst>
                </p:cNvPr>
                <p:cNvSpPr/>
                <p:nvPr/>
              </p:nvSpPr>
              <p:spPr>
                <a:xfrm>
                  <a:off x="9696814" y="3469304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147" name="Рисунок 1">
                <a:extLst>
                  <a:ext uri="{FF2B5EF4-FFF2-40B4-BE49-F238E27FC236}">
                    <a16:creationId xmlns:a16="http://schemas.microsoft.com/office/drawing/2014/main" id="{6AB4B3CF-F550-40F5-B79A-21746224F834}"/>
                  </a:ext>
                </a:extLst>
              </p:cNvPr>
              <p:cNvGrpSpPr/>
              <p:nvPr/>
            </p:nvGrpSpPr>
            <p:grpSpPr>
              <a:xfrm>
                <a:off x="10131967" y="2818660"/>
                <a:ext cx="207448" cy="187090"/>
                <a:chOff x="10131967" y="2818660"/>
                <a:chExt cx="207448" cy="187090"/>
              </a:xfrm>
            </p:grpSpPr>
            <p:sp>
              <p:nvSpPr>
                <p:cNvPr id="1148" name="Полилиния: фигура 1147">
                  <a:extLst>
                    <a:ext uri="{FF2B5EF4-FFF2-40B4-BE49-F238E27FC236}">
                      <a16:creationId xmlns:a16="http://schemas.microsoft.com/office/drawing/2014/main" id="{458DE89F-B518-4B24-A3AE-88EB076148C3}"/>
                    </a:ext>
                  </a:extLst>
                </p:cNvPr>
                <p:cNvSpPr/>
                <p:nvPr/>
              </p:nvSpPr>
              <p:spPr>
                <a:xfrm>
                  <a:off x="10131967" y="2818660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49" name="Полилиния: фигура 1148">
                  <a:extLst>
                    <a:ext uri="{FF2B5EF4-FFF2-40B4-BE49-F238E27FC236}">
                      <a16:creationId xmlns:a16="http://schemas.microsoft.com/office/drawing/2014/main" id="{22D9C372-9084-4B01-BCB7-5143AD2EF65F}"/>
                    </a:ext>
                  </a:extLst>
                </p:cNvPr>
                <p:cNvSpPr/>
                <p:nvPr/>
              </p:nvSpPr>
              <p:spPr>
                <a:xfrm>
                  <a:off x="10131967" y="2865382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50" name="Полилиния: фигура 1149">
                  <a:extLst>
                    <a:ext uri="{FF2B5EF4-FFF2-40B4-BE49-F238E27FC236}">
                      <a16:creationId xmlns:a16="http://schemas.microsoft.com/office/drawing/2014/main" id="{02DBFD98-B7C1-4FA7-AB7B-0ED595830039}"/>
                    </a:ext>
                  </a:extLst>
                </p:cNvPr>
                <p:cNvSpPr/>
                <p:nvPr/>
              </p:nvSpPr>
              <p:spPr>
                <a:xfrm>
                  <a:off x="10131967" y="2912206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51" name="Полилиния: фигура 1150">
                  <a:extLst>
                    <a:ext uri="{FF2B5EF4-FFF2-40B4-BE49-F238E27FC236}">
                      <a16:creationId xmlns:a16="http://schemas.microsoft.com/office/drawing/2014/main" id="{E03935A0-1EA1-4E80-9D26-1BFE9724008A}"/>
                    </a:ext>
                  </a:extLst>
                </p:cNvPr>
                <p:cNvSpPr/>
                <p:nvPr/>
              </p:nvSpPr>
              <p:spPr>
                <a:xfrm>
                  <a:off x="10131967" y="2958927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52" name="Полилиния: фигура 1151">
                  <a:extLst>
                    <a:ext uri="{FF2B5EF4-FFF2-40B4-BE49-F238E27FC236}">
                      <a16:creationId xmlns:a16="http://schemas.microsoft.com/office/drawing/2014/main" id="{9882FF0E-D3B5-4D72-AE53-CD2B90B23ACA}"/>
                    </a:ext>
                  </a:extLst>
                </p:cNvPr>
                <p:cNvSpPr/>
                <p:nvPr/>
              </p:nvSpPr>
              <p:spPr>
                <a:xfrm>
                  <a:off x="10131967" y="3005751"/>
                  <a:ext cx="207448" cy="10179"/>
                </a:xfrm>
                <a:custGeom>
                  <a:avLst/>
                  <a:gdLst>
                    <a:gd name="connsiteX0" fmla="*/ 0 w 207448"/>
                    <a:gd name="connsiteY0" fmla="*/ 0 h 10179"/>
                    <a:gd name="connsiteX1" fmla="*/ 207449 w 207448"/>
                    <a:gd name="connsiteY1" fmla="*/ 0 h 10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7448" h="10179">
                      <a:moveTo>
                        <a:pt x="0" y="0"/>
                      </a:moveTo>
                      <a:lnTo>
                        <a:pt x="207449" y="0"/>
                      </a:lnTo>
                    </a:path>
                  </a:pathLst>
                </a:custGeom>
                <a:ln w="10166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</p:grpSp>
      <p:sp>
        <p:nvSpPr>
          <p:cNvPr id="258" name="Заголовок">
            <a:extLst>
              <a:ext uri="{FF2B5EF4-FFF2-40B4-BE49-F238E27FC236}">
                <a16:creationId xmlns:a16="http://schemas.microsoft.com/office/drawing/2014/main" id="{26A02455-069D-4DF2-938F-8E012BE4A496}"/>
              </a:ext>
            </a:extLst>
          </p:cNvPr>
          <p:cNvSpPr txBox="1"/>
          <p:nvPr/>
        </p:nvSpPr>
        <p:spPr>
          <a:xfrm>
            <a:off x="9156824" y="2843290"/>
            <a:ext cx="7396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accent3">
                    <a:alpha val="50000"/>
                  </a:schemeClr>
                </a:solidFill>
                <a:latin typeface="Roboto" pitchFamily="2" charset="0"/>
                <a:ea typeface="Roboto" pitchFamily="2" charset="0"/>
              </a:rPr>
              <a:t>MDM</a:t>
            </a:r>
            <a:endParaRPr lang="ru-RU" b="1" dirty="0">
              <a:solidFill>
                <a:schemeClr val="accent3">
                  <a:alpha val="50000"/>
                </a:schemeClr>
              </a:solidFill>
              <a:latin typeface="Roboto" pitchFamily="2" charset="0"/>
              <a:ea typeface="Roboto" pitchFamily="2" charset="0"/>
            </a:endParaRPr>
          </a:p>
        </p:txBody>
      </p:sp>
      <p:pic>
        <p:nvPicPr>
          <p:cNvPr id="203" name="ОТП_Logo">
            <a:extLst>
              <a:ext uri="{FF2B5EF4-FFF2-40B4-BE49-F238E27FC236}">
                <a16:creationId xmlns:a16="http://schemas.microsoft.com/office/drawing/2014/main" id="{F104EE24-5020-45A8-BEF9-48F3BB8AF2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31070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2.59259E-6 L 0.04232 0.0002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09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39 -4.81481E-6 L 0.05534 -0.00069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10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6" y="-4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4.81481E-6 L 1.66667E-6 -0.01782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9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0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4.81481E-6 L 1.66667E-6 -0.01782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9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A6210562-D714-488A-8EDF-6C386514AB7A}"/>
              </a:ext>
            </a:extLst>
          </p:cNvPr>
          <p:cNvSpPr/>
          <p:nvPr/>
        </p:nvSpPr>
        <p:spPr>
          <a:xfrm>
            <a:off x="0" y="2625760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85" name="Rounded Rectangle">
            <a:extLst>
              <a:ext uri="{FF2B5EF4-FFF2-40B4-BE49-F238E27FC236}">
                <a16:creationId xmlns:a16="http://schemas.microsoft.com/office/drawing/2014/main" id="{27FED30D-A3D6-4F30-9880-769BE4357EF8}"/>
              </a:ext>
            </a:extLst>
          </p:cNvPr>
          <p:cNvSpPr/>
          <p:nvPr/>
        </p:nvSpPr>
        <p:spPr>
          <a:xfrm>
            <a:off x="7165721" y="2505934"/>
            <a:ext cx="5032686" cy="2494096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68543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Шаг 3. Разделение базы на клиентов и </a:t>
            </a:r>
            <a:r>
              <a:rPr lang="ru-RU" sz="4400" b="1" dirty="0" err="1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лидов</a:t>
            </a: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1" name="Описание">
            <a:extLst>
              <a:ext uri="{FF2B5EF4-FFF2-40B4-BE49-F238E27FC236}">
                <a16:creationId xmlns:a16="http://schemas.microsoft.com/office/drawing/2014/main" id="{27845CDF-A906-4CE7-9EBB-783A9E17A958}"/>
              </a:ext>
            </a:extLst>
          </p:cNvPr>
          <p:cNvSpPr txBox="1"/>
          <p:nvPr/>
        </p:nvSpPr>
        <p:spPr>
          <a:xfrm>
            <a:off x="7059428" y="1775528"/>
            <a:ext cx="2850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Ожидаемые результаты:</a:t>
            </a:r>
          </a:p>
        </p:txBody>
      </p: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4CB94E34-DE97-41DF-8CBF-983A17940C82}"/>
              </a:ext>
            </a:extLst>
          </p:cNvPr>
          <p:cNvGrpSpPr/>
          <p:nvPr/>
        </p:nvGrpSpPr>
        <p:grpSpPr>
          <a:xfrm>
            <a:off x="3657672" y="2068468"/>
            <a:ext cx="2721165" cy="1639248"/>
            <a:chOff x="1061912" y="4049834"/>
            <a:chExt cx="2721165" cy="1639248"/>
          </a:xfrm>
        </p:grpSpPr>
        <p:sp>
          <p:nvSpPr>
            <p:cNvPr id="141" name="Shape_фон">
              <a:extLst>
                <a:ext uri="{FF2B5EF4-FFF2-40B4-BE49-F238E27FC236}">
                  <a16:creationId xmlns:a16="http://schemas.microsoft.com/office/drawing/2014/main" id="{C2B13443-441E-41E8-B9C4-A6A2304F0DC6}"/>
                </a:ext>
              </a:extLst>
            </p:cNvPr>
            <p:cNvSpPr/>
            <p:nvPr/>
          </p:nvSpPr>
          <p:spPr>
            <a:xfrm>
              <a:off x="1061912" y="4049834"/>
              <a:ext cx="2721165" cy="163924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2" name="Описание">
              <a:extLst>
                <a:ext uri="{FF2B5EF4-FFF2-40B4-BE49-F238E27FC236}">
                  <a16:creationId xmlns:a16="http://schemas.microsoft.com/office/drawing/2014/main" id="{3D27BAA0-4B48-461D-87C8-1180309DDAD9}"/>
                </a:ext>
              </a:extLst>
            </p:cNvPr>
            <p:cNvSpPr txBox="1"/>
            <p:nvPr/>
          </p:nvSpPr>
          <p:spPr>
            <a:xfrm>
              <a:off x="2047328" y="4119149"/>
              <a:ext cx="7152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Лиды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143" name="Группа 142">
              <a:extLst>
                <a:ext uri="{FF2B5EF4-FFF2-40B4-BE49-F238E27FC236}">
                  <a16:creationId xmlns:a16="http://schemas.microsoft.com/office/drawing/2014/main" id="{511E2DEA-AF01-4A31-94CB-995A800BB04B}"/>
                </a:ext>
              </a:extLst>
            </p:cNvPr>
            <p:cNvGrpSpPr/>
            <p:nvPr/>
          </p:nvGrpSpPr>
          <p:grpSpPr>
            <a:xfrm>
              <a:off x="1299450" y="4505151"/>
              <a:ext cx="2133543" cy="264211"/>
              <a:chOff x="2554156" y="1493927"/>
              <a:chExt cx="4624638" cy="572700"/>
            </a:xfrm>
          </p:grpSpPr>
          <p:sp>
            <p:nvSpPr>
              <p:cNvPr id="196" name="Rounded Rectangle">
                <a:extLst>
                  <a:ext uri="{FF2B5EF4-FFF2-40B4-BE49-F238E27FC236}">
                    <a16:creationId xmlns:a16="http://schemas.microsoft.com/office/drawing/2014/main" id="{24032A87-32E0-4007-B437-4E3F08FA5439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8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7" name="Market analysis">
                <a:extLst>
                  <a:ext uri="{FF2B5EF4-FFF2-40B4-BE49-F238E27FC236}">
                    <a16:creationId xmlns:a16="http://schemas.microsoft.com/office/drawing/2014/main" id="{C1D07D2E-B5C1-4F8D-BFBE-6784402BFB14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198" name="Группа 197">
                <a:extLst>
                  <a:ext uri="{FF2B5EF4-FFF2-40B4-BE49-F238E27FC236}">
                    <a16:creationId xmlns:a16="http://schemas.microsoft.com/office/drawing/2014/main" id="{A7401CA1-02C8-4403-8EB2-5511BA70638D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199" name="Circle">
                  <a:extLst>
                    <a:ext uri="{FF2B5EF4-FFF2-40B4-BE49-F238E27FC236}">
                      <a16:creationId xmlns:a16="http://schemas.microsoft.com/office/drawing/2014/main" id="{3A612BF4-AD33-43F5-94C2-38400FB2522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>
                        <a:alpha val="20000"/>
                      </a:srgbClr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200" name="Группа 199">
                  <a:extLst>
                    <a:ext uri="{FF2B5EF4-FFF2-40B4-BE49-F238E27FC236}">
                      <a16:creationId xmlns:a16="http://schemas.microsoft.com/office/drawing/2014/main" id="{6F693A63-6677-4205-875F-4D5171153515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201" name="Полилиния: фигура 200">
                    <a:extLst>
                      <a:ext uri="{FF2B5EF4-FFF2-40B4-BE49-F238E27FC236}">
                        <a16:creationId xmlns:a16="http://schemas.microsoft.com/office/drawing/2014/main" id="{028827F0-AD27-4762-B8C8-B3A7553B0A9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202" name="Карточка 1_Ава">
                    <a:extLst>
                      <a:ext uri="{FF2B5EF4-FFF2-40B4-BE49-F238E27FC236}">
                        <a16:creationId xmlns:a16="http://schemas.microsoft.com/office/drawing/2014/main" id="{E0548236-E0ED-4DF3-84E9-26F4DCE3185B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203" name="Карточка 1_Ава">
                      <a:extLst>
                        <a:ext uri="{FF2B5EF4-FFF2-40B4-BE49-F238E27FC236}">
                          <a16:creationId xmlns:a16="http://schemas.microsoft.com/office/drawing/2014/main" id="{0F3DB213-3B7A-4444-8CF1-526D2388ED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209" name="Полилиния: фигура 208">
                        <a:extLst>
                          <a:ext uri="{FF2B5EF4-FFF2-40B4-BE49-F238E27FC236}">
                            <a16:creationId xmlns:a16="http://schemas.microsoft.com/office/drawing/2014/main" id="{77249411-1223-4CD4-8FEA-08442F8CE7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0" name="Полилиния: фигура 209">
                        <a:extLst>
                          <a:ext uri="{FF2B5EF4-FFF2-40B4-BE49-F238E27FC236}">
                            <a16:creationId xmlns:a16="http://schemas.microsoft.com/office/drawing/2014/main" id="{D66985F9-D53E-4A5D-9319-B8101792A9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1" name="Полилиния: фигура 210">
                        <a:extLst>
                          <a:ext uri="{FF2B5EF4-FFF2-40B4-BE49-F238E27FC236}">
                            <a16:creationId xmlns:a16="http://schemas.microsoft.com/office/drawing/2014/main" id="{0713F2EA-D2E0-4E52-8E74-7EE1D3CC50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2" name="Полилиния: фигура 211">
                        <a:extLst>
                          <a:ext uri="{FF2B5EF4-FFF2-40B4-BE49-F238E27FC236}">
                            <a16:creationId xmlns:a16="http://schemas.microsoft.com/office/drawing/2014/main" id="{49E8B6CA-892B-4762-AD5B-B9724010C0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3" name="Полилиния: фигура 212">
                        <a:extLst>
                          <a:ext uri="{FF2B5EF4-FFF2-40B4-BE49-F238E27FC236}">
                            <a16:creationId xmlns:a16="http://schemas.microsoft.com/office/drawing/2014/main" id="{5232F397-2F29-49DC-A290-3A9F7B3EAC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4" name="Полилиния: фигура 213">
                        <a:extLst>
                          <a:ext uri="{FF2B5EF4-FFF2-40B4-BE49-F238E27FC236}">
                            <a16:creationId xmlns:a16="http://schemas.microsoft.com/office/drawing/2014/main" id="{53BFC181-08CC-4AED-9E76-8D4556B51C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5" name="Полилиния: фигура 214">
                        <a:extLst>
                          <a:ext uri="{FF2B5EF4-FFF2-40B4-BE49-F238E27FC236}">
                            <a16:creationId xmlns:a16="http://schemas.microsoft.com/office/drawing/2014/main" id="{479A95E9-79D1-48EB-BDB9-010CF73650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6" name="Полилиния: фигура 215">
                        <a:extLst>
                          <a:ext uri="{FF2B5EF4-FFF2-40B4-BE49-F238E27FC236}">
                            <a16:creationId xmlns:a16="http://schemas.microsoft.com/office/drawing/2014/main" id="{FA5EB8DE-43C4-47A9-8875-EAFB64F546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7" name="Полилиния: фигура 216">
                        <a:extLst>
                          <a:ext uri="{FF2B5EF4-FFF2-40B4-BE49-F238E27FC236}">
                            <a16:creationId xmlns:a16="http://schemas.microsoft.com/office/drawing/2014/main" id="{0DBC007B-FEE1-42D5-A7D6-F694F432C7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8" name="Полилиния: фигура 217">
                        <a:extLst>
                          <a:ext uri="{FF2B5EF4-FFF2-40B4-BE49-F238E27FC236}">
                            <a16:creationId xmlns:a16="http://schemas.microsoft.com/office/drawing/2014/main" id="{42BE9014-AF52-4E39-A3E3-95AA025357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19" name="Полилиния: фигура 218">
                        <a:extLst>
                          <a:ext uri="{FF2B5EF4-FFF2-40B4-BE49-F238E27FC236}">
                            <a16:creationId xmlns:a16="http://schemas.microsoft.com/office/drawing/2014/main" id="{95BCBF33-6287-4930-87AE-9E028B6343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20" name="Полилиния: фигура 219">
                        <a:extLst>
                          <a:ext uri="{FF2B5EF4-FFF2-40B4-BE49-F238E27FC236}">
                            <a16:creationId xmlns:a16="http://schemas.microsoft.com/office/drawing/2014/main" id="{51046FD9-AF58-46A2-875C-A1BA005C8E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204" name="Карточка 1_Ава">
                      <a:extLst>
                        <a:ext uri="{FF2B5EF4-FFF2-40B4-BE49-F238E27FC236}">
                          <a16:creationId xmlns:a16="http://schemas.microsoft.com/office/drawing/2014/main" id="{9E03D488-6544-464E-AE9A-9F173EEFDB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205" name="Полилиния: фигура 204">
                        <a:extLst>
                          <a:ext uri="{FF2B5EF4-FFF2-40B4-BE49-F238E27FC236}">
                            <a16:creationId xmlns:a16="http://schemas.microsoft.com/office/drawing/2014/main" id="{46009B9A-9932-4E88-8FD0-12C423CF5A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06" name="Полилиния: фигура 205">
                        <a:extLst>
                          <a:ext uri="{FF2B5EF4-FFF2-40B4-BE49-F238E27FC236}">
                            <a16:creationId xmlns:a16="http://schemas.microsoft.com/office/drawing/2014/main" id="{325390D3-D615-4B33-BC4E-17C0169BF0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07" name="Полилиния: фигура 206">
                        <a:extLst>
                          <a:ext uri="{FF2B5EF4-FFF2-40B4-BE49-F238E27FC236}">
                            <a16:creationId xmlns:a16="http://schemas.microsoft.com/office/drawing/2014/main" id="{DC160477-9718-474A-8030-403C02BEC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08" name="Полилиния: фигура 207">
                        <a:extLst>
                          <a:ext uri="{FF2B5EF4-FFF2-40B4-BE49-F238E27FC236}">
                            <a16:creationId xmlns:a16="http://schemas.microsoft.com/office/drawing/2014/main" id="{C3A9118F-1FDA-4651-942F-003B2B3E61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144" name="Группа 143">
              <a:extLst>
                <a:ext uri="{FF2B5EF4-FFF2-40B4-BE49-F238E27FC236}">
                  <a16:creationId xmlns:a16="http://schemas.microsoft.com/office/drawing/2014/main" id="{8E066A6E-6EBD-418B-B77C-87CD0A9C6675}"/>
                </a:ext>
              </a:extLst>
            </p:cNvPr>
            <p:cNvGrpSpPr/>
            <p:nvPr/>
          </p:nvGrpSpPr>
          <p:grpSpPr>
            <a:xfrm>
              <a:off x="1299451" y="4880231"/>
              <a:ext cx="2133542" cy="264211"/>
              <a:chOff x="2554158" y="1493927"/>
              <a:chExt cx="4624635" cy="572700"/>
            </a:xfrm>
          </p:grpSpPr>
          <p:sp>
            <p:nvSpPr>
              <p:cNvPr id="171" name="Rounded Rectangle">
                <a:extLst>
                  <a:ext uri="{FF2B5EF4-FFF2-40B4-BE49-F238E27FC236}">
                    <a16:creationId xmlns:a16="http://schemas.microsoft.com/office/drawing/2014/main" id="{9DCF13F0-58D5-4699-B059-10F166FF9224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462463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2" name="Market analysis">
                <a:extLst>
                  <a:ext uri="{FF2B5EF4-FFF2-40B4-BE49-F238E27FC236}">
                    <a16:creationId xmlns:a16="http://schemas.microsoft.com/office/drawing/2014/main" id="{E349CFC0-D7F3-4E00-B8E9-2A5A17FFE947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173" name="Группа 172">
                <a:extLst>
                  <a:ext uri="{FF2B5EF4-FFF2-40B4-BE49-F238E27FC236}">
                    <a16:creationId xmlns:a16="http://schemas.microsoft.com/office/drawing/2014/main" id="{914CA41E-DD96-45F2-805F-C62E93344524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174" name="Circle">
                  <a:extLst>
                    <a:ext uri="{FF2B5EF4-FFF2-40B4-BE49-F238E27FC236}">
                      <a16:creationId xmlns:a16="http://schemas.microsoft.com/office/drawing/2014/main" id="{CA02929E-AFC3-457A-B21B-6375DD6EDA92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175" name="Группа 174">
                  <a:extLst>
                    <a:ext uri="{FF2B5EF4-FFF2-40B4-BE49-F238E27FC236}">
                      <a16:creationId xmlns:a16="http://schemas.microsoft.com/office/drawing/2014/main" id="{83DD0A95-4943-4B11-9EAE-DAE2EEA459B5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176" name="Полилиния: фигура 175">
                    <a:extLst>
                      <a:ext uri="{FF2B5EF4-FFF2-40B4-BE49-F238E27FC236}">
                        <a16:creationId xmlns:a16="http://schemas.microsoft.com/office/drawing/2014/main" id="{756A26F3-2DDA-4FB6-8D9F-58DC5615E39D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177" name="Карточка 1_Ава">
                    <a:extLst>
                      <a:ext uri="{FF2B5EF4-FFF2-40B4-BE49-F238E27FC236}">
                        <a16:creationId xmlns:a16="http://schemas.microsoft.com/office/drawing/2014/main" id="{376072B6-3E81-41B7-BFBD-82913AB3A5D6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178" name="Карточка 1_Ава">
                      <a:extLst>
                        <a:ext uri="{FF2B5EF4-FFF2-40B4-BE49-F238E27FC236}">
                          <a16:creationId xmlns:a16="http://schemas.microsoft.com/office/drawing/2014/main" id="{B8807CA4-168E-4AFC-8066-89078DEDEE6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184" name="Полилиния: фигура 183">
                        <a:extLst>
                          <a:ext uri="{FF2B5EF4-FFF2-40B4-BE49-F238E27FC236}">
                            <a16:creationId xmlns:a16="http://schemas.microsoft.com/office/drawing/2014/main" id="{751BB795-804A-4C35-AF1F-94C49BF5E8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5" name="Полилиния: фигура 184">
                        <a:extLst>
                          <a:ext uri="{FF2B5EF4-FFF2-40B4-BE49-F238E27FC236}">
                            <a16:creationId xmlns:a16="http://schemas.microsoft.com/office/drawing/2014/main" id="{37A57AD4-1959-42B4-84D8-55E0CF4B83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6" name="Полилиния: фигура 185">
                        <a:extLst>
                          <a:ext uri="{FF2B5EF4-FFF2-40B4-BE49-F238E27FC236}">
                            <a16:creationId xmlns:a16="http://schemas.microsoft.com/office/drawing/2014/main" id="{08DDF10F-D33C-4D32-A62C-0ED9DC9758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7" name="Полилиния: фигура 186">
                        <a:extLst>
                          <a:ext uri="{FF2B5EF4-FFF2-40B4-BE49-F238E27FC236}">
                            <a16:creationId xmlns:a16="http://schemas.microsoft.com/office/drawing/2014/main" id="{029D4AB9-C269-494B-894F-D349D1018F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8" name="Полилиния: фигура 187">
                        <a:extLst>
                          <a:ext uri="{FF2B5EF4-FFF2-40B4-BE49-F238E27FC236}">
                            <a16:creationId xmlns:a16="http://schemas.microsoft.com/office/drawing/2014/main" id="{B060C8EA-C259-4B03-9D34-8DF75526F9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9" name="Полилиния: фигура 188">
                        <a:extLst>
                          <a:ext uri="{FF2B5EF4-FFF2-40B4-BE49-F238E27FC236}">
                            <a16:creationId xmlns:a16="http://schemas.microsoft.com/office/drawing/2014/main" id="{6726A6B0-676A-45F5-8176-268FF2880B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0" name="Полилиния: фигура 189">
                        <a:extLst>
                          <a:ext uri="{FF2B5EF4-FFF2-40B4-BE49-F238E27FC236}">
                            <a16:creationId xmlns:a16="http://schemas.microsoft.com/office/drawing/2014/main" id="{ADEDEC5E-DF55-4095-83E1-A56A5F1E37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1" name="Полилиния: фигура 190">
                        <a:extLst>
                          <a:ext uri="{FF2B5EF4-FFF2-40B4-BE49-F238E27FC236}">
                            <a16:creationId xmlns:a16="http://schemas.microsoft.com/office/drawing/2014/main" id="{045974D4-6169-440E-981E-5A6628EA73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2" name="Полилиния: фигура 191">
                        <a:extLst>
                          <a:ext uri="{FF2B5EF4-FFF2-40B4-BE49-F238E27FC236}">
                            <a16:creationId xmlns:a16="http://schemas.microsoft.com/office/drawing/2014/main" id="{3AC71CC5-9F0D-4701-B8AB-52EAA76961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3" name="Полилиния: фигура 192">
                        <a:extLst>
                          <a:ext uri="{FF2B5EF4-FFF2-40B4-BE49-F238E27FC236}">
                            <a16:creationId xmlns:a16="http://schemas.microsoft.com/office/drawing/2014/main" id="{E7535174-035D-4453-AA1C-777E72E159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4" name="Полилиния: фигура 193">
                        <a:extLst>
                          <a:ext uri="{FF2B5EF4-FFF2-40B4-BE49-F238E27FC236}">
                            <a16:creationId xmlns:a16="http://schemas.microsoft.com/office/drawing/2014/main" id="{E44A85CD-BA6C-4C2B-97AA-B93A0074BA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95" name="Полилиния: фигура 194">
                        <a:extLst>
                          <a:ext uri="{FF2B5EF4-FFF2-40B4-BE49-F238E27FC236}">
                            <a16:creationId xmlns:a16="http://schemas.microsoft.com/office/drawing/2014/main" id="{466696E3-47BC-4E84-A788-BCAEB2DBC6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179" name="Карточка 1_Ава">
                      <a:extLst>
                        <a:ext uri="{FF2B5EF4-FFF2-40B4-BE49-F238E27FC236}">
                          <a16:creationId xmlns:a16="http://schemas.microsoft.com/office/drawing/2014/main" id="{18D5CF2F-43BD-4F62-B871-5C155D28C6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180" name="Полилиния: фигура 179">
                        <a:extLst>
                          <a:ext uri="{FF2B5EF4-FFF2-40B4-BE49-F238E27FC236}">
                            <a16:creationId xmlns:a16="http://schemas.microsoft.com/office/drawing/2014/main" id="{0BB34B91-FCF9-4F07-AB50-E2A090A38F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1" name="Полилиния: фигура 180">
                        <a:extLst>
                          <a:ext uri="{FF2B5EF4-FFF2-40B4-BE49-F238E27FC236}">
                            <a16:creationId xmlns:a16="http://schemas.microsoft.com/office/drawing/2014/main" id="{F99426F0-F3DA-4CCE-B995-CCA039FA34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2" name="Полилиния: фигура 181">
                        <a:extLst>
                          <a:ext uri="{FF2B5EF4-FFF2-40B4-BE49-F238E27FC236}">
                            <a16:creationId xmlns:a16="http://schemas.microsoft.com/office/drawing/2014/main" id="{AA790394-3761-4F2B-8336-D50E3639A3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83" name="Полилиния: фигура 182">
                        <a:extLst>
                          <a:ext uri="{FF2B5EF4-FFF2-40B4-BE49-F238E27FC236}">
                            <a16:creationId xmlns:a16="http://schemas.microsoft.com/office/drawing/2014/main" id="{E2D74452-8194-466C-B41D-6A4887CC2F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145" name="Группа 144">
              <a:extLst>
                <a:ext uri="{FF2B5EF4-FFF2-40B4-BE49-F238E27FC236}">
                  <a16:creationId xmlns:a16="http://schemas.microsoft.com/office/drawing/2014/main" id="{482FEB04-7B15-4E2C-88C1-3466A253569F}"/>
                </a:ext>
              </a:extLst>
            </p:cNvPr>
            <p:cNvGrpSpPr/>
            <p:nvPr/>
          </p:nvGrpSpPr>
          <p:grpSpPr>
            <a:xfrm>
              <a:off x="1299450" y="5255310"/>
              <a:ext cx="2133541" cy="264211"/>
              <a:chOff x="2554156" y="1493927"/>
              <a:chExt cx="4624633" cy="572700"/>
            </a:xfrm>
          </p:grpSpPr>
          <p:sp>
            <p:nvSpPr>
              <p:cNvPr id="146" name="Rounded Rectangle">
                <a:extLst>
                  <a:ext uri="{FF2B5EF4-FFF2-40B4-BE49-F238E27FC236}">
                    <a16:creationId xmlns:a16="http://schemas.microsoft.com/office/drawing/2014/main" id="{1CC0F672-DF76-4CDE-BA0D-66DFAC9488BA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3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7" name="Market analysis">
                <a:extLst>
                  <a:ext uri="{FF2B5EF4-FFF2-40B4-BE49-F238E27FC236}">
                    <a16:creationId xmlns:a16="http://schemas.microsoft.com/office/drawing/2014/main" id="{BD1B1E93-1AFF-47E0-AE7E-B834704991C7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148" name="Группа 147">
                <a:extLst>
                  <a:ext uri="{FF2B5EF4-FFF2-40B4-BE49-F238E27FC236}">
                    <a16:creationId xmlns:a16="http://schemas.microsoft.com/office/drawing/2014/main" id="{D566AAC3-2819-4B8A-B6DE-3BEF957B3047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149" name="Circle">
                  <a:extLst>
                    <a:ext uri="{FF2B5EF4-FFF2-40B4-BE49-F238E27FC236}">
                      <a16:creationId xmlns:a16="http://schemas.microsoft.com/office/drawing/2014/main" id="{F2BFCB68-F528-475C-8FE6-6D37CB7CB99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150" name="Группа 149">
                  <a:extLst>
                    <a:ext uri="{FF2B5EF4-FFF2-40B4-BE49-F238E27FC236}">
                      <a16:creationId xmlns:a16="http://schemas.microsoft.com/office/drawing/2014/main" id="{53BDD635-6D5F-43C6-A836-16F5604451F2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151" name="Полилиния: фигура 150">
                    <a:extLst>
                      <a:ext uri="{FF2B5EF4-FFF2-40B4-BE49-F238E27FC236}">
                        <a16:creationId xmlns:a16="http://schemas.microsoft.com/office/drawing/2014/main" id="{5DAB5B59-2296-4455-ADA1-5E29695253F2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152" name="Карточка 1_Ава">
                    <a:extLst>
                      <a:ext uri="{FF2B5EF4-FFF2-40B4-BE49-F238E27FC236}">
                        <a16:creationId xmlns:a16="http://schemas.microsoft.com/office/drawing/2014/main" id="{80CAB59A-979A-4A5B-BBA2-1DD54ACB144A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153" name="Карточка 1_Ава">
                      <a:extLst>
                        <a:ext uri="{FF2B5EF4-FFF2-40B4-BE49-F238E27FC236}">
                          <a16:creationId xmlns:a16="http://schemas.microsoft.com/office/drawing/2014/main" id="{5D301B6B-81E6-48B7-9913-BADE59D85A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159" name="Полилиния: фигура 158">
                        <a:extLst>
                          <a:ext uri="{FF2B5EF4-FFF2-40B4-BE49-F238E27FC236}">
                            <a16:creationId xmlns:a16="http://schemas.microsoft.com/office/drawing/2014/main" id="{9546CC09-BC54-4A43-A33D-022A8E89B4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0" name="Полилиния: фигура 159">
                        <a:extLst>
                          <a:ext uri="{FF2B5EF4-FFF2-40B4-BE49-F238E27FC236}">
                            <a16:creationId xmlns:a16="http://schemas.microsoft.com/office/drawing/2014/main" id="{DEE56324-0E5B-4468-8B4E-590E3929F9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1" name="Полилиния: фигура 160">
                        <a:extLst>
                          <a:ext uri="{FF2B5EF4-FFF2-40B4-BE49-F238E27FC236}">
                            <a16:creationId xmlns:a16="http://schemas.microsoft.com/office/drawing/2014/main" id="{B48A10BE-B847-4E1E-9C52-70364C4DB5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2" name="Полилиния: фигура 161">
                        <a:extLst>
                          <a:ext uri="{FF2B5EF4-FFF2-40B4-BE49-F238E27FC236}">
                            <a16:creationId xmlns:a16="http://schemas.microsoft.com/office/drawing/2014/main" id="{C0E26E30-0210-4C6C-8FEF-B9C7C31755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3" name="Полилиния: фигура 162">
                        <a:extLst>
                          <a:ext uri="{FF2B5EF4-FFF2-40B4-BE49-F238E27FC236}">
                            <a16:creationId xmlns:a16="http://schemas.microsoft.com/office/drawing/2014/main" id="{06BD0977-95C5-4DB2-AB21-304CBFD60C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4" name="Полилиния: фигура 163">
                        <a:extLst>
                          <a:ext uri="{FF2B5EF4-FFF2-40B4-BE49-F238E27FC236}">
                            <a16:creationId xmlns:a16="http://schemas.microsoft.com/office/drawing/2014/main" id="{13766738-1FC3-47A2-8254-FF5F75A5EA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5" name="Полилиния: фигура 164">
                        <a:extLst>
                          <a:ext uri="{FF2B5EF4-FFF2-40B4-BE49-F238E27FC236}">
                            <a16:creationId xmlns:a16="http://schemas.microsoft.com/office/drawing/2014/main" id="{71E082C7-9431-4682-98CF-4DD220C9F7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6" name="Полилиния: фигура 165">
                        <a:extLst>
                          <a:ext uri="{FF2B5EF4-FFF2-40B4-BE49-F238E27FC236}">
                            <a16:creationId xmlns:a16="http://schemas.microsoft.com/office/drawing/2014/main" id="{1F814AE6-84A2-4C38-88C1-8703081E85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7" name="Полилиния: фигура 166">
                        <a:extLst>
                          <a:ext uri="{FF2B5EF4-FFF2-40B4-BE49-F238E27FC236}">
                            <a16:creationId xmlns:a16="http://schemas.microsoft.com/office/drawing/2014/main" id="{A483ADD2-7FE5-47BD-AE30-48770C8AB3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8" name="Полилиния: фигура 167">
                        <a:extLst>
                          <a:ext uri="{FF2B5EF4-FFF2-40B4-BE49-F238E27FC236}">
                            <a16:creationId xmlns:a16="http://schemas.microsoft.com/office/drawing/2014/main" id="{12273F45-65E3-4773-A51B-DDD574EEC4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69" name="Полилиния: фигура 168">
                        <a:extLst>
                          <a:ext uri="{FF2B5EF4-FFF2-40B4-BE49-F238E27FC236}">
                            <a16:creationId xmlns:a16="http://schemas.microsoft.com/office/drawing/2014/main" id="{B211A13A-DE58-481A-8972-4254B8766A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70" name="Полилиния: фигура 169">
                        <a:extLst>
                          <a:ext uri="{FF2B5EF4-FFF2-40B4-BE49-F238E27FC236}">
                            <a16:creationId xmlns:a16="http://schemas.microsoft.com/office/drawing/2014/main" id="{4C8019C9-CC66-437B-970E-14385859A6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154" name="Карточка 1_Ава">
                      <a:extLst>
                        <a:ext uri="{FF2B5EF4-FFF2-40B4-BE49-F238E27FC236}">
                          <a16:creationId xmlns:a16="http://schemas.microsoft.com/office/drawing/2014/main" id="{769DEBC6-FE23-4176-9596-A514579B05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155" name="Полилиния: фигура 154">
                        <a:extLst>
                          <a:ext uri="{FF2B5EF4-FFF2-40B4-BE49-F238E27FC236}">
                            <a16:creationId xmlns:a16="http://schemas.microsoft.com/office/drawing/2014/main" id="{7C2FA575-32BD-4F36-9DD4-8280938137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56" name="Полилиния: фигура 155">
                        <a:extLst>
                          <a:ext uri="{FF2B5EF4-FFF2-40B4-BE49-F238E27FC236}">
                            <a16:creationId xmlns:a16="http://schemas.microsoft.com/office/drawing/2014/main" id="{000F124E-06A0-402D-8FCA-D98AB0F7B3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57" name="Полилиния: фигура 156">
                        <a:extLst>
                          <a:ext uri="{FF2B5EF4-FFF2-40B4-BE49-F238E27FC236}">
                            <a16:creationId xmlns:a16="http://schemas.microsoft.com/office/drawing/2014/main" id="{2675137B-4908-4080-97AD-78F8053452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158" name="Полилиния: фигура 157">
                        <a:extLst>
                          <a:ext uri="{FF2B5EF4-FFF2-40B4-BE49-F238E27FC236}">
                            <a16:creationId xmlns:a16="http://schemas.microsoft.com/office/drawing/2014/main" id="{75812276-1D96-4B09-A5FC-8FEDFB4D05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221" name="Группа 220">
            <a:extLst>
              <a:ext uri="{FF2B5EF4-FFF2-40B4-BE49-F238E27FC236}">
                <a16:creationId xmlns:a16="http://schemas.microsoft.com/office/drawing/2014/main" id="{5F583B95-A4D9-41B3-9CA5-B923F03B242B}"/>
              </a:ext>
            </a:extLst>
          </p:cNvPr>
          <p:cNvGrpSpPr/>
          <p:nvPr/>
        </p:nvGrpSpPr>
        <p:grpSpPr>
          <a:xfrm>
            <a:off x="3657672" y="3935794"/>
            <a:ext cx="2721165" cy="1639248"/>
            <a:chOff x="1061912" y="4049834"/>
            <a:chExt cx="2721165" cy="1639248"/>
          </a:xfrm>
        </p:grpSpPr>
        <p:sp>
          <p:nvSpPr>
            <p:cNvPr id="222" name="Shape_фон">
              <a:extLst>
                <a:ext uri="{FF2B5EF4-FFF2-40B4-BE49-F238E27FC236}">
                  <a16:creationId xmlns:a16="http://schemas.microsoft.com/office/drawing/2014/main" id="{7738650A-DFE3-4D8F-863F-B740362B92CA}"/>
                </a:ext>
              </a:extLst>
            </p:cNvPr>
            <p:cNvSpPr/>
            <p:nvPr/>
          </p:nvSpPr>
          <p:spPr>
            <a:xfrm>
              <a:off x="1061912" y="4049834"/>
              <a:ext cx="2721165" cy="163924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223" name="Описание">
              <a:extLst>
                <a:ext uri="{FF2B5EF4-FFF2-40B4-BE49-F238E27FC236}">
                  <a16:creationId xmlns:a16="http://schemas.microsoft.com/office/drawing/2014/main" id="{7A420674-9F9D-44F0-8BC4-DD093586A60E}"/>
                </a:ext>
              </a:extLst>
            </p:cNvPr>
            <p:cNvSpPr txBox="1"/>
            <p:nvPr/>
          </p:nvSpPr>
          <p:spPr>
            <a:xfrm>
              <a:off x="1895043" y="4119149"/>
              <a:ext cx="10198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ы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224" name="Группа 223">
              <a:extLst>
                <a:ext uri="{FF2B5EF4-FFF2-40B4-BE49-F238E27FC236}">
                  <a16:creationId xmlns:a16="http://schemas.microsoft.com/office/drawing/2014/main" id="{93CD18B7-E1E2-490A-B362-1A33C84C5F92}"/>
                </a:ext>
              </a:extLst>
            </p:cNvPr>
            <p:cNvGrpSpPr/>
            <p:nvPr/>
          </p:nvGrpSpPr>
          <p:grpSpPr>
            <a:xfrm>
              <a:off x="1299450" y="4505151"/>
              <a:ext cx="2133543" cy="264211"/>
              <a:chOff x="2554156" y="1493927"/>
              <a:chExt cx="4624638" cy="572700"/>
            </a:xfrm>
          </p:grpSpPr>
          <p:sp>
            <p:nvSpPr>
              <p:cNvPr id="277" name="Rounded Rectangle">
                <a:extLst>
                  <a:ext uri="{FF2B5EF4-FFF2-40B4-BE49-F238E27FC236}">
                    <a16:creationId xmlns:a16="http://schemas.microsoft.com/office/drawing/2014/main" id="{86EF5218-54ED-4BF8-A742-55C40B960415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8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78" name="Market analysis">
                <a:extLst>
                  <a:ext uri="{FF2B5EF4-FFF2-40B4-BE49-F238E27FC236}">
                    <a16:creationId xmlns:a16="http://schemas.microsoft.com/office/drawing/2014/main" id="{4DC1221F-141C-4B92-9740-08369FA2D002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279" name="Группа 278">
                <a:extLst>
                  <a:ext uri="{FF2B5EF4-FFF2-40B4-BE49-F238E27FC236}">
                    <a16:creationId xmlns:a16="http://schemas.microsoft.com/office/drawing/2014/main" id="{32867C9D-AA95-4A8E-AEAB-F206D9E004E9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280" name="Circle">
                  <a:extLst>
                    <a:ext uri="{FF2B5EF4-FFF2-40B4-BE49-F238E27FC236}">
                      <a16:creationId xmlns:a16="http://schemas.microsoft.com/office/drawing/2014/main" id="{66892270-0801-4DC4-86F8-197B1ED4AA4A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281" name="Группа 280">
                  <a:extLst>
                    <a:ext uri="{FF2B5EF4-FFF2-40B4-BE49-F238E27FC236}">
                      <a16:creationId xmlns:a16="http://schemas.microsoft.com/office/drawing/2014/main" id="{9FB54BE9-01E2-4CCA-A918-130D1D957B9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282" name="Полилиния: фигура 281">
                    <a:extLst>
                      <a:ext uri="{FF2B5EF4-FFF2-40B4-BE49-F238E27FC236}">
                        <a16:creationId xmlns:a16="http://schemas.microsoft.com/office/drawing/2014/main" id="{523E2BDC-94E8-4D06-AB10-8AB8F749CD81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283" name="Карточка 1_Ава">
                    <a:extLst>
                      <a:ext uri="{FF2B5EF4-FFF2-40B4-BE49-F238E27FC236}">
                        <a16:creationId xmlns:a16="http://schemas.microsoft.com/office/drawing/2014/main" id="{73482AA9-4B58-46F2-BE1B-977DD83D4E83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284" name="Карточка 1_Ава">
                      <a:extLst>
                        <a:ext uri="{FF2B5EF4-FFF2-40B4-BE49-F238E27FC236}">
                          <a16:creationId xmlns:a16="http://schemas.microsoft.com/office/drawing/2014/main" id="{6549CB4B-4500-4335-9A85-BE613C509BF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290" name="Полилиния: фигура 289">
                        <a:extLst>
                          <a:ext uri="{FF2B5EF4-FFF2-40B4-BE49-F238E27FC236}">
                            <a16:creationId xmlns:a16="http://schemas.microsoft.com/office/drawing/2014/main" id="{3719B3AF-AC91-4772-B7BD-0F06CF8D9C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1" name="Полилиния: фигура 290">
                        <a:extLst>
                          <a:ext uri="{FF2B5EF4-FFF2-40B4-BE49-F238E27FC236}">
                            <a16:creationId xmlns:a16="http://schemas.microsoft.com/office/drawing/2014/main" id="{1250FA41-7F9F-4711-BADA-A9D00E88E1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2" name="Полилиния: фигура 291">
                        <a:extLst>
                          <a:ext uri="{FF2B5EF4-FFF2-40B4-BE49-F238E27FC236}">
                            <a16:creationId xmlns:a16="http://schemas.microsoft.com/office/drawing/2014/main" id="{586CC36F-AEF3-459F-A86C-5CFA49B9D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3" name="Полилиния: фигура 292">
                        <a:extLst>
                          <a:ext uri="{FF2B5EF4-FFF2-40B4-BE49-F238E27FC236}">
                            <a16:creationId xmlns:a16="http://schemas.microsoft.com/office/drawing/2014/main" id="{04DD2513-BF30-4A8E-BC68-8A0BB9632D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4" name="Полилиния: фигура 293">
                        <a:extLst>
                          <a:ext uri="{FF2B5EF4-FFF2-40B4-BE49-F238E27FC236}">
                            <a16:creationId xmlns:a16="http://schemas.microsoft.com/office/drawing/2014/main" id="{B99D0840-C81B-48F3-9C4D-CFCC1198A8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5" name="Полилиния: фигура 294">
                        <a:extLst>
                          <a:ext uri="{FF2B5EF4-FFF2-40B4-BE49-F238E27FC236}">
                            <a16:creationId xmlns:a16="http://schemas.microsoft.com/office/drawing/2014/main" id="{DFD4F2B2-1E41-44E2-9F62-A0FE1B8FB8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6" name="Полилиния: фигура 295">
                        <a:extLst>
                          <a:ext uri="{FF2B5EF4-FFF2-40B4-BE49-F238E27FC236}">
                            <a16:creationId xmlns:a16="http://schemas.microsoft.com/office/drawing/2014/main" id="{DE856DD1-8447-47AF-892E-AD1014B2F8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7" name="Полилиния: фигура 296">
                        <a:extLst>
                          <a:ext uri="{FF2B5EF4-FFF2-40B4-BE49-F238E27FC236}">
                            <a16:creationId xmlns:a16="http://schemas.microsoft.com/office/drawing/2014/main" id="{A03DCEE6-384C-4139-BACE-18BA8F50B7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8" name="Полилиния: фигура 297">
                        <a:extLst>
                          <a:ext uri="{FF2B5EF4-FFF2-40B4-BE49-F238E27FC236}">
                            <a16:creationId xmlns:a16="http://schemas.microsoft.com/office/drawing/2014/main" id="{B7C10BA8-DC26-4FBC-AE0A-20F9526327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99" name="Полилиния: фигура 298">
                        <a:extLst>
                          <a:ext uri="{FF2B5EF4-FFF2-40B4-BE49-F238E27FC236}">
                            <a16:creationId xmlns:a16="http://schemas.microsoft.com/office/drawing/2014/main" id="{AA560BDB-A0AB-47F0-9F43-E56FA357F8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00" name="Полилиния: фигура 299">
                        <a:extLst>
                          <a:ext uri="{FF2B5EF4-FFF2-40B4-BE49-F238E27FC236}">
                            <a16:creationId xmlns:a16="http://schemas.microsoft.com/office/drawing/2014/main" id="{A166ED0B-4FD7-4286-A8C4-2D18DDE78A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01" name="Полилиния: фигура 300">
                        <a:extLst>
                          <a:ext uri="{FF2B5EF4-FFF2-40B4-BE49-F238E27FC236}">
                            <a16:creationId xmlns:a16="http://schemas.microsoft.com/office/drawing/2014/main" id="{093010BD-60BF-4210-BF4F-BCCE2AE8D0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285" name="Карточка 1_Ава">
                      <a:extLst>
                        <a:ext uri="{FF2B5EF4-FFF2-40B4-BE49-F238E27FC236}">
                          <a16:creationId xmlns:a16="http://schemas.microsoft.com/office/drawing/2014/main" id="{90061315-D2BD-457A-A64D-EB8E8B6148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286" name="Полилиния: фигура 285">
                        <a:extLst>
                          <a:ext uri="{FF2B5EF4-FFF2-40B4-BE49-F238E27FC236}">
                            <a16:creationId xmlns:a16="http://schemas.microsoft.com/office/drawing/2014/main" id="{6BEF3C8B-3297-4499-85FD-A1ADF6633B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87" name="Полилиния: фигура 286">
                        <a:extLst>
                          <a:ext uri="{FF2B5EF4-FFF2-40B4-BE49-F238E27FC236}">
                            <a16:creationId xmlns:a16="http://schemas.microsoft.com/office/drawing/2014/main" id="{538F1539-2524-4432-8E9E-209DCDBA5A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88" name="Полилиния: фигура 287">
                        <a:extLst>
                          <a:ext uri="{FF2B5EF4-FFF2-40B4-BE49-F238E27FC236}">
                            <a16:creationId xmlns:a16="http://schemas.microsoft.com/office/drawing/2014/main" id="{32425E97-8E42-4CFA-BC9A-E8DF967B7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89" name="Полилиния: фигура 288">
                        <a:extLst>
                          <a:ext uri="{FF2B5EF4-FFF2-40B4-BE49-F238E27FC236}">
                            <a16:creationId xmlns:a16="http://schemas.microsoft.com/office/drawing/2014/main" id="{643EA673-8855-4D1C-8F04-6C857B7DE3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225" name="Группа 224">
              <a:extLst>
                <a:ext uri="{FF2B5EF4-FFF2-40B4-BE49-F238E27FC236}">
                  <a16:creationId xmlns:a16="http://schemas.microsoft.com/office/drawing/2014/main" id="{E222FBEF-D7CA-4B6F-806B-26BEE7CF996F}"/>
                </a:ext>
              </a:extLst>
            </p:cNvPr>
            <p:cNvGrpSpPr/>
            <p:nvPr/>
          </p:nvGrpSpPr>
          <p:grpSpPr>
            <a:xfrm>
              <a:off x="1299451" y="4880231"/>
              <a:ext cx="2133542" cy="264211"/>
              <a:chOff x="2554158" y="1493927"/>
              <a:chExt cx="4624635" cy="572700"/>
            </a:xfrm>
          </p:grpSpPr>
          <p:sp>
            <p:nvSpPr>
              <p:cNvPr id="252" name="Rounded Rectangle">
                <a:extLst>
                  <a:ext uri="{FF2B5EF4-FFF2-40B4-BE49-F238E27FC236}">
                    <a16:creationId xmlns:a16="http://schemas.microsoft.com/office/drawing/2014/main" id="{8B7C402A-4B9D-4547-846C-9D7F6A0242A3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462463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53" name="Market analysis">
                <a:extLst>
                  <a:ext uri="{FF2B5EF4-FFF2-40B4-BE49-F238E27FC236}">
                    <a16:creationId xmlns:a16="http://schemas.microsoft.com/office/drawing/2014/main" id="{A86C8987-EAA9-4C5A-824D-F09FE922D4E9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254" name="Группа 253">
                <a:extLst>
                  <a:ext uri="{FF2B5EF4-FFF2-40B4-BE49-F238E27FC236}">
                    <a16:creationId xmlns:a16="http://schemas.microsoft.com/office/drawing/2014/main" id="{192433AD-791F-42DC-814F-1D224217A0A9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255" name="Circle">
                  <a:extLst>
                    <a:ext uri="{FF2B5EF4-FFF2-40B4-BE49-F238E27FC236}">
                      <a16:creationId xmlns:a16="http://schemas.microsoft.com/office/drawing/2014/main" id="{178D0069-4C3E-4283-85E3-3E9757058793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256" name="Группа 255">
                  <a:extLst>
                    <a:ext uri="{FF2B5EF4-FFF2-40B4-BE49-F238E27FC236}">
                      <a16:creationId xmlns:a16="http://schemas.microsoft.com/office/drawing/2014/main" id="{82436480-11AD-45C2-9B91-BEDDEB289261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257" name="Полилиния: фигура 256">
                    <a:extLst>
                      <a:ext uri="{FF2B5EF4-FFF2-40B4-BE49-F238E27FC236}">
                        <a16:creationId xmlns:a16="http://schemas.microsoft.com/office/drawing/2014/main" id="{C30EA7FE-989F-493C-8F73-44A231BD24DA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258" name="Карточка 1_Ава">
                    <a:extLst>
                      <a:ext uri="{FF2B5EF4-FFF2-40B4-BE49-F238E27FC236}">
                        <a16:creationId xmlns:a16="http://schemas.microsoft.com/office/drawing/2014/main" id="{35DE17AC-1C14-4EE6-9642-6DEE47150D9D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259" name="Карточка 1_Ава">
                      <a:extLst>
                        <a:ext uri="{FF2B5EF4-FFF2-40B4-BE49-F238E27FC236}">
                          <a16:creationId xmlns:a16="http://schemas.microsoft.com/office/drawing/2014/main" id="{707A58BB-73C2-439F-915C-82330CF89FC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265" name="Полилиния: фигура 264">
                        <a:extLst>
                          <a:ext uri="{FF2B5EF4-FFF2-40B4-BE49-F238E27FC236}">
                            <a16:creationId xmlns:a16="http://schemas.microsoft.com/office/drawing/2014/main" id="{3B49437C-4E96-42FF-9755-95E1283F58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6" name="Полилиния: фигура 265">
                        <a:extLst>
                          <a:ext uri="{FF2B5EF4-FFF2-40B4-BE49-F238E27FC236}">
                            <a16:creationId xmlns:a16="http://schemas.microsoft.com/office/drawing/2014/main" id="{3FA6CC42-639A-48F8-976C-45A64EB44A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7" name="Полилиния: фигура 266">
                        <a:extLst>
                          <a:ext uri="{FF2B5EF4-FFF2-40B4-BE49-F238E27FC236}">
                            <a16:creationId xmlns:a16="http://schemas.microsoft.com/office/drawing/2014/main" id="{3DF066EC-C4A9-4012-B827-51D0A591EC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8" name="Полилиния: фигура 267">
                        <a:extLst>
                          <a:ext uri="{FF2B5EF4-FFF2-40B4-BE49-F238E27FC236}">
                            <a16:creationId xmlns:a16="http://schemas.microsoft.com/office/drawing/2014/main" id="{08B6FDB1-53F8-4EB7-B777-E30B8F9AC0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9" name="Полилиния: фигура 268">
                        <a:extLst>
                          <a:ext uri="{FF2B5EF4-FFF2-40B4-BE49-F238E27FC236}">
                            <a16:creationId xmlns:a16="http://schemas.microsoft.com/office/drawing/2014/main" id="{3A5EFADA-9731-4562-9D75-50D60B5E14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0" name="Полилиния: фигура 269">
                        <a:extLst>
                          <a:ext uri="{FF2B5EF4-FFF2-40B4-BE49-F238E27FC236}">
                            <a16:creationId xmlns:a16="http://schemas.microsoft.com/office/drawing/2014/main" id="{B8CAAD53-8279-47D0-A76B-4D9DF9EFCC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1" name="Полилиния: фигура 270">
                        <a:extLst>
                          <a:ext uri="{FF2B5EF4-FFF2-40B4-BE49-F238E27FC236}">
                            <a16:creationId xmlns:a16="http://schemas.microsoft.com/office/drawing/2014/main" id="{DF3F62D6-8275-43A4-A708-951ED8A627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2" name="Полилиния: фигура 271">
                        <a:extLst>
                          <a:ext uri="{FF2B5EF4-FFF2-40B4-BE49-F238E27FC236}">
                            <a16:creationId xmlns:a16="http://schemas.microsoft.com/office/drawing/2014/main" id="{FAFA9D51-3934-4714-8927-A564632BE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3" name="Полилиния: фигура 272">
                        <a:extLst>
                          <a:ext uri="{FF2B5EF4-FFF2-40B4-BE49-F238E27FC236}">
                            <a16:creationId xmlns:a16="http://schemas.microsoft.com/office/drawing/2014/main" id="{C9DCEB3F-9BA0-4927-9FA7-3C75E6E0D1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4" name="Полилиния: фигура 273">
                        <a:extLst>
                          <a:ext uri="{FF2B5EF4-FFF2-40B4-BE49-F238E27FC236}">
                            <a16:creationId xmlns:a16="http://schemas.microsoft.com/office/drawing/2014/main" id="{E92D001C-DC60-4528-91FB-6BA1261B20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5" name="Полилиния: фигура 274">
                        <a:extLst>
                          <a:ext uri="{FF2B5EF4-FFF2-40B4-BE49-F238E27FC236}">
                            <a16:creationId xmlns:a16="http://schemas.microsoft.com/office/drawing/2014/main" id="{28492683-7D35-4D02-981A-7D9F002D76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76" name="Полилиния: фигура 275">
                        <a:extLst>
                          <a:ext uri="{FF2B5EF4-FFF2-40B4-BE49-F238E27FC236}">
                            <a16:creationId xmlns:a16="http://schemas.microsoft.com/office/drawing/2014/main" id="{894F8639-B1B9-4E7D-8AF5-5BB4B43207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260" name="Карточка 1_Ава">
                      <a:extLst>
                        <a:ext uri="{FF2B5EF4-FFF2-40B4-BE49-F238E27FC236}">
                          <a16:creationId xmlns:a16="http://schemas.microsoft.com/office/drawing/2014/main" id="{84AA9475-475E-4629-B82C-6DFD43855A9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261" name="Полилиния: фигура 260">
                        <a:extLst>
                          <a:ext uri="{FF2B5EF4-FFF2-40B4-BE49-F238E27FC236}">
                            <a16:creationId xmlns:a16="http://schemas.microsoft.com/office/drawing/2014/main" id="{BF9BA582-46B0-4277-9EC5-B3436E93DA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2" name="Полилиния: фигура 261">
                        <a:extLst>
                          <a:ext uri="{FF2B5EF4-FFF2-40B4-BE49-F238E27FC236}">
                            <a16:creationId xmlns:a16="http://schemas.microsoft.com/office/drawing/2014/main" id="{5370EAFF-12FE-4272-ADBB-6AA0FCE558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3" name="Полилиния: фигура 262">
                        <a:extLst>
                          <a:ext uri="{FF2B5EF4-FFF2-40B4-BE49-F238E27FC236}">
                            <a16:creationId xmlns:a16="http://schemas.microsoft.com/office/drawing/2014/main" id="{FE597DD8-199B-4BDE-9FE9-72C59731F6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64" name="Полилиния: фигура 263">
                        <a:extLst>
                          <a:ext uri="{FF2B5EF4-FFF2-40B4-BE49-F238E27FC236}">
                            <a16:creationId xmlns:a16="http://schemas.microsoft.com/office/drawing/2014/main" id="{05465871-E5E0-462B-B305-E8D12899A0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226" name="Группа 225">
              <a:extLst>
                <a:ext uri="{FF2B5EF4-FFF2-40B4-BE49-F238E27FC236}">
                  <a16:creationId xmlns:a16="http://schemas.microsoft.com/office/drawing/2014/main" id="{46EFD909-6216-4566-92B5-B2E3C8BFC537}"/>
                </a:ext>
              </a:extLst>
            </p:cNvPr>
            <p:cNvGrpSpPr/>
            <p:nvPr/>
          </p:nvGrpSpPr>
          <p:grpSpPr>
            <a:xfrm>
              <a:off x="1299450" y="5255310"/>
              <a:ext cx="2133541" cy="264211"/>
              <a:chOff x="2554156" y="1493927"/>
              <a:chExt cx="4624633" cy="572700"/>
            </a:xfrm>
          </p:grpSpPr>
          <p:sp>
            <p:nvSpPr>
              <p:cNvPr id="227" name="Rounded Rectangle">
                <a:extLst>
                  <a:ext uri="{FF2B5EF4-FFF2-40B4-BE49-F238E27FC236}">
                    <a16:creationId xmlns:a16="http://schemas.microsoft.com/office/drawing/2014/main" id="{67EB8A75-62C1-46D2-9FCE-1EB74CC6EF5F}"/>
                  </a:ext>
                </a:extLst>
              </p:cNvPr>
              <p:cNvSpPr/>
              <p:nvPr/>
            </p:nvSpPr>
            <p:spPr>
              <a:xfrm>
                <a:off x="2554156" y="1493927"/>
                <a:ext cx="4624633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28" name="Market analysis">
                <a:extLst>
                  <a:ext uri="{FF2B5EF4-FFF2-40B4-BE49-F238E27FC236}">
                    <a16:creationId xmlns:a16="http://schemas.microsoft.com/office/drawing/2014/main" id="{B9872230-0B8A-4700-B8BA-320797A1D8E9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229" name="Группа 228">
                <a:extLst>
                  <a:ext uri="{FF2B5EF4-FFF2-40B4-BE49-F238E27FC236}">
                    <a16:creationId xmlns:a16="http://schemas.microsoft.com/office/drawing/2014/main" id="{92F31207-4D3E-4961-A5AC-24A9BFB2FF30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230" name="Circle">
                  <a:extLst>
                    <a:ext uri="{FF2B5EF4-FFF2-40B4-BE49-F238E27FC236}">
                      <a16:creationId xmlns:a16="http://schemas.microsoft.com/office/drawing/2014/main" id="{71A546B0-8C39-4692-9334-AA39AED4A455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231" name="Группа 230">
                  <a:extLst>
                    <a:ext uri="{FF2B5EF4-FFF2-40B4-BE49-F238E27FC236}">
                      <a16:creationId xmlns:a16="http://schemas.microsoft.com/office/drawing/2014/main" id="{E829EFDA-E982-4D38-958F-E09498174CC9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232" name="Полилиния: фигура 231">
                    <a:extLst>
                      <a:ext uri="{FF2B5EF4-FFF2-40B4-BE49-F238E27FC236}">
                        <a16:creationId xmlns:a16="http://schemas.microsoft.com/office/drawing/2014/main" id="{B353995B-AA03-485E-8711-5B9B6992ECB3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233" name="Карточка 1_Ава">
                    <a:extLst>
                      <a:ext uri="{FF2B5EF4-FFF2-40B4-BE49-F238E27FC236}">
                        <a16:creationId xmlns:a16="http://schemas.microsoft.com/office/drawing/2014/main" id="{A36818AC-B751-49E1-A7EA-AA8C67820055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234" name="Карточка 1_Ава">
                      <a:extLst>
                        <a:ext uri="{FF2B5EF4-FFF2-40B4-BE49-F238E27FC236}">
                          <a16:creationId xmlns:a16="http://schemas.microsoft.com/office/drawing/2014/main" id="{F84AE6DC-8236-47A1-854A-5232A4DFC1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240" name="Полилиния: фигура 239">
                        <a:extLst>
                          <a:ext uri="{FF2B5EF4-FFF2-40B4-BE49-F238E27FC236}">
                            <a16:creationId xmlns:a16="http://schemas.microsoft.com/office/drawing/2014/main" id="{9CDB2008-1CC5-428D-81B5-1ECBDD242D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1" name="Полилиния: фигура 240">
                        <a:extLst>
                          <a:ext uri="{FF2B5EF4-FFF2-40B4-BE49-F238E27FC236}">
                            <a16:creationId xmlns:a16="http://schemas.microsoft.com/office/drawing/2014/main" id="{536C2344-C7AB-4B98-B386-302F8420EF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2" name="Полилиния: фигура 241">
                        <a:extLst>
                          <a:ext uri="{FF2B5EF4-FFF2-40B4-BE49-F238E27FC236}">
                            <a16:creationId xmlns:a16="http://schemas.microsoft.com/office/drawing/2014/main" id="{E66D9827-916A-4926-9D1A-4F3C64446C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3" name="Полилиния: фигура 242">
                        <a:extLst>
                          <a:ext uri="{FF2B5EF4-FFF2-40B4-BE49-F238E27FC236}">
                            <a16:creationId xmlns:a16="http://schemas.microsoft.com/office/drawing/2014/main" id="{DF2EA231-641A-4AC2-9A42-C8F4DDD481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4" name="Полилиния: фигура 243">
                        <a:extLst>
                          <a:ext uri="{FF2B5EF4-FFF2-40B4-BE49-F238E27FC236}">
                            <a16:creationId xmlns:a16="http://schemas.microsoft.com/office/drawing/2014/main" id="{1058DD00-9268-418D-9A38-EBC8B984CE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5" name="Полилиния: фигура 244">
                        <a:extLst>
                          <a:ext uri="{FF2B5EF4-FFF2-40B4-BE49-F238E27FC236}">
                            <a16:creationId xmlns:a16="http://schemas.microsoft.com/office/drawing/2014/main" id="{7EC85904-7498-4349-A017-D53C515641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6" name="Полилиния: фигура 245">
                        <a:extLst>
                          <a:ext uri="{FF2B5EF4-FFF2-40B4-BE49-F238E27FC236}">
                            <a16:creationId xmlns:a16="http://schemas.microsoft.com/office/drawing/2014/main" id="{5E0FE92D-2CB6-47CE-A8FB-D6F58B11ED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7" name="Полилиния: фигура 246">
                        <a:extLst>
                          <a:ext uri="{FF2B5EF4-FFF2-40B4-BE49-F238E27FC236}">
                            <a16:creationId xmlns:a16="http://schemas.microsoft.com/office/drawing/2014/main" id="{C8CEDB82-48B6-49C9-9AD9-7ED6AC0ECD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8" name="Полилиния: фигура 247">
                        <a:extLst>
                          <a:ext uri="{FF2B5EF4-FFF2-40B4-BE49-F238E27FC236}">
                            <a16:creationId xmlns:a16="http://schemas.microsoft.com/office/drawing/2014/main" id="{AA1CAD87-C45F-4113-BA19-3EDFC29957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49" name="Полилиния: фигура 248">
                        <a:extLst>
                          <a:ext uri="{FF2B5EF4-FFF2-40B4-BE49-F238E27FC236}">
                            <a16:creationId xmlns:a16="http://schemas.microsoft.com/office/drawing/2014/main" id="{709EE696-C240-41A4-B802-4CC23848B8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50" name="Полилиния: фигура 249">
                        <a:extLst>
                          <a:ext uri="{FF2B5EF4-FFF2-40B4-BE49-F238E27FC236}">
                            <a16:creationId xmlns:a16="http://schemas.microsoft.com/office/drawing/2014/main" id="{DB16326E-F7BB-4931-926D-F1A797DA5B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51" name="Полилиния: фигура 250">
                        <a:extLst>
                          <a:ext uri="{FF2B5EF4-FFF2-40B4-BE49-F238E27FC236}">
                            <a16:creationId xmlns:a16="http://schemas.microsoft.com/office/drawing/2014/main" id="{DC7A0EDE-32B9-4011-9362-C1079E5719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235" name="Карточка 1_Ава">
                      <a:extLst>
                        <a:ext uri="{FF2B5EF4-FFF2-40B4-BE49-F238E27FC236}">
                          <a16:creationId xmlns:a16="http://schemas.microsoft.com/office/drawing/2014/main" id="{8DAD14A2-92A2-47B7-BD0E-6E5AF13DB9E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236" name="Полилиния: фигура 235">
                        <a:extLst>
                          <a:ext uri="{FF2B5EF4-FFF2-40B4-BE49-F238E27FC236}">
                            <a16:creationId xmlns:a16="http://schemas.microsoft.com/office/drawing/2014/main" id="{400C5A48-BAC1-4E34-8A7A-AE41DC89E5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37" name="Полилиния: фигура 236">
                        <a:extLst>
                          <a:ext uri="{FF2B5EF4-FFF2-40B4-BE49-F238E27FC236}">
                            <a16:creationId xmlns:a16="http://schemas.microsoft.com/office/drawing/2014/main" id="{24C327E1-817B-4E2B-BABA-92A864ECD9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38" name="Полилиния: фигура 237">
                        <a:extLst>
                          <a:ext uri="{FF2B5EF4-FFF2-40B4-BE49-F238E27FC236}">
                            <a16:creationId xmlns:a16="http://schemas.microsoft.com/office/drawing/2014/main" id="{F585B230-ECC2-4092-A6AA-28FDE15263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239" name="Полилиния: фигура 238">
                        <a:extLst>
                          <a:ext uri="{FF2B5EF4-FFF2-40B4-BE49-F238E27FC236}">
                            <a16:creationId xmlns:a16="http://schemas.microsoft.com/office/drawing/2014/main" id="{A91DAD24-C0A9-4FB7-B30F-9FC1F12722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8871ACA-7EB3-4369-8A98-BFDFFAEA106A}"/>
              </a:ext>
            </a:extLst>
          </p:cNvPr>
          <p:cNvGrpSpPr/>
          <p:nvPr/>
        </p:nvGrpSpPr>
        <p:grpSpPr>
          <a:xfrm>
            <a:off x="437232" y="2534784"/>
            <a:ext cx="2180820" cy="1967091"/>
            <a:chOff x="437232" y="2534784"/>
            <a:chExt cx="2180820" cy="1967091"/>
          </a:xfrm>
        </p:grpSpPr>
        <p:sp>
          <p:nvSpPr>
            <p:cNvPr id="133" name="Shape_фон">
              <a:extLst>
                <a:ext uri="{FF2B5EF4-FFF2-40B4-BE49-F238E27FC236}">
                  <a16:creationId xmlns:a16="http://schemas.microsoft.com/office/drawing/2014/main" id="{DAAA276F-F7A7-428A-8946-6E23E0D0A239}"/>
                </a:ext>
              </a:extLst>
            </p:cNvPr>
            <p:cNvSpPr/>
            <p:nvPr/>
          </p:nvSpPr>
          <p:spPr>
            <a:xfrm>
              <a:off x="437232" y="2534784"/>
              <a:ext cx="2180820" cy="196709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34" name="Описание">
              <a:extLst>
                <a:ext uri="{FF2B5EF4-FFF2-40B4-BE49-F238E27FC236}">
                  <a16:creationId xmlns:a16="http://schemas.microsoft.com/office/drawing/2014/main" id="{200C2FD2-9085-40FA-8918-AEE09E755C2F}"/>
                </a:ext>
              </a:extLst>
            </p:cNvPr>
            <p:cNvSpPr txBox="1"/>
            <p:nvPr/>
          </p:nvSpPr>
          <p:spPr>
            <a:xfrm>
              <a:off x="1017729" y="2720418"/>
              <a:ext cx="10198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ы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grpSp>
          <p:nvGrpSpPr>
            <p:cNvPr id="308" name="Группа 307">
              <a:extLst>
                <a:ext uri="{FF2B5EF4-FFF2-40B4-BE49-F238E27FC236}">
                  <a16:creationId xmlns:a16="http://schemas.microsoft.com/office/drawing/2014/main" id="{B4AC2367-F384-4273-8D62-30E1ED340359}"/>
                </a:ext>
              </a:extLst>
            </p:cNvPr>
            <p:cNvGrpSpPr/>
            <p:nvPr/>
          </p:nvGrpSpPr>
          <p:grpSpPr>
            <a:xfrm>
              <a:off x="738884" y="3182515"/>
              <a:ext cx="1631518" cy="264211"/>
              <a:chOff x="2554158" y="1493927"/>
              <a:chExt cx="3536455" cy="572700"/>
            </a:xfrm>
          </p:grpSpPr>
          <p:sp>
            <p:nvSpPr>
              <p:cNvPr id="361" name="Rounded Rectangle">
                <a:extLst>
                  <a:ext uri="{FF2B5EF4-FFF2-40B4-BE49-F238E27FC236}">
                    <a16:creationId xmlns:a16="http://schemas.microsoft.com/office/drawing/2014/main" id="{863AF638-855F-4145-BA75-B41DF09C4012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2" name="Market analysis">
                <a:extLst>
                  <a:ext uri="{FF2B5EF4-FFF2-40B4-BE49-F238E27FC236}">
                    <a16:creationId xmlns:a16="http://schemas.microsoft.com/office/drawing/2014/main" id="{88591F7B-A1CB-4F8D-8995-41C0E3421B8C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363" name="Группа 362">
                <a:extLst>
                  <a:ext uri="{FF2B5EF4-FFF2-40B4-BE49-F238E27FC236}">
                    <a16:creationId xmlns:a16="http://schemas.microsoft.com/office/drawing/2014/main" id="{7B3BB5F8-6971-45D2-8B51-EBC6ADFEFBA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364" name="Circle">
                  <a:extLst>
                    <a:ext uri="{FF2B5EF4-FFF2-40B4-BE49-F238E27FC236}">
                      <a16:creationId xmlns:a16="http://schemas.microsoft.com/office/drawing/2014/main" id="{CD9E6757-BF2A-49AB-A3B8-BA1C33CEB3B6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365" name="Группа 364">
                  <a:extLst>
                    <a:ext uri="{FF2B5EF4-FFF2-40B4-BE49-F238E27FC236}">
                      <a16:creationId xmlns:a16="http://schemas.microsoft.com/office/drawing/2014/main" id="{61DC6D64-33EA-42DF-9B89-7FAD6DD647A0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366" name="Полилиния: фигура 365">
                    <a:extLst>
                      <a:ext uri="{FF2B5EF4-FFF2-40B4-BE49-F238E27FC236}">
                        <a16:creationId xmlns:a16="http://schemas.microsoft.com/office/drawing/2014/main" id="{F62610E9-585A-4867-975B-8B52CA91650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367" name="Карточка 1_Ава">
                    <a:extLst>
                      <a:ext uri="{FF2B5EF4-FFF2-40B4-BE49-F238E27FC236}">
                        <a16:creationId xmlns:a16="http://schemas.microsoft.com/office/drawing/2014/main" id="{55445682-4B25-4180-9FE9-67737F91B984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368" name="Карточка 1_Ава">
                      <a:extLst>
                        <a:ext uri="{FF2B5EF4-FFF2-40B4-BE49-F238E27FC236}">
                          <a16:creationId xmlns:a16="http://schemas.microsoft.com/office/drawing/2014/main" id="{4582AB44-1835-498A-96F4-C5B197F7CCF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374" name="Полилиния: фигура 373">
                        <a:extLst>
                          <a:ext uri="{FF2B5EF4-FFF2-40B4-BE49-F238E27FC236}">
                            <a16:creationId xmlns:a16="http://schemas.microsoft.com/office/drawing/2014/main" id="{E82D0D63-5FAA-49D9-9323-BC727BB1C7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5" name="Полилиния: фигура 374">
                        <a:extLst>
                          <a:ext uri="{FF2B5EF4-FFF2-40B4-BE49-F238E27FC236}">
                            <a16:creationId xmlns:a16="http://schemas.microsoft.com/office/drawing/2014/main" id="{B4028432-830B-4848-A654-A638BD1DB1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6" name="Полилиния: фигура 375">
                        <a:extLst>
                          <a:ext uri="{FF2B5EF4-FFF2-40B4-BE49-F238E27FC236}">
                            <a16:creationId xmlns:a16="http://schemas.microsoft.com/office/drawing/2014/main" id="{F8C9608E-C1C4-44D5-BE7E-87C96CE8DA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7" name="Полилиния: фигура 376">
                        <a:extLst>
                          <a:ext uri="{FF2B5EF4-FFF2-40B4-BE49-F238E27FC236}">
                            <a16:creationId xmlns:a16="http://schemas.microsoft.com/office/drawing/2014/main" id="{93FD812B-6460-45F1-A8B0-424DD358F7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8" name="Полилиния: фигура 377">
                        <a:extLst>
                          <a:ext uri="{FF2B5EF4-FFF2-40B4-BE49-F238E27FC236}">
                            <a16:creationId xmlns:a16="http://schemas.microsoft.com/office/drawing/2014/main" id="{CD4331B3-16DA-42D0-B8A0-B250299917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9" name="Полилиния: фигура 378">
                        <a:extLst>
                          <a:ext uri="{FF2B5EF4-FFF2-40B4-BE49-F238E27FC236}">
                            <a16:creationId xmlns:a16="http://schemas.microsoft.com/office/drawing/2014/main" id="{10D9400E-8DFB-4891-BA37-D7E1D135A0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0" name="Полилиния: фигура 379">
                        <a:extLst>
                          <a:ext uri="{FF2B5EF4-FFF2-40B4-BE49-F238E27FC236}">
                            <a16:creationId xmlns:a16="http://schemas.microsoft.com/office/drawing/2014/main" id="{02E351E9-3295-4832-A447-5B20F30838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1" name="Полилиния: фигура 380">
                        <a:extLst>
                          <a:ext uri="{FF2B5EF4-FFF2-40B4-BE49-F238E27FC236}">
                            <a16:creationId xmlns:a16="http://schemas.microsoft.com/office/drawing/2014/main" id="{E6A34EE3-529F-45F0-91BF-9DE0F9DC6A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2" name="Полилиния: фигура 381">
                        <a:extLst>
                          <a:ext uri="{FF2B5EF4-FFF2-40B4-BE49-F238E27FC236}">
                            <a16:creationId xmlns:a16="http://schemas.microsoft.com/office/drawing/2014/main" id="{88DBA170-FE20-45FF-9125-C72EAD7619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3" name="Полилиния: фигура 382">
                        <a:extLst>
                          <a:ext uri="{FF2B5EF4-FFF2-40B4-BE49-F238E27FC236}">
                            <a16:creationId xmlns:a16="http://schemas.microsoft.com/office/drawing/2014/main" id="{12EE6DC6-B0D8-4685-ACDD-D23B41CF7C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4" name="Полилиния: фигура 383">
                        <a:extLst>
                          <a:ext uri="{FF2B5EF4-FFF2-40B4-BE49-F238E27FC236}">
                            <a16:creationId xmlns:a16="http://schemas.microsoft.com/office/drawing/2014/main" id="{3C27128F-75B3-4B5C-95ED-0A4C4DC052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85" name="Полилиния: фигура 384">
                        <a:extLst>
                          <a:ext uri="{FF2B5EF4-FFF2-40B4-BE49-F238E27FC236}">
                            <a16:creationId xmlns:a16="http://schemas.microsoft.com/office/drawing/2014/main" id="{2FA4525D-2895-4DB4-A19C-2C4AD28C6B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369" name="Карточка 1_Ава">
                      <a:extLst>
                        <a:ext uri="{FF2B5EF4-FFF2-40B4-BE49-F238E27FC236}">
                          <a16:creationId xmlns:a16="http://schemas.microsoft.com/office/drawing/2014/main" id="{663ACF2B-0BA6-4F18-8138-0210789BA20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370" name="Полилиния: фигура 369">
                        <a:extLst>
                          <a:ext uri="{FF2B5EF4-FFF2-40B4-BE49-F238E27FC236}">
                            <a16:creationId xmlns:a16="http://schemas.microsoft.com/office/drawing/2014/main" id="{98D1C0E1-606A-438A-9AEF-BF0F3E73CC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1" name="Полилиния: фигура 370">
                        <a:extLst>
                          <a:ext uri="{FF2B5EF4-FFF2-40B4-BE49-F238E27FC236}">
                            <a16:creationId xmlns:a16="http://schemas.microsoft.com/office/drawing/2014/main" id="{E42916F7-056F-40A5-A4BB-A1953C2D40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2" name="Полилиния: фигура 371">
                        <a:extLst>
                          <a:ext uri="{FF2B5EF4-FFF2-40B4-BE49-F238E27FC236}">
                            <a16:creationId xmlns:a16="http://schemas.microsoft.com/office/drawing/2014/main" id="{A3DCD2CB-E734-4150-96EF-1B3CA6F5E6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73" name="Полилиния: фигура 372">
                        <a:extLst>
                          <a:ext uri="{FF2B5EF4-FFF2-40B4-BE49-F238E27FC236}">
                            <a16:creationId xmlns:a16="http://schemas.microsoft.com/office/drawing/2014/main" id="{31B2ACB1-0561-4E22-8756-86A3964DF4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309" name="Группа 308">
              <a:extLst>
                <a:ext uri="{FF2B5EF4-FFF2-40B4-BE49-F238E27FC236}">
                  <a16:creationId xmlns:a16="http://schemas.microsoft.com/office/drawing/2014/main" id="{F5D7209F-2FD5-4C46-85E2-97BA3F17D476}"/>
                </a:ext>
              </a:extLst>
            </p:cNvPr>
            <p:cNvGrpSpPr/>
            <p:nvPr/>
          </p:nvGrpSpPr>
          <p:grpSpPr>
            <a:xfrm>
              <a:off x="738884" y="3557595"/>
              <a:ext cx="1631518" cy="264211"/>
              <a:chOff x="2554158" y="1493927"/>
              <a:chExt cx="3536455" cy="572700"/>
            </a:xfrm>
          </p:grpSpPr>
          <p:sp>
            <p:nvSpPr>
              <p:cNvPr id="336" name="Rounded Rectangle">
                <a:extLst>
                  <a:ext uri="{FF2B5EF4-FFF2-40B4-BE49-F238E27FC236}">
                    <a16:creationId xmlns:a16="http://schemas.microsoft.com/office/drawing/2014/main" id="{71BEB8E8-0252-4A9B-A962-7D1F5EB2B89A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37" name="Market analysis">
                <a:extLst>
                  <a:ext uri="{FF2B5EF4-FFF2-40B4-BE49-F238E27FC236}">
                    <a16:creationId xmlns:a16="http://schemas.microsoft.com/office/drawing/2014/main" id="{2807CE4D-A245-41D7-9C8B-01932DED1B75}"/>
                  </a:ext>
                </a:extLst>
              </p:cNvPr>
              <p:cNvSpPr txBox="1"/>
              <p:nvPr/>
            </p:nvSpPr>
            <p:spPr>
              <a:xfrm>
                <a:off x="3249623" y="1664114"/>
                <a:ext cx="2045822" cy="2119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Иванов Андрей Иванов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338" name="Группа 337">
                <a:extLst>
                  <a:ext uri="{FF2B5EF4-FFF2-40B4-BE49-F238E27FC236}">
                    <a16:creationId xmlns:a16="http://schemas.microsoft.com/office/drawing/2014/main" id="{F761019D-9929-49DB-9928-53E3C729C80E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339" name="Circle">
                  <a:extLst>
                    <a:ext uri="{FF2B5EF4-FFF2-40B4-BE49-F238E27FC236}">
                      <a16:creationId xmlns:a16="http://schemas.microsoft.com/office/drawing/2014/main" id="{EA657686-8EBF-4AEC-BDD0-D706807F9DA4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340" name="Группа 339">
                  <a:extLst>
                    <a:ext uri="{FF2B5EF4-FFF2-40B4-BE49-F238E27FC236}">
                      <a16:creationId xmlns:a16="http://schemas.microsoft.com/office/drawing/2014/main" id="{912AF27F-C3FB-4728-94AD-B51538E57ABF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341" name="Полилиния: фигура 340">
                    <a:extLst>
                      <a:ext uri="{FF2B5EF4-FFF2-40B4-BE49-F238E27FC236}">
                        <a16:creationId xmlns:a16="http://schemas.microsoft.com/office/drawing/2014/main" id="{F9DE6E50-9AB8-4AB2-81DC-7EFDC7E1D22F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342" name="Карточка 1_Ава">
                    <a:extLst>
                      <a:ext uri="{FF2B5EF4-FFF2-40B4-BE49-F238E27FC236}">
                        <a16:creationId xmlns:a16="http://schemas.microsoft.com/office/drawing/2014/main" id="{EB4C7512-5203-4D5D-8EBC-4BC017ECB146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343" name="Карточка 1_Ава">
                      <a:extLst>
                        <a:ext uri="{FF2B5EF4-FFF2-40B4-BE49-F238E27FC236}">
                          <a16:creationId xmlns:a16="http://schemas.microsoft.com/office/drawing/2014/main" id="{9BD94FC8-F9C3-49BA-9C12-56346C159F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349" name="Полилиния: фигура 348">
                        <a:extLst>
                          <a:ext uri="{FF2B5EF4-FFF2-40B4-BE49-F238E27FC236}">
                            <a16:creationId xmlns:a16="http://schemas.microsoft.com/office/drawing/2014/main" id="{E2ED1187-6EA0-4CFF-9814-8690645BFE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0" name="Полилиния: фигура 349">
                        <a:extLst>
                          <a:ext uri="{FF2B5EF4-FFF2-40B4-BE49-F238E27FC236}">
                            <a16:creationId xmlns:a16="http://schemas.microsoft.com/office/drawing/2014/main" id="{9E72BED9-5CB6-48C2-87DD-974614F5BF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1" name="Полилиния: фигура 350">
                        <a:extLst>
                          <a:ext uri="{FF2B5EF4-FFF2-40B4-BE49-F238E27FC236}">
                            <a16:creationId xmlns:a16="http://schemas.microsoft.com/office/drawing/2014/main" id="{2907054E-FB2F-4A1B-B434-B7C1C1DDB2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2" name="Полилиния: фигура 351">
                        <a:extLst>
                          <a:ext uri="{FF2B5EF4-FFF2-40B4-BE49-F238E27FC236}">
                            <a16:creationId xmlns:a16="http://schemas.microsoft.com/office/drawing/2014/main" id="{0CF2B76F-3EDF-4BC9-BD42-A590B77743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3" name="Полилиния: фигура 352">
                        <a:extLst>
                          <a:ext uri="{FF2B5EF4-FFF2-40B4-BE49-F238E27FC236}">
                            <a16:creationId xmlns:a16="http://schemas.microsoft.com/office/drawing/2014/main" id="{B32FD63B-2F37-45E4-BF44-A1C7F1BA52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4" name="Полилиния: фигура 353">
                        <a:extLst>
                          <a:ext uri="{FF2B5EF4-FFF2-40B4-BE49-F238E27FC236}">
                            <a16:creationId xmlns:a16="http://schemas.microsoft.com/office/drawing/2014/main" id="{BA369709-5F63-470E-BA64-6CF8BA7C04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5" name="Полилиния: фигура 354">
                        <a:extLst>
                          <a:ext uri="{FF2B5EF4-FFF2-40B4-BE49-F238E27FC236}">
                            <a16:creationId xmlns:a16="http://schemas.microsoft.com/office/drawing/2014/main" id="{5BD2A251-B22B-49D2-89F4-E62649B849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6" name="Полилиния: фигура 355">
                        <a:extLst>
                          <a:ext uri="{FF2B5EF4-FFF2-40B4-BE49-F238E27FC236}">
                            <a16:creationId xmlns:a16="http://schemas.microsoft.com/office/drawing/2014/main" id="{61174C07-B5A0-4761-A0EF-FB3CC5D0B3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7" name="Полилиния: фигура 356">
                        <a:extLst>
                          <a:ext uri="{FF2B5EF4-FFF2-40B4-BE49-F238E27FC236}">
                            <a16:creationId xmlns:a16="http://schemas.microsoft.com/office/drawing/2014/main" id="{EE167F8B-1F71-4AC2-AACE-0619EE18E8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8" name="Полилиния: фигура 357">
                        <a:extLst>
                          <a:ext uri="{FF2B5EF4-FFF2-40B4-BE49-F238E27FC236}">
                            <a16:creationId xmlns:a16="http://schemas.microsoft.com/office/drawing/2014/main" id="{2D0C223C-ECE9-462B-AE00-AE6D282098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59" name="Полилиния: фигура 358">
                        <a:extLst>
                          <a:ext uri="{FF2B5EF4-FFF2-40B4-BE49-F238E27FC236}">
                            <a16:creationId xmlns:a16="http://schemas.microsoft.com/office/drawing/2014/main" id="{D08A8957-2301-4678-AD0C-43475F09D2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60" name="Полилиния: фигура 359">
                        <a:extLst>
                          <a:ext uri="{FF2B5EF4-FFF2-40B4-BE49-F238E27FC236}">
                            <a16:creationId xmlns:a16="http://schemas.microsoft.com/office/drawing/2014/main" id="{79D2A94B-A6FE-43D3-A3A5-DA83DDC42E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344" name="Карточка 1_Ава">
                      <a:extLst>
                        <a:ext uri="{FF2B5EF4-FFF2-40B4-BE49-F238E27FC236}">
                          <a16:creationId xmlns:a16="http://schemas.microsoft.com/office/drawing/2014/main" id="{03506CED-6D62-4BFD-8C4B-2A6C17F463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345" name="Полилиния: фигура 344">
                        <a:extLst>
                          <a:ext uri="{FF2B5EF4-FFF2-40B4-BE49-F238E27FC236}">
                            <a16:creationId xmlns:a16="http://schemas.microsoft.com/office/drawing/2014/main" id="{052EBF2E-5107-4758-A76B-5083BB2348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46" name="Полилиния: фигура 345">
                        <a:extLst>
                          <a:ext uri="{FF2B5EF4-FFF2-40B4-BE49-F238E27FC236}">
                            <a16:creationId xmlns:a16="http://schemas.microsoft.com/office/drawing/2014/main" id="{E8663509-B6DD-4C52-8221-F853399EB9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47" name="Полилиния: фигура 346">
                        <a:extLst>
                          <a:ext uri="{FF2B5EF4-FFF2-40B4-BE49-F238E27FC236}">
                            <a16:creationId xmlns:a16="http://schemas.microsoft.com/office/drawing/2014/main" id="{6455C061-F9F4-4493-B018-435D6D7BC9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48" name="Полилиния: фигура 347">
                        <a:extLst>
                          <a:ext uri="{FF2B5EF4-FFF2-40B4-BE49-F238E27FC236}">
                            <a16:creationId xmlns:a16="http://schemas.microsoft.com/office/drawing/2014/main" id="{CE3EB847-CB10-453D-8CCF-03B0AAD89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  <p:grpSp>
          <p:nvGrpSpPr>
            <p:cNvPr id="310" name="Группа 309">
              <a:extLst>
                <a:ext uri="{FF2B5EF4-FFF2-40B4-BE49-F238E27FC236}">
                  <a16:creationId xmlns:a16="http://schemas.microsoft.com/office/drawing/2014/main" id="{ED050B38-1752-4D02-91BE-60ADEA8160C9}"/>
                </a:ext>
              </a:extLst>
            </p:cNvPr>
            <p:cNvGrpSpPr/>
            <p:nvPr/>
          </p:nvGrpSpPr>
          <p:grpSpPr>
            <a:xfrm>
              <a:off x="738884" y="3932675"/>
              <a:ext cx="1631518" cy="264211"/>
              <a:chOff x="2554158" y="1493927"/>
              <a:chExt cx="3536455" cy="572700"/>
            </a:xfrm>
          </p:grpSpPr>
          <p:sp>
            <p:nvSpPr>
              <p:cNvPr id="311" name="Rounded Rectangle">
                <a:extLst>
                  <a:ext uri="{FF2B5EF4-FFF2-40B4-BE49-F238E27FC236}">
                    <a16:creationId xmlns:a16="http://schemas.microsoft.com/office/drawing/2014/main" id="{96A07041-844E-405F-BDFA-A64B20DA2CEC}"/>
                  </a:ext>
                </a:extLst>
              </p:cNvPr>
              <p:cNvSpPr/>
              <p:nvPr/>
            </p:nvSpPr>
            <p:spPr>
              <a:xfrm>
                <a:off x="2554158" y="1493927"/>
                <a:ext cx="3536455" cy="5727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2" name="Market analysis">
                <a:extLst>
                  <a:ext uri="{FF2B5EF4-FFF2-40B4-BE49-F238E27FC236}">
                    <a16:creationId xmlns:a16="http://schemas.microsoft.com/office/drawing/2014/main" id="{9A724762-F417-4FB2-AEFF-9EB6970C4D36}"/>
                  </a:ext>
                </a:extLst>
              </p:cNvPr>
              <p:cNvSpPr txBox="1"/>
              <p:nvPr/>
            </p:nvSpPr>
            <p:spPr>
              <a:xfrm>
                <a:off x="3249622" y="1653351"/>
                <a:ext cx="1727474" cy="1876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Орлов Фёдор Никитич</a:t>
                </a:r>
                <a:endParaRPr sz="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  <p:grpSp>
            <p:nvGrpSpPr>
              <p:cNvPr id="313" name="Группа 312">
                <a:extLst>
                  <a:ext uri="{FF2B5EF4-FFF2-40B4-BE49-F238E27FC236}">
                    <a16:creationId xmlns:a16="http://schemas.microsoft.com/office/drawing/2014/main" id="{DAA26B5D-EFFB-4784-8E06-3C81119481D1}"/>
                  </a:ext>
                </a:extLst>
              </p:cNvPr>
              <p:cNvGrpSpPr/>
              <p:nvPr/>
            </p:nvGrpSpPr>
            <p:grpSpPr>
              <a:xfrm>
                <a:off x="2669251" y="1555245"/>
                <a:ext cx="429525" cy="445545"/>
                <a:chOff x="2669251" y="1389696"/>
                <a:chExt cx="429525" cy="445545"/>
              </a:xfrm>
            </p:grpSpPr>
            <p:sp>
              <p:nvSpPr>
                <p:cNvPr id="314" name="Circle">
                  <a:extLst>
                    <a:ext uri="{FF2B5EF4-FFF2-40B4-BE49-F238E27FC236}">
                      <a16:creationId xmlns:a16="http://schemas.microsoft.com/office/drawing/2014/main" id="{955EC33E-175A-42DB-833E-A8E564F6CA13}"/>
                    </a:ext>
                  </a:extLst>
                </p:cNvPr>
                <p:cNvSpPr/>
                <p:nvPr/>
              </p:nvSpPr>
              <p:spPr>
                <a:xfrm>
                  <a:off x="2669251" y="1389696"/>
                  <a:ext cx="429525" cy="429525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algn="ctr" defTabSz="309563" hangingPunct="0">
                    <a:buClrTx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sz="1200" dirty="0">
                    <a:solidFill>
                      <a:srgbClr val="FFFFFF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grpSp>
              <p:nvGrpSpPr>
                <p:cNvPr id="315" name="Группа 314">
                  <a:extLst>
                    <a:ext uri="{FF2B5EF4-FFF2-40B4-BE49-F238E27FC236}">
                      <a16:creationId xmlns:a16="http://schemas.microsoft.com/office/drawing/2014/main" id="{119E91FB-5AFD-4835-91F7-95F40AB919E3}"/>
                    </a:ext>
                  </a:extLst>
                </p:cNvPr>
                <p:cNvGrpSpPr/>
                <p:nvPr/>
              </p:nvGrpSpPr>
              <p:grpSpPr>
                <a:xfrm>
                  <a:off x="2714821" y="1437829"/>
                  <a:ext cx="338383" cy="397412"/>
                  <a:chOff x="2769827" y="1451946"/>
                  <a:chExt cx="444042" cy="521501"/>
                </a:xfrm>
              </p:grpSpPr>
              <p:sp>
                <p:nvSpPr>
                  <p:cNvPr id="316" name="Полилиния: фигура 315">
                    <a:extLst>
                      <a:ext uri="{FF2B5EF4-FFF2-40B4-BE49-F238E27FC236}">
                        <a16:creationId xmlns:a16="http://schemas.microsoft.com/office/drawing/2014/main" id="{E7320413-3515-40B4-8E59-A21ECEC0AA15}"/>
                      </a:ext>
                    </a:extLst>
                  </p:cNvPr>
                  <p:cNvSpPr/>
                  <p:nvPr/>
                </p:nvSpPr>
                <p:spPr>
                  <a:xfrm>
                    <a:off x="2769827" y="1785441"/>
                    <a:ext cx="444042" cy="188010"/>
                  </a:xfrm>
                  <a:custGeom>
                    <a:avLst/>
                    <a:gdLst>
                      <a:gd name="connsiteX0" fmla="*/ 220722 w 444042"/>
                      <a:gd name="connsiteY0" fmla="*/ 187920 h 188010"/>
                      <a:gd name="connsiteX1" fmla="*/ 444042 w 444042"/>
                      <a:gd name="connsiteY1" fmla="*/ 88338 h 188010"/>
                      <a:gd name="connsiteX2" fmla="*/ 378935 w 444042"/>
                      <a:gd name="connsiteY2" fmla="*/ 29898 h 188010"/>
                      <a:gd name="connsiteX3" fmla="*/ 265015 w 444042"/>
                      <a:gd name="connsiteY3" fmla="*/ 7209 h 188010"/>
                      <a:gd name="connsiteX4" fmla="*/ 176225 w 444042"/>
                      <a:gd name="connsiteY4" fmla="*/ 0 h 188010"/>
                      <a:gd name="connsiteX5" fmla="*/ 47762 w 444042"/>
                      <a:gd name="connsiteY5" fmla="*/ 31525 h 188010"/>
                      <a:gd name="connsiteX6" fmla="*/ 0 w 444042"/>
                      <a:gd name="connsiteY6" fmla="*/ 73751 h 188010"/>
                      <a:gd name="connsiteX7" fmla="*/ 220722 w 444042"/>
                      <a:gd name="connsiteY7" fmla="*/ 187909 h 188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4042" h="188010">
                        <a:moveTo>
                          <a:pt x="220722" y="187920"/>
                        </a:moveTo>
                        <a:cubicBezTo>
                          <a:pt x="309795" y="190146"/>
                          <a:pt x="390303" y="151152"/>
                          <a:pt x="444042" y="88338"/>
                        </a:cubicBezTo>
                        <a:cubicBezTo>
                          <a:pt x="421794" y="62836"/>
                          <a:pt x="396382" y="37469"/>
                          <a:pt x="378935" y="29898"/>
                        </a:cubicBezTo>
                        <a:cubicBezTo>
                          <a:pt x="341467" y="13627"/>
                          <a:pt x="265015" y="7209"/>
                          <a:pt x="265015" y="7209"/>
                        </a:cubicBezTo>
                        <a:lnTo>
                          <a:pt x="176225" y="0"/>
                        </a:lnTo>
                        <a:cubicBezTo>
                          <a:pt x="176225" y="0"/>
                          <a:pt x="70779" y="12836"/>
                          <a:pt x="47762" y="31525"/>
                        </a:cubicBezTo>
                        <a:cubicBezTo>
                          <a:pt x="36825" y="40407"/>
                          <a:pt x="17401" y="57853"/>
                          <a:pt x="0" y="73751"/>
                        </a:cubicBezTo>
                        <a:cubicBezTo>
                          <a:pt x="50418" y="141140"/>
                          <a:pt x="130056" y="185649"/>
                          <a:pt x="220722" y="18790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111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dirty="0">
                      <a:latin typeface="Roboto" pitchFamily="2" charset="0"/>
                      <a:ea typeface="Roboto" pitchFamily="2" charset="0"/>
                    </a:endParaRPr>
                  </a:p>
                </p:txBody>
              </p:sp>
              <p:grpSp>
                <p:nvGrpSpPr>
                  <p:cNvPr id="317" name="Карточка 1_Ава">
                    <a:extLst>
                      <a:ext uri="{FF2B5EF4-FFF2-40B4-BE49-F238E27FC236}">
                        <a16:creationId xmlns:a16="http://schemas.microsoft.com/office/drawing/2014/main" id="{7F3584D8-8C2A-48A8-828A-CE61A3220211}"/>
                      </a:ext>
                    </a:extLst>
                  </p:cNvPr>
                  <p:cNvGrpSpPr/>
                  <p:nvPr/>
                </p:nvGrpSpPr>
                <p:grpSpPr>
                  <a:xfrm>
                    <a:off x="2826807" y="1451946"/>
                    <a:ext cx="312477" cy="385709"/>
                    <a:chOff x="13501201" y="3767346"/>
                    <a:chExt cx="312477" cy="385709"/>
                  </a:xfrm>
                </p:grpSpPr>
                <p:grpSp>
                  <p:nvGrpSpPr>
                    <p:cNvPr id="318" name="Карточка 1_Ава">
                      <a:extLst>
                        <a:ext uri="{FF2B5EF4-FFF2-40B4-BE49-F238E27FC236}">
                          <a16:creationId xmlns:a16="http://schemas.microsoft.com/office/drawing/2014/main" id="{0A147023-D31B-411D-A785-FF5B9B3F8E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0794" y="3805812"/>
                      <a:ext cx="224013" cy="347243"/>
                      <a:chOff x="13560794" y="3805812"/>
                      <a:chExt cx="224013" cy="347243"/>
                    </a:xfrm>
                  </p:grpSpPr>
                  <p:sp>
                    <p:nvSpPr>
                      <p:cNvPr id="324" name="Полилиния: фигура 323">
                        <a:extLst>
                          <a:ext uri="{FF2B5EF4-FFF2-40B4-BE49-F238E27FC236}">
                            <a16:creationId xmlns:a16="http://schemas.microsoft.com/office/drawing/2014/main" id="{83C4D6C1-E50F-4899-B7A7-2EFD56711A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0794" y="3805812"/>
                        <a:ext cx="195593" cy="347243"/>
                      </a:xfrm>
                      <a:custGeom>
                        <a:avLst/>
                        <a:gdLst>
                          <a:gd name="connsiteX0" fmla="*/ 11154 w 195594"/>
                          <a:gd name="connsiteY0" fmla="*/ 88781 h 347243"/>
                          <a:gd name="connsiteX1" fmla="*/ 113459 w 195594"/>
                          <a:gd name="connsiteY1" fmla="*/ 47 h 347243"/>
                          <a:gd name="connsiteX2" fmla="*/ 118623 w 195594"/>
                          <a:gd name="connsiteY2" fmla="*/ 205 h 347243"/>
                          <a:gd name="connsiteX3" fmla="*/ 194645 w 195594"/>
                          <a:gd name="connsiteY3" fmla="*/ 110656 h 347243"/>
                          <a:gd name="connsiteX4" fmla="*/ 177357 w 195594"/>
                          <a:gd name="connsiteY4" fmla="*/ 316034 h 347243"/>
                          <a:gd name="connsiteX5" fmla="*/ 160600 w 195594"/>
                          <a:gd name="connsiteY5" fmla="*/ 329989 h 347243"/>
                          <a:gd name="connsiteX6" fmla="*/ 50182 w 195594"/>
                          <a:gd name="connsiteY6" fmla="*/ 312859 h 347243"/>
                          <a:gd name="connsiteX7" fmla="*/ 50182 w 195594"/>
                          <a:gd name="connsiteY7" fmla="*/ 312859 h 347243"/>
                          <a:gd name="connsiteX8" fmla="*/ 52363 w 195594"/>
                          <a:gd name="connsiteY8" fmla="*/ 279571 h 347243"/>
                          <a:gd name="connsiteX9" fmla="*/ 13 w 195594"/>
                          <a:gd name="connsiteY9" fmla="*/ 216012 h 347243"/>
                          <a:gd name="connsiteX10" fmla="*/ 11154 w 195594"/>
                          <a:gd name="connsiteY10" fmla="*/ 88781 h 3472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95594" h="347243">
                            <a:moveTo>
                              <a:pt x="11154" y="88781"/>
                            </a:moveTo>
                            <a:cubicBezTo>
                              <a:pt x="16917" y="37064"/>
                              <a:pt x="61448" y="-1535"/>
                              <a:pt x="113459" y="47"/>
                            </a:cubicBezTo>
                            <a:lnTo>
                              <a:pt x="118623" y="205"/>
                            </a:lnTo>
                            <a:cubicBezTo>
                              <a:pt x="174261" y="5154"/>
                              <a:pt x="201131" y="55177"/>
                              <a:pt x="194645" y="110656"/>
                            </a:cubicBezTo>
                            <a:lnTo>
                              <a:pt x="177357" y="316034"/>
                            </a:lnTo>
                            <a:lnTo>
                              <a:pt x="160600" y="329989"/>
                            </a:lnTo>
                            <a:cubicBezTo>
                              <a:pt x="126148" y="358689"/>
                              <a:pt x="74329" y="350644"/>
                              <a:pt x="50182" y="312859"/>
                            </a:cubicBezTo>
                            <a:lnTo>
                              <a:pt x="50182" y="312859"/>
                            </a:lnTo>
                            <a:cubicBezTo>
                              <a:pt x="51335" y="297175"/>
                              <a:pt x="52487" y="279582"/>
                              <a:pt x="52363" y="279571"/>
                            </a:cubicBezTo>
                            <a:cubicBezTo>
                              <a:pt x="52363" y="279571"/>
                              <a:pt x="-959" y="269605"/>
                              <a:pt x="13" y="216012"/>
                            </a:cubicBezTo>
                            <a:cubicBezTo>
                              <a:pt x="488" y="190125"/>
                              <a:pt x="5787" y="136894"/>
                              <a:pt x="11154" y="88781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5" name="Полилиния: фигура 324">
                        <a:extLst>
                          <a:ext uri="{FF2B5EF4-FFF2-40B4-BE49-F238E27FC236}">
                            <a16:creationId xmlns:a16="http://schemas.microsoft.com/office/drawing/2014/main" id="{2142BF2C-28EF-4586-A6E4-50368E661C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231" y="4066887"/>
                        <a:ext cx="71321" cy="34018"/>
                      </a:xfrm>
                      <a:custGeom>
                        <a:avLst/>
                        <a:gdLst>
                          <a:gd name="connsiteX0" fmla="*/ 938 w 71321"/>
                          <a:gd name="connsiteY0" fmla="*/ 18497 h 34018"/>
                          <a:gd name="connsiteX1" fmla="*/ 71322 w 71321"/>
                          <a:gd name="connsiteY1" fmla="*/ 0 h 34018"/>
                          <a:gd name="connsiteX2" fmla="*/ 0 w 71321"/>
                          <a:gd name="connsiteY2" fmla="*/ 33311 h 34018"/>
                          <a:gd name="connsiteX3" fmla="*/ 938 w 71321"/>
                          <a:gd name="connsiteY3" fmla="*/ 18497 h 3401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71321" h="34018">
                            <a:moveTo>
                              <a:pt x="938" y="18497"/>
                            </a:moveTo>
                            <a:cubicBezTo>
                              <a:pt x="938" y="18497"/>
                              <a:pt x="34644" y="21503"/>
                              <a:pt x="71322" y="0"/>
                            </a:cubicBezTo>
                            <a:cubicBezTo>
                              <a:pt x="71322" y="0"/>
                              <a:pt x="53310" y="39762"/>
                              <a:pt x="0" y="33311"/>
                            </a:cubicBezTo>
                            <a:lnTo>
                              <a:pt x="938" y="18497"/>
                            </a:ln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6" name="Полилиния: фигура 325">
                        <a:extLst>
                          <a:ext uri="{FF2B5EF4-FFF2-40B4-BE49-F238E27FC236}">
                            <a16:creationId xmlns:a16="http://schemas.microsoft.com/office/drawing/2014/main" id="{AECDC550-7DDE-4C35-A0C5-C2060BF987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1526" y="3935718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2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2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14" y="-322"/>
                              <a:pt x="276" y="2650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7" name="Полилиния: фигура 326">
                        <a:extLst>
                          <a:ext uri="{FF2B5EF4-FFF2-40B4-BE49-F238E27FC236}">
                            <a16:creationId xmlns:a16="http://schemas.microsoft.com/office/drawing/2014/main" id="{A9C7806D-3ED0-481D-A108-6989F437A3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504" y="3910994"/>
                        <a:ext cx="30357" cy="8521"/>
                      </a:xfrm>
                      <a:custGeom>
                        <a:avLst/>
                        <a:gdLst>
                          <a:gd name="connsiteX0" fmla="*/ 111 w 30357"/>
                          <a:gd name="connsiteY0" fmla="*/ 7599 h 8521"/>
                          <a:gd name="connsiteX1" fmla="*/ 15184 w 30357"/>
                          <a:gd name="connsiteY1" fmla="*/ 4786 h 8521"/>
                          <a:gd name="connsiteX2" fmla="*/ 30246 w 30357"/>
                          <a:gd name="connsiteY2" fmla="*/ 8379 h 8521"/>
                          <a:gd name="connsiteX3" fmla="*/ 27218 w 30357"/>
                          <a:gd name="connsiteY3" fmla="*/ 4119 h 8521"/>
                          <a:gd name="connsiteX4" fmla="*/ 15195 w 30357"/>
                          <a:gd name="connsiteY4" fmla="*/ 6 h 8521"/>
                          <a:gd name="connsiteX5" fmla="*/ 3162 w 30357"/>
                          <a:gd name="connsiteY5" fmla="*/ 3486 h 8521"/>
                          <a:gd name="connsiteX6" fmla="*/ 111 w 30357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57" h="8521">
                            <a:moveTo>
                              <a:pt x="111" y="7599"/>
                            </a:moveTo>
                            <a:cubicBezTo>
                              <a:pt x="1026" y="8628"/>
                              <a:pt x="6958" y="4515"/>
                              <a:pt x="15184" y="4786"/>
                            </a:cubicBezTo>
                            <a:cubicBezTo>
                              <a:pt x="23410" y="4944"/>
                              <a:pt x="29320" y="9362"/>
                              <a:pt x="30246" y="8379"/>
                            </a:cubicBezTo>
                            <a:cubicBezTo>
                              <a:pt x="30698" y="7950"/>
                              <a:pt x="29794" y="6119"/>
                              <a:pt x="27218" y="4119"/>
                            </a:cubicBezTo>
                            <a:cubicBezTo>
                              <a:pt x="24687" y="2131"/>
                              <a:pt x="20325" y="142"/>
                              <a:pt x="15195" y="6"/>
                            </a:cubicBezTo>
                            <a:cubicBezTo>
                              <a:pt x="10065" y="-118"/>
                              <a:pt x="5693" y="1633"/>
                              <a:pt x="3162" y="3486"/>
                            </a:cubicBezTo>
                            <a:cubicBezTo>
                              <a:pt x="574" y="5351"/>
                              <a:pt x="-341" y="7125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8" name="Полилиния: фигура 327">
                        <a:extLst>
                          <a:ext uri="{FF2B5EF4-FFF2-40B4-BE49-F238E27FC236}">
                            <a16:creationId xmlns:a16="http://schemas.microsoft.com/office/drawing/2014/main" id="{185BF139-D054-4C57-99CF-21B1C9AE8F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5243" y="3939809"/>
                        <a:ext cx="15263" cy="14654"/>
                      </a:xfrm>
                      <a:custGeom>
                        <a:avLst/>
                        <a:gdLst>
                          <a:gd name="connsiteX0" fmla="*/ 16 w 15263"/>
                          <a:gd name="connsiteY0" fmla="*/ 6683 h 14654"/>
                          <a:gd name="connsiteX1" fmla="*/ 7157 w 15263"/>
                          <a:gd name="connsiteY1" fmla="*/ 14627 h 14654"/>
                          <a:gd name="connsiteX2" fmla="*/ 15248 w 15263"/>
                          <a:gd name="connsiteY2" fmla="*/ 7971 h 14654"/>
                          <a:gd name="connsiteX3" fmla="*/ 8118 w 15263"/>
                          <a:gd name="connsiteY3" fmla="*/ 28 h 14654"/>
                          <a:gd name="connsiteX4" fmla="*/ 16 w 15263"/>
                          <a:gd name="connsiteY4" fmla="*/ 6695 h 1465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5263" h="14654">
                            <a:moveTo>
                              <a:pt x="16" y="6683"/>
                            </a:moveTo>
                            <a:cubicBezTo>
                              <a:pt x="-255" y="10717"/>
                              <a:pt x="2943" y="14277"/>
                              <a:pt x="7157" y="14627"/>
                            </a:cubicBezTo>
                            <a:cubicBezTo>
                              <a:pt x="11361" y="14977"/>
                              <a:pt x="14988" y="12005"/>
                              <a:pt x="15248" y="7971"/>
                            </a:cubicBezTo>
                            <a:cubicBezTo>
                              <a:pt x="15519" y="3938"/>
                              <a:pt x="12321" y="378"/>
                              <a:pt x="8118" y="28"/>
                            </a:cubicBezTo>
                            <a:cubicBezTo>
                              <a:pt x="3903" y="-322"/>
                              <a:pt x="276" y="2649"/>
                              <a:pt x="16" y="6695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9" name="Полилиния: фигура 328">
                        <a:extLst>
                          <a:ext uri="{FF2B5EF4-FFF2-40B4-BE49-F238E27FC236}">
                            <a16:creationId xmlns:a16="http://schemas.microsoft.com/office/drawing/2014/main" id="{2C69FFF6-9D1E-4218-B2BA-5D22B0898F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3137" y="3915367"/>
                        <a:ext cx="30380" cy="8521"/>
                      </a:xfrm>
                      <a:custGeom>
                        <a:avLst/>
                        <a:gdLst>
                          <a:gd name="connsiteX0" fmla="*/ 122 w 30380"/>
                          <a:gd name="connsiteY0" fmla="*/ 7599 h 8521"/>
                          <a:gd name="connsiteX1" fmla="*/ 15207 w 30380"/>
                          <a:gd name="connsiteY1" fmla="*/ 4786 h 8521"/>
                          <a:gd name="connsiteX2" fmla="*/ 30269 w 30380"/>
                          <a:gd name="connsiteY2" fmla="*/ 8379 h 8521"/>
                          <a:gd name="connsiteX3" fmla="*/ 27229 w 30380"/>
                          <a:gd name="connsiteY3" fmla="*/ 4119 h 8521"/>
                          <a:gd name="connsiteX4" fmla="*/ 15207 w 30380"/>
                          <a:gd name="connsiteY4" fmla="*/ 6 h 8521"/>
                          <a:gd name="connsiteX5" fmla="*/ 3162 w 30380"/>
                          <a:gd name="connsiteY5" fmla="*/ 3486 h 8521"/>
                          <a:gd name="connsiteX6" fmla="*/ 111 w 30380"/>
                          <a:gd name="connsiteY6" fmla="*/ 7588 h 85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0380" h="8521">
                            <a:moveTo>
                              <a:pt x="122" y="7599"/>
                            </a:moveTo>
                            <a:cubicBezTo>
                              <a:pt x="1037" y="8628"/>
                              <a:pt x="6981" y="4515"/>
                              <a:pt x="15207" y="4786"/>
                            </a:cubicBezTo>
                            <a:cubicBezTo>
                              <a:pt x="23433" y="4944"/>
                              <a:pt x="29342" y="9362"/>
                              <a:pt x="30269" y="8379"/>
                            </a:cubicBezTo>
                            <a:cubicBezTo>
                              <a:pt x="30721" y="7950"/>
                              <a:pt x="29817" y="6119"/>
                              <a:pt x="27229" y="4119"/>
                            </a:cubicBezTo>
                            <a:cubicBezTo>
                              <a:pt x="24698" y="2131"/>
                              <a:pt x="20337" y="142"/>
                              <a:pt x="15207" y="6"/>
                            </a:cubicBezTo>
                            <a:cubicBezTo>
                              <a:pt x="10077" y="-118"/>
                              <a:pt x="5704" y="1633"/>
                              <a:pt x="3162" y="3486"/>
                            </a:cubicBezTo>
                            <a:cubicBezTo>
                              <a:pt x="574" y="5351"/>
                              <a:pt x="-341" y="7136"/>
                              <a:pt x="111" y="7588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0" name="Полилиния: фигура 329">
                        <a:extLst>
                          <a:ext uri="{FF2B5EF4-FFF2-40B4-BE49-F238E27FC236}">
                            <a16:creationId xmlns:a16="http://schemas.microsoft.com/office/drawing/2014/main" id="{41B8766E-D568-4CAF-A806-C87A01DA06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0981" y="3916826"/>
                        <a:ext cx="26742" cy="68737"/>
                      </a:xfrm>
                      <a:custGeom>
                        <a:avLst/>
                        <a:gdLst>
                          <a:gd name="connsiteX0" fmla="*/ 20809 w 26742"/>
                          <a:gd name="connsiteY0" fmla="*/ 68491 h 68737"/>
                          <a:gd name="connsiteX1" fmla="*/ 7510 w 26742"/>
                          <a:gd name="connsiteY1" fmla="*/ 65666 h 68737"/>
                          <a:gd name="connsiteX2" fmla="*/ 3126 w 26742"/>
                          <a:gd name="connsiteY2" fmla="*/ 63463 h 68737"/>
                          <a:gd name="connsiteX3" fmla="*/ 4719 w 26742"/>
                          <a:gd name="connsiteY3" fmla="*/ 57271 h 68737"/>
                          <a:gd name="connsiteX4" fmla="*/ 11419 w 26742"/>
                          <a:gd name="connsiteY4" fmla="*/ 41451 h 68737"/>
                          <a:gd name="connsiteX5" fmla="*/ 26662 w 26742"/>
                          <a:gd name="connsiteY5" fmla="*/ 5 h 68737"/>
                          <a:gd name="connsiteX6" fmla="*/ 8120 w 26742"/>
                          <a:gd name="connsiteY6" fmla="*/ 40129 h 68737"/>
                          <a:gd name="connsiteX7" fmla="*/ 1668 w 26742"/>
                          <a:gd name="connsiteY7" fmla="*/ 56050 h 68737"/>
                          <a:gd name="connsiteX8" fmla="*/ 323 w 26742"/>
                          <a:gd name="connsiteY8" fmla="*/ 64265 h 68737"/>
                          <a:gd name="connsiteX9" fmla="*/ 3691 w 26742"/>
                          <a:gd name="connsiteY9" fmla="*/ 67440 h 68737"/>
                          <a:gd name="connsiteX10" fmla="*/ 7250 w 26742"/>
                          <a:gd name="connsiteY10" fmla="*/ 68050 h 68737"/>
                          <a:gd name="connsiteX11" fmla="*/ 20798 w 26742"/>
                          <a:gd name="connsiteY11" fmla="*/ 68480 h 68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6742" h="68737">
                            <a:moveTo>
                              <a:pt x="20809" y="68491"/>
                            </a:moveTo>
                            <a:cubicBezTo>
                              <a:pt x="20866" y="68028"/>
                              <a:pt x="15770" y="66988"/>
                              <a:pt x="7510" y="65666"/>
                            </a:cubicBezTo>
                            <a:cubicBezTo>
                              <a:pt x="5408" y="65384"/>
                              <a:pt x="3442" y="64909"/>
                              <a:pt x="3126" y="63463"/>
                            </a:cubicBezTo>
                            <a:cubicBezTo>
                              <a:pt x="2674" y="61926"/>
                              <a:pt x="3623" y="59689"/>
                              <a:pt x="4719" y="57271"/>
                            </a:cubicBezTo>
                            <a:cubicBezTo>
                              <a:pt x="6854" y="52242"/>
                              <a:pt x="9080" y="46977"/>
                              <a:pt x="11419" y="41451"/>
                            </a:cubicBezTo>
                            <a:cubicBezTo>
                              <a:pt x="20753" y="18921"/>
                              <a:pt x="27566" y="378"/>
                              <a:pt x="26662" y="5"/>
                            </a:cubicBezTo>
                            <a:cubicBezTo>
                              <a:pt x="25747" y="-356"/>
                              <a:pt x="17453" y="17598"/>
                              <a:pt x="8120" y="40129"/>
                            </a:cubicBezTo>
                            <a:cubicBezTo>
                              <a:pt x="5871" y="45689"/>
                              <a:pt x="3724" y="50988"/>
                              <a:pt x="1668" y="56050"/>
                            </a:cubicBezTo>
                            <a:cubicBezTo>
                              <a:pt x="798" y="58412"/>
                              <a:pt x="-648" y="61078"/>
                              <a:pt x="323" y="64265"/>
                            </a:cubicBezTo>
                            <a:cubicBezTo>
                              <a:pt x="843" y="65858"/>
                              <a:pt x="2346" y="67045"/>
                              <a:pt x="3691" y="67440"/>
                            </a:cubicBezTo>
                            <a:cubicBezTo>
                              <a:pt x="5024" y="67892"/>
                              <a:pt x="6210" y="67948"/>
                              <a:pt x="7250" y="68050"/>
                            </a:cubicBezTo>
                            <a:cubicBezTo>
                              <a:pt x="15577" y="68751"/>
                              <a:pt x="20753" y="68954"/>
                              <a:pt x="20798" y="6848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1" name="Полилиния: фигура 330">
                        <a:extLst>
                          <a:ext uri="{FF2B5EF4-FFF2-40B4-BE49-F238E27FC236}">
                            <a16:creationId xmlns:a16="http://schemas.microsoft.com/office/drawing/2014/main" id="{3C690602-190C-469F-BD39-BBF1945810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281" y="3889035"/>
                        <a:ext cx="37852" cy="9100"/>
                      </a:xfrm>
                      <a:custGeom>
                        <a:avLst/>
                        <a:gdLst>
                          <a:gd name="connsiteX0" fmla="*/ 90 w 37852"/>
                          <a:gd name="connsiteY0" fmla="*/ 8102 h 9100"/>
                          <a:gd name="connsiteX1" fmla="*/ 18926 w 37852"/>
                          <a:gd name="connsiteY1" fmla="*/ 8362 h 9100"/>
                          <a:gd name="connsiteX2" fmla="*/ 37774 w 37852"/>
                          <a:gd name="connsiteY2" fmla="*/ 8068 h 9100"/>
                          <a:gd name="connsiteX3" fmla="*/ 33277 w 37852"/>
                          <a:gd name="connsiteY3" fmla="*/ 3299 h 9100"/>
                          <a:gd name="connsiteX4" fmla="*/ 18915 w 37852"/>
                          <a:gd name="connsiteY4" fmla="*/ 0 h 9100"/>
                          <a:gd name="connsiteX5" fmla="*/ 4565 w 37852"/>
                          <a:gd name="connsiteY5" fmla="*/ 3333 h 9100"/>
                          <a:gd name="connsiteX6" fmla="*/ 79 w 37852"/>
                          <a:gd name="connsiteY6" fmla="*/ 8113 h 91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7852" h="9100">
                            <a:moveTo>
                              <a:pt x="90" y="8102"/>
                            </a:moveTo>
                            <a:cubicBezTo>
                              <a:pt x="1141" y="10237"/>
                              <a:pt x="9198" y="8271"/>
                              <a:pt x="18926" y="8362"/>
                            </a:cubicBezTo>
                            <a:cubicBezTo>
                              <a:pt x="28666" y="8249"/>
                              <a:pt x="36723" y="10203"/>
                              <a:pt x="37774" y="8068"/>
                            </a:cubicBezTo>
                            <a:cubicBezTo>
                              <a:pt x="38237" y="7051"/>
                              <a:pt x="36655" y="5107"/>
                              <a:pt x="33277" y="3299"/>
                            </a:cubicBezTo>
                            <a:cubicBezTo>
                              <a:pt x="29932" y="1492"/>
                              <a:pt x="24757" y="0"/>
                              <a:pt x="18915" y="0"/>
                            </a:cubicBezTo>
                            <a:cubicBezTo>
                              <a:pt x="13085" y="11"/>
                              <a:pt x="7898" y="1514"/>
                              <a:pt x="4565" y="3333"/>
                            </a:cubicBezTo>
                            <a:cubicBezTo>
                              <a:pt x="1198" y="5141"/>
                              <a:pt x="-384" y="7096"/>
                              <a:pt x="79" y="811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2" name="Полилиния: фигура 331">
                        <a:extLst>
                          <a:ext uri="{FF2B5EF4-FFF2-40B4-BE49-F238E27FC236}">
                            <a16:creationId xmlns:a16="http://schemas.microsoft.com/office/drawing/2014/main" id="{85A03B8B-C9CD-4F20-A646-E228CC4D1A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758" y="3886589"/>
                        <a:ext cx="33399" cy="9257"/>
                      </a:xfrm>
                      <a:custGeom>
                        <a:avLst/>
                        <a:gdLst>
                          <a:gd name="connsiteX0" fmla="*/ 218 w 33399"/>
                          <a:gd name="connsiteY0" fmla="*/ 7790 h 9257"/>
                          <a:gd name="connsiteX1" fmla="*/ 16693 w 33399"/>
                          <a:gd name="connsiteY1" fmla="*/ 8378 h 9257"/>
                          <a:gd name="connsiteX2" fmla="*/ 33167 w 33399"/>
                          <a:gd name="connsiteY2" fmla="*/ 8423 h 9257"/>
                          <a:gd name="connsiteX3" fmla="*/ 30003 w 33399"/>
                          <a:gd name="connsiteY3" fmla="*/ 3677 h 9257"/>
                          <a:gd name="connsiteX4" fmla="*/ 16760 w 33399"/>
                          <a:gd name="connsiteY4" fmla="*/ 5 h 9257"/>
                          <a:gd name="connsiteX5" fmla="*/ 3461 w 33399"/>
                          <a:gd name="connsiteY5" fmla="*/ 3169 h 9257"/>
                          <a:gd name="connsiteX6" fmla="*/ 218 w 33399"/>
                          <a:gd name="connsiteY6" fmla="*/ 7790 h 92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3399" h="9257">
                            <a:moveTo>
                              <a:pt x="218" y="7790"/>
                            </a:moveTo>
                            <a:cubicBezTo>
                              <a:pt x="1845" y="9734"/>
                              <a:pt x="8636" y="8107"/>
                              <a:pt x="16693" y="8378"/>
                            </a:cubicBezTo>
                            <a:cubicBezTo>
                              <a:pt x="24760" y="8412"/>
                              <a:pt x="31506" y="10310"/>
                              <a:pt x="33167" y="8423"/>
                            </a:cubicBezTo>
                            <a:cubicBezTo>
                              <a:pt x="33902" y="7508"/>
                              <a:pt x="32907" y="5587"/>
                              <a:pt x="30003" y="3677"/>
                            </a:cubicBezTo>
                            <a:cubicBezTo>
                              <a:pt x="27145" y="1779"/>
                              <a:pt x="22297" y="118"/>
                              <a:pt x="16760" y="5"/>
                            </a:cubicBezTo>
                            <a:cubicBezTo>
                              <a:pt x="11224" y="-97"/>
                              <a:pt x="6342" y="1372"/>
                              <a:pt x="3461" y="3169"/>
                            </a:cubicBezTo>
                            <a:cubicBezTo>
                              <a:pt x="523" y="4954"/>
                              <a:pt x="-494" y="6841"/>
                              <a:pt x="218" y="7790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3" name="Полилиния: фигура 332">
                        <a:extLst>
                          <a:ext uri="{FF2B5EF4-FFF2-40B4-BE49-F238E27FC236}">
                            <a16:creationId xmlns:a16="http://schemas.microsoft.com/office/drawing/2014/main" id="{0DE8E343-005D-4476-A41B-E1DFC27CC8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6162" y="3954664"/>
                        <a:ext cx="38645" cy="55841"/>
                      </a:xfrm>
                      <a:custGeom>
                        <a:avLst/>
                        <a:gdLst>
                          <a:gd name="connsiteX0" fmla="*/ 3684 w 38645"/>
                          <a:gd name="connsiteY0" fmla="*/ 1343 h 55841"/>
                          <a:gd name="connsiteX1" fmla="*/ 38542 w 38645"/>
                          <a:gd name="connsiteY1" fmla="*/ 28167 h 55841"/>
                          <a:gd name="connsiteX2" fmla="*/ 0 w 38645"/>
                          <a:gd name="connsiteY2" fmla="*/ 53862 h 55841"/>
                          <a:gd name="connsiteX3" fmla="*/ 3695 w 38645"/>
                          <a:gd name="connsiteY3" fmla="*/ 1343 h 558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38645" h="55841">
                            <a:moveTo>
                              <a:pt x="3684" y="1343"/>
                            </a:moveTo>
                            <a:cubicBezTo>
                              <a:pt x="4610" y="981"/>
                              <a:pt x="40825" y="-8420"/>
                              <a:pt x="38542" y="28167"/>
                            </a:cubicBezTo>
                            <a:cubicBezTo>
                              <a:pt x="36260" y="64755"/>
                              <a:pt x="-11" y="54913"/>
                              <a:pt x="0" y="53862"/>
                            </a:cubicBezTo>
                            <a:cubicBezTo>
                              <a:pt x="0" y="52811"/>
                              <a:pt x="3695" y="1343"/>
                              <a:pt x="3695" y="1343"/>
                            </a:cubicBezTo>
                            <a:close/>
                          </a:path>
                        </a:pathLst>
                      </a:custGeom>
                      <a:solidFill>
                        <a:srgbClr val="FFBF9D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4" name="Полилиния: фигура 333">
                        <a:extLst>
                          <a:ext uri="{FF2B5EF4-FFF2-40B4-BE49-F238E27FC236}">
                            <a16:creationId xmlns:a16="http://schemas.microsoft.com/office/drawing/2014/main" id="{FC460816-4817-4678-8A22-E9349EC352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154" y="3966817"/>
                        <a:ext cx="17273" cy="31877"/>
                      </a:xfrm>
                      <a:custGeom>
                        <a:avLst/>
                        <a:gdLst>
                          <a:gd name="connsiteX0" fmla="*/ 42 w 17273"/>
                          <a:gd name="connsiteY0" fmla="*/ 28533 h 31877"/>
                          <a:gd name="connsiteX1" fmla="*/ 1703 w 17273"/>
                          <a:gd name="connsiteY1" fmla="*/ 29584 h 31877"/>
                          <a:gd name="connsiteX2" fmla="*/ 6460 w 17273"/>
                          <a:gd name="connsiteY2" fmla="*/ 29980 h 31877"/>
                          <a:gd name="connsiteX3" fmla="*/ 14641 w 17273"/>
                          <a:gd name="connsiteY3" fmla="*/ 16285 h 31877"/>
                          <a:gd name="connsiteX4" fmla="*/ 13432 w 17273"/>
                          <a:gd name="connsiteY4" fmla="*/ 7053 h 31877"/>
                          <a:gd name="connsiteX5" fmla="*/ 8946 w 17273"/>
                          <a:gd name="connsiteY5" fmla="*/ 1856 h 31877"/>
                          <a:gd name="connsiteX6" fmla="*/ 5071 w 17273"/>
                          <a:gd name="connsiteY6" fmla="*/ 3370 h 31877"/>
                          <a:gd name="connsiteX7" fmla="*/ 4506 w 17273"/>
                          <a:gd name="connsiteY7" fmla="*/ 5155 h 31877"/>
                          <a:gd name="connsiteX8" fmla="*/ 4144 w 17273"/>
                          <a:gd name="connsiteY8" fmla="*/ 2997 h 31877"/>
                          <a:gd name="connsiteX9" fmla="*/ 5726 w 17273"/>
                          <a:gd name="connsiteY9" fmla="*/ 793 h 31877"/>
                          <a:gd name="connsiteX10" fmla="*/ 9308 w 17273"/>
                          <a:gd name="connsiteY10" fmla="*/ 82 h 31877"/>
                          <a:gd name="connsiteX11" fmla="*/ 15613 w 17273"/>
                          <a:gd name="connsiteY11" fmla="*/ 6172 h 31877"/>
                          <a:gd name="connsiteX12" fmla="*/ 17183 w 17273"/>
                          <a:gd name="connsiteY12" fmla="*/ 16511 h 31877"/>
                          <a:gd name="connsiteX13" fmla="*/ 6901 w 17273"/>
                          <a:gd name="connsiteY13" fmla="*/ 31731 h 31877"/>
                          <a:gd name="connsiteX14" fmla="*/ 1127 w 17273"/>
                          <a:gd name="connsiteY14" fmla="*/ 30398 h 31877"/>
                          <a:gd name="connsiteX15" fmla="*/ 42 w 17273"/>
                          <a:gd name="connsiteY15" fmla="*/ 28533 h 318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7273" h="31877">
                            <a:moveTo>
                              <a:pt x="42" y="28533"/>
                            </a:moveTo>
                            <a:cubicBezTo>
                              <a:pt x="212" y="28432"/>
                              <a:pt x="652" y="29019"/>
                              <a:pt x="1703" y="29584"/>
                            </a:cubicBezTo>
                            <a:cubicBezTo>
                              <a:pt x="2720" y="30127"/>
                              <a:pt x="4506" y="30579"/>
                              <a:pt x="6460" y="29980"/>
                            </a:cubicBezTo>
                            <a:cubicBezTo>
                              <a:pt x="10415" y="28805"/>
                              <a:pt x="14054" y="22872"/>
                              <a:pt x="14641" y="16285"/>
                            </a:cubicBezTo>
                            <a:cubicBezTo>
                              <a:pt x="14946" y="12963"/>
                              <a:pt x="14438" y="9742"/>
                              <a:pt x="13432" y="7053"/>
                            </a:cubicBezTo>
                            <a:cubicBezTo>
                              <a:pt x="12483" y="4307"/>
                              <a:pt x="10867" y="2330"/>
                              <a:pt x="8946" y="1856"/>
                            </a:cubicBezTo>
                            <a:cubicBezTo>
                              <a:pt x="7037" y="1291"/>
                              <a:pt x="5590" y="2364"/>
                              <a:pt x="5071" y="3370"/>
                            </a:cubicBezTo>
                            <a:cubicBezTo>
                              <a:pt x="4517" y="4364"/>
                              <a:pt x="4709" y="5110"/>
                              <a:pt x="4506" y="5155"/>
                            </a:cubicBezTo>
                            <a:cubicBezTo>
                              <a:pt x="4404" y="5245"/>
                              <a:pt x="3760" y="4488"/>
                              <a:pt x="4144" y="2997"/>
                            </a:cubicBezTo>
                            <a:cubicBezTo>
                              <a:pt x="4336" y="2274"/>
                              <a:pt x="4822" y="1437"/>
                              <a:pt x="5726" y="793"/>
                            </a:cubicBezTo>
                            <a:cubicBezTo>
                              <a:pt x="6652" y="138"/>
                              <a:pt x="7963" y="-156"/>
                              <a:pt x="9308" y="82"/>
                            </a:cubicBezTo>
                            <a:cubicBezTo>
                              <a:pt x="12121" y="454"/>
                              <a:pt x="14494" y="3211"/>
                              <a:pt x="15613" y="6172"/>
                            </a:cubicBezTo>
                            <a:cubicBezTo>
                              <a:pt x="16878" y="9155"/>
                              <a:pt x="17522" y="12771"/>
                              <a:pt x="17183" y="16511"/>
                            </a:cubicBezTo>
                            <a:cubicBezTo>
                              <a:pt x="16483" y="23867"/>
                              <a:pt x="12280" y="30533"/>
                              <a:pt x="6901" y="31731"/>
                            </a:cubicBezTo>
                            <a:cubicBezTo>
                              <a:pt x="4280" y="32240"/>
                              <a:pt x="2189" y="31336"/>
                              <a:pt x="1127" y="30398"/>
                            </a:cubicBezTo>
                            <a:cubicBezTo>
                              <a:pt x="54" y="29426"/>
                              <a:pt x="-93" y="28590"/>
                              <a:pt x="42" y="28533"/>
                            </a:cubicBezTo>
                            <a:close/>
                          </a:path>
                        </a:pathLst>
                      </a:custGeom>
                      <a:solidFill>
                        <a:srgbClr val="FF9A6C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35" name="Полилиния: фигура 334">
                        <a:extLst>
                          <a:ext uri="{FF2B5EF4-FFF2-40B4-BE49-F238E27FC236}">
                            <a16:creationId xmlns:a16="http://schemas.microsoft.com/office/drawing/2014/main" id="{E084F830-2210-4BB0-BEF8-74AC4D0861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1002" y="3992252"/>
                        <a:ext cx="27189" cy="20881"/>
                      </a:xfrm>
                      <a:custGeom>
                        <a:avLst/>
                        <a:gdLst>
                          <a:gd name="connsiteX0" fmla="*/ 26212 w 27189"/>
                          <a:gd name="connsiteY0" fmla="*/ 3 h 20881"/>
                          <a:gd name="connsiteX1" fmla="*/ 16664 w 27189"/>
                          <a:gd name="connsiteY1" fmla="*/ 13641 h 20881"/>
                          <a:gd name="connsiteX2" fmla="*/ 9 w 27189"/>
                          <a:gd name="connsiteY2" fmla="*/ 18613 h 20881"/>
                          <a:gd name="connsiteX3" fmla="*/ 5647 w 27189"/>
                          <a:gd name="connsiteY3" fmla="*/ 20782 h 20881"/>
                          <a:gd name="connsiteX4" fmla="*/ 19511 w 27189"/>
                          <a:gd name="connsiteY4" fmla="*/ 17110 h 20881"/>
                          <a:gd name="connsiteX5" fmla="*/ 26980 w 27189"/>
                          <a:gd name="connsiteY5" fmla="*/ 5641 h 20881"/>
                          <a:gd name="connsiteX6" fmla="*/ 26212 w 27189"/>
                          <a:gd name="connsiteY6" fmla="*/ 3 h 208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7189" h="20881">
                            <a:moveTo>
                              <a:pt x="26212" y="3"/>
                            </a:moveTo>
                            <a:cubicBezTo>
                              <a:pt x="24958" y="-167"/>
                              <a:pt x="24302" y="8228"/>
                              <a:pt x="16664" y="13641"/>
                            </a:cubicBezTo>
                            <a:cubicBezTo>
                              <a:pt x="9037" y="19065"/>
                              <a:pt x="156" y="17437"/>
                              <a:pt x="9" y="18613"/>
                            </a:cubicBezTo>
                            <a:cubicBezTo>
                              <a:pt x="-150" y="19132"/>
                              <a:pt x="1873" y="20398"/>
                              <a:pt x="5647" y="20782"/>
                            </a:cubicBezTo>
                            <a:cubicBezTo>
                              <a:pt x="9342" y="21189"/>
                              <a:pt x="14845" y="20420"/>
                              <a:pt x="19511" y="17110"/>
                            </a:cubicBezTo>
                            <a:cubicBezTo>
                              <a:pt x="24178" y="13788"/>
                              <a:pt x="26427" y="9065"/>
                              <a:pt x="26980" y="5641"/>
                            </a:cubicBezTo>
                            <a:cubicBezTo>
                              <a:pt x="27568" y="2149"/>
                              <a:pt x="26788" y="3"/>
                              <a:pt x="26212" y="3"/>
                            </a:cubicBezTo>
                            <a:close/>
                          </a:path>
                        </a:pathLst>
                      </a:custGeom>
                      <a:solidFill>
                        <a:srgbClr val="263238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  <p:grpSp>
                  <p:nvGrpSpPr>
                    <p:cNvPr id="319" name="Карточка 1_Ава">
                      <a:extLst>
                        <a:ext uri="{FF2B5EF4-FFF2-40B4-BE49-F238E27FC236}">
                          <a16:creationId xmlns:a16="http://schemas.microsoft.com/office/drawing/2014/main" id="{5050374D-5D96-478F-9E40-1A1459ECD76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01201" y="3767346"/>
                      <a:ext cx="312477" cy="198260"/>
                      <a:chOff x="13501201" y="3767346"/>
                      <a:chExt cx="312477" cy="198260"/>
                    </a:xfrm>
                  </p:grpSpPr>
                  <p:sp>
                    <p:nvSpPr>
                      <p:cNvPr id="320" name="Полилиния: фигура 319">
                        <a:extLst>
                          <a:ext uri="{FF2B5EF4-FFF2-40B4-BE49-F238E27FC236}">
                            <a16:creationId xmlns:a16="http://schemas.microsoft.com/office/drawing/2014/main" id="{AE564507-1A82-44E6-9FD7-C039A32DA7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1201" y="3767346"/>
                        <a:ext cx="312477" cy="198260"/>
                      </a:xfrm>
                      <a:custGeom>
                        <a:avLst/>
                        <a:gdLst>
                          <a:gd name="connsiteX0" fmla="*/ 398 w 312477"/>
                          <a:gd name="connsiteY0" fmla="*/ 73836 h 198260"/>
                          <a:gd name="connsiteX1" fmla="*/ 4782 w 312477"/>
                          <a:gd name="connsiteY1" fmla="*/ 69023 h 198260"/>
                          <a:gd name="connsiteX2" fmla="*/ 18601 w 312477"/>
                          <a:gd name="connsiteY2" fmla="*/ 67633 h 198260"/>
                          <a:gd name="connsiteX3" fmla="*/ 52589 w 312477"/>
                          <a:gd name="connsiteY3" fmla="*/ 61249 h 198260"/>
                          <a:gd name="connsiteX4" fmla="*/ 43166 w 312477"/>
                          <a:gd name="connsiteY4" fmla="*/ 53746 h 198260"/>
                          <a:gd name="connsiteX5" fmla="*/ 37934 w 312477"/>
                          <a:gd name="connsiteY5" fmla="*/ 30503 h 198260"/>
                          <a:gd name="connsiteX6" fmla="*/ 41019 w 312477"/>
                          <a:gd name="connsiteY6" fmla="*/ 27181 h 198260"/>
                          <a:gd name="connsiteX7" fmla="*/ 46928 w 312477"/>
                          <a:gd name="connsiteY7" fmla="*/ 31011 h 198260"/>
                          <a:gd name="connsiteX8" fmla="*/ 65064 w 312477"/>
                          <a:gd name="connsiteY8" fmla="*/ 40017 h 198260"/>
                          <a:gd name="connsiteX9" fmla="*/ 79222 w 312477"/>
                          <a:gd name="connsiteY9" fmla="*/ 36740 h 198260"/>
                          <a:gd name="connsiteX10" fmla="*/ 79708 w 312477"/>
                          <a:gd name="connsiteY10" fmla="*/ 36254 h 198260"/>
                          <a:gd name="connsiteX11" fmla="*/ 85640 w 312477"/>
                          <a:gd name="connsiteY11" fmla="*/ 30944 h 198260"/>
                          <a:gd name="connsiteX12" fmla="*/ 85651 w 312477"/>
                          <a:gd name="connsiteY12" fmla="*/ 30921 h 198260"/>
                          <a:gd name="connsiteX13" fmla="*/ 85651 w 312477"/>
                          <a:gd name="connsiteY13" fmla="*/ 30921 h 198260"/>
                          <a:gd name="connsiteX14" fmla="*/ 125143 w 312477"/>
                          <a:gd name="connsiteY14" fmla="*/ 5192 h 198260"/>
                          <a:gd name="connsiteX15" fmla="*/ 191831 w 312477"/>
                          <a:gd name="connsiteY15" fmla="*/ 3983 h 198260"/>
                          <a:gd name="connsiteX16" fmla="*/ 227413 w 312477"/>
                          <a:gd name="connsiteY16" fmla="*/ 45362 h 198260"/>
                          <a:gd name="connsiteX17" fmla="*/ 266486 w 312477"/>
                          <a:gd name="connsiteY17" fmla="*/ 44074 h 198260"/>
                          <a:gd name="connsiteX18" fmla="*/ 266814 w 312477"/>
                          <a:gd name="connsiteY18" fmla="*/ 43949 h 198260"/>
                          <a:gd name="connsiteX19" fmla="*/ 291130 w 312477"/>
                          <a:gd name="connsiteY19" fmla="*/ 80017 h 198260"/>
                          <a:gd name="connsiteX20" fmla="*/ 291627 w 312477"/>
                          <a:gd name="connsiteY20" fmla="*/ 82446 h 198260"/>
                          <a:gd name="connsiteX21" fmla="*/ 309571 w 312477"/>
                          <a:gd name="connsiteY21" fmla="*/ 102220 h 198260"/>
                          <a:gd name="connsiteX22" fmla="*/ 312475 w 312477"/>
                          <a:gd name="connsiteY22" fmla="*/ 105757 h 198260"/>
                          <a:gd name="connsiteX23" fmla="*/ 309819 w 312477"/>
                          <a:gd name="connsiteY23" fmla="*/ 109384 h 198260"/>
                          <a:gd name="connsiteX24" fmla="*/ 298068 w 312477"/>
                          <a:gd name="connsiteY24" fmla="*/ 113452 h 198260"/>
                          <a:gd name="connsiteX25" fmla="*/ 302158 w 312477"/>
                          <a:gd name="connsiteY25" fmla="*/ 123689 h 198260"/>
                          <a:gd name="connsiteX26" fmla="*/ 303729 w 312477"/>
                          <a:gd name="connsiteY26" fmla="*/ 132581 h 198260"/>
                          <a:gd name="connsiteX27" fmla="*/ 297311 w 312477"/>
                          <a:gd name="connsiteY27" fmla="*/ 134932 h 198260"/>
                          <a:gd name="connsiteX28" fmla="*/ 290893 w 312477"/>
                          <a:gd name="connsiteY28" fmla="*/ 131553 h 198260"/>
                          <a:gd name="connsiteX29" fmla="*/ 294949 w 312477"/>
                          <a:gd name="connsiteY29" fmla="*/ 143192 h 198260"/>
                          <a:gd name="connsiteX30" fmla="*/ 279594 w 312477"/>
                          <a:gd name="connsiteY30" fmla="*/ 141237 h 198260"/>
                          <a:gd name="connsiteX31" fmla="*/ 267955 w 312477"/>
                          <a:gd name="connsiteY31" fmla="*/ 188412 h 198260"/>
                          <a:gd name="connsiteX32" fmla="*/ 250938 w 312477"/>
                          <a:gd name="connsiteY32" fmla="*/ 188129 h 198260"/>
                          <a:gd name="connsiteX33" fmla="*/ 238159 w 312477"/>
                          <a:gd name="connsiteY33" fmla="*/ 197530 h 198260"/>
                          <a:gd name="connsiteX34" fmla="*/ 227424 w 312477"/>
                          <a:gd name="connsiteY34" fmla="*/ 174988 h 198260"/>
                          <a:gd name="connsiteX35" fmla="*/ 223730 w 312477"/>
                          <a:gd name="connsiteY35" fmla="*/ 85994 h 198260"/>
                          <a:gd name="connsiteX36" fmla="*/ 203899 w 312477"/>
                          <a:gd name="connsiteY36" fmla="*/ 69768 h 198260"/>
                          <a:gd name="connsiteX37" fmla="*/ 204498 w 312477"/>
                          <a:gd name="connsiteY37" fmla="*/ 70378 h 198260"/>
                          <a:gd name="connsiteX38" fmla="*/ 158611 w 312477"/>
                          <a:gd name="connsiteY38" fmla="*/ 64311 h 198260"/>
                          <a:gd name="connsiteX39" fmla="*/ 131323 w 312477"/>
                          <a:gd name="connsiteY39" fmla="*/ 88751 h 198260"/>
                          <a:gd name="connsiteX40" fmla="*/ 73132 w 312477"/>
                          <a:gd name="connsiteY40" fmla="*/ 112841 h 198260"/>
                          <a:gd name="connsiteX41" fmla="*/ 66137 w 312477"/>
                          <a:gd name="connsiteY41" fmla="*/ 170276 h 198260"/>
                          <a:gd name="connsiteX42" fmla="*/ 55087 w 312477"/>
                          <a:gd name="connsiteY42" fmla="*/ 139327 h 198260"/>
                          <a:gd name="connsiteX43" fmla="*/ 55087 w 312477"/>
                          <a:gd name="connsiteY43" fmla="*/ 139452 h 198260"/>
                          <a:gd name="connsiteX44" fmla="*/ 52668 w 312477"/>
                          <a:gd name="connsiteY44" fmla="*/ 133949 h 198260"/>
                          <a:gd name="connsiteX45" fmla="*/ 52420 w 312477"/>
                          <a:gd name="connsiteY45" fmla="*/ 133395 h 198260"/>
                          <a:gd name="connsiteX46" fmla="*/ 52420 w 312477"/>
                          <a:gd name="connsiteY46" fmla="*/ 133327 h 198260"/>
                          <a:gd name="connsiteX47" fmla="*/ 48702 w 312477"/>
                          <a:gd name="connsiteY47" fmla="*/ 124491 h 198260"/>
                          <a:gd name="connsiteX48" fmla="*/ 48555 w 312477"/>
                          <a:gd name="connsiteY48" fmla="*/ 124615 h 198260"/>
                          <a:gd name="connsiteX49" fmla="*/ 35550 w 312477"/>
                          <a:gd name="connsiteY49" fmla="*/ 111192 h 198260"/>
                          <a:gd name="connsiteX50" fmla="*/ 40375 w 312477"/>
                          <a:gd name="connsiteY50" fmla="*/ 106887 h 198260"/>
                          <a:gd name="connsiteX51" fmla="*/ 25957 w 312477"/>
                          <a:gd name="connsiteY51" fmla="*/ 109712 h 198260"/>
                          <a:gd name="connsiteX52" fmla="*/ 18386 w 312477"/>
                          <a:gd name="connsiteY52" fmla="*/ 97655 h 198260"/>
                          <a:gd name="connsiteX53" fmla="*/ 24793 w 312477"/>
                          <a:gd name="connsiteY53" fmla="*/ 90039 h 198260"/>
                          <a:gd name="connsiteX54" fmla="*/ 5946 w 312477"/>
                          <a:gd name="connsiteY54" fmla="*/ 84672 h 198260"/>
                          <a:gd name="connsiteX55" fmla="*/ 386 w 312477"/>
                          <a:gd name="connsiteY55" fmla="*/ 73870 h 1982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</a:cxnLst>
                        <a:rect l="l" t="t" r="r" b="b"/>
                        <a:pathLst>
                          <a:path w="312477" h="198260">
                            <a:moveTo>
                              <a:pt x="398" y="73836"/>
                            </a:moveTo>
                            <a:cubicBezTo>
                              <a:pt x="1109" y="71712"/>
                              <a:pt x="2782" y="70039"/>
                              <a:pt x="4782" y="69023"/>
                            </a:cubicBezTo>
                            <a:cubicBezTo>
                              <a:pt x="9121" y="66797"/>
                              <a:pt x="13934" y="67418"/>
                              <a:pt x="18601" y="67633"/>
                            </a:cubicBezTo>
                            <a:cubicBezTo>
                              <a:pt x="30228" y="68152"/>
                              <a:pt x="41923" y="65881"/>
                              <a:pt x="52589" y="61249"/>
                            </a:cubicBezTo>
                            <a:cubicBezTo>
                              <a:pt x="49087" y="59203"/>
                              <a:pt x="45855" y="56774"/>
                              <a:pt x="43166" y="53746"/>
                            </a:cubicBezTo>
                            <a:cubicBezTo>
                              <a:pt x="37606" y="47486"/>
                              <a:pt x="34759" y="38243"/>
                              <a:pt x="37934" y="30503"/>
                            </a:cubicBezTo>
                            <a:cubicBezTo>
                              <a:pt x="38533" y="29045"/>
                              <a:pt x="39493" y="27554"/>
                              <a:pt x="41019" y="27181"/>
                            </a:cubicBezTo>
                            <a:cubicBezTo>
                              <a:pt x="43437" y="26593"/>
                              <a:pt x="45380" y="29057"/>
                              <a:pt x="46928" y="31011"/>
                            </a:cubicBezTo>
                            <a:cubicBezTo>
                              <a:pt x="52013" y="37429"/>
                              <a:pt x="56883" y="40345"/>
                              <a:pt x="65064" y="40017"/>
                            </a:cubicBezTo>
                            <a:cubicBezTo>
                              <a:pt x="70149" y="39814"/>
                              <a:pt x="75109" y="38977"/>
                              <a:pt x="79222" y="36740"/>
                            </a:cubicBezTo>
                            <a:cubicBezTo>
                              <a:pt x="79391" y="36582"/>
                              <a:pt x="79538" y="36413"/>
                              <a:pt x="79708" y="36254"/>
                            </a:cubicBezTo>
                            <a:cubicBezTo>
                              <a:pt x="81730" y="34401"/>
                              <a:pt x="83697" y="32639"/>
                              <a:pt x="85640" y="30944"/>
                            </a:cubicBezTo>
                            <a:cubicBezTo>
                              <a:pt x="85640" y="30944"/>
                              <a:pt x="85640" y="30944"/>
                              <a:pt x="85651" y="30921"/>
                            </a:cubicBezTo>
                            <a:lnTo>
                              <a:pt x="85651" y="30921"/>
                            </a:lnTo>
                            <a:cubicBezTo>
                              <a:pt x="100239" y="18108"/>
                              <a:pt x="112657" y="9362"/>
                              <a:pt x="125143" y="5192"/>
                            </a:cubicBezTo>
                            <a:cubicBezTo>
                              <a:pt x="143448" y="-921"/>
                              <a:pt x="173504" y="-2028"/>
                              <a:pt x="191831" y="3983"/>
                            </a:cubicBezTo>
                            <a:cubicBezTo>
                              <a:pt x="210170" y="9995"/>
                              <a:pt x="225978" y="26119"/>
                              <a:pt x="227413" y="45362"/>
                            </a:cubicBezTo>
                            <a:cubicBezTo>
                              <a:pt x="238396" y="37158"/>
                              <a:pt x="254068" y="38187"/>
                              <a:pt x="266486" y="44074"/>
                            </a:cubicBezTo>
                            <a:lnTo>
                              <a:pt x="266814" y="43949"/>
                            </a:lnTo>
                            <a:cubicBezTo>
                              <a:pt x="280678" y="49859"/>
                              <a:pt x="287820" y="65316"/>
                              <a:pt x="291130" y="80017"/>
                            </a:cubicBezTo>
                            <a:cubicBezTo>
                              <a:pt x="291311" y="80819"/>
                              <a:pt x="291458" y="81633"/>
                              <a:pt x="291627" y="82446"/>
                            </a:cubicBezTo>
                            <a:cubicBezTo>
                              <a:pt x="295955" y="90333"/>
                              <a:pt x="302079" y="97237"/>
                              <a:pt x="309571" y="102220"/>
                            </a:cubicBezTo>
                            <a:cubicBezTo>
                              <a:pt x="310893" y="103101"/>
                              <a:pt x="312407" y="104175"/>
                              <a:pt x="312475" y="105757"/>
                            </a:cubicBezTo>
                            <a:cubicBezTo>
                              <a:pt x="312543" y="107327"/>
                              <a:pt x="311153" y="108548"/>
                              <a:pt x="309819" y="109384"/>
                            </a:cubicBezTo>
                            <a:cubicBezTo>
                              <a:pt x="306271" y="111610"/>
                              <a:pt x="302226" y="112966"/>
                              <a:pt x="298068" y="113452"/>
                            </a:cubicBezTo>
                            <a:cubicBezTo>
                              <a:pt x="299153" y="116966"/>
                              <a:pt x="300475" y="120389"/>
                              <a:pt x="302158" y="123689"/>
                            </a:cubicBezTo>
                            <a:cubicBezTo>
                              <a:pt x="303593" y="126491"/>
                              <a:pt x="305300" y="129858"/>
                              <a:pt x="303729" y="132581"/>
                            </a:cubicBezTo>
                            <a:cubicBezTo>
                              <a:pt x="302520" y="134694"/>
                              <a:pt x="299695" y="135429"/>
                              <a:pt x="297311" y="134932"/>
                            </a:cubicBezTo>
                            <a:cubicBezTo>
                              <a:pt x="294927" y="134435"/>
                              <a:pt x="292870" y="132977"/>
                              <a:pt x="290893" y="131553"/>
                            </a:cubicBezTo>
                            <a:cubicBezTo>
                              <a:pt x="292249" y="135429"/>
                              <a:pt x="293594" y="139316"/>
                              <a:pt x="294949" y="143192"/>
                            </a:cubicBezTo>
                            <a:cubicBezTo>
                              <a:pt x="289774" y="143779"/>
                              <a:pt x="284486" y="143045"/>
                              <a:pt x="279594" y="141237"/>
                            </a:cubicBezTo>
                            <a:cubicBezTo>
                              <a:pt x="275763" y="154570"/>
                              <a:pt x="271989" y="179463"/>
                              <a:pt x="267955" y="188412"/>
                            </a:cubicBezTo>
                            <a:cubicBezTo>
                              <a:pt x="258226" y="187994"/>
                              <a:pt x="255933" y="186796"/>
                              <a:pt x="250938" y="188129"/>
                            </a:cubicBezTo>
                            <a:cubicBezTo>
                              <a:pt x="244475" y="189847"/>
                              <a:pt x="246215" y="201214"/>
                              <a:pt x="238159" y="197530"/>
                            </a:cubicBezTo>
                            <a:cubicBezTo>
                              <a:pt x="234057" y="195655"/>
                              <a:pt x="228577" y="179350"/>
                              <a:pt x="227424" y="174988"/>
                            </a:cubicBezTo>
                            <a:cubicBezTo>
                              <a:pt x="219820" y="146050"/>
                              <a:pt x="218566" y="115463"/>
                              <a:pt x="223730" y="85994"/>
                            </a:cubicBezTo>
                            <a:cubicBezTo>
                              <a:pt x="218238" y="79384"/>
                              <a:pt x="211458" y="73836"/>
                              <a:pt x="203899" y="69768"/>
                            </a:cubicBezTo>
                            <a:lnTo>
                              <a:pt x="204498" y="70378"/>
                            </a:lnTo>
                            <a:cubicBezTo>
                              <a:pt x="189854" y="64277"/>
                              <a:pt x="173233" y="58141"/>
                              <a:pt x="158611" y="64311"/>
                            </a:cubicBezTo>
                            <a:cubicBezTo>
                              <a:pt x="147267" y="69090"/>
                              <a:pt x="140103" y="80130"/>
                              <a:pt x="131323" y="88751"/>
                            </a:cubicBezTo>
                            <a:cubicBezTo>
                              <a:pt x="114679" y="105090"/>
                              <a:pt x="96453" y="113248"/>
                              <a:pt x="73132" y="112841"/>
                            </a:cubicBezTo>
                            <a:cubicBezTo>
                              <a:pt x="70058" y="128875"/>
                              <a:pt x="67832" y="155248"/>
                              <a:pt x="66137" y="170276"/>
                            </a:cubicBezTo>
                            <a:lnTo>
                              <a:pt x="55087" y="139327"/>
                            </a:lnTo>
                            <a:lnTo>
                              <a:pt x="55087" y="139452"/>
                            </a:lnTo>
                            <a:cubicBezTo>
                              <a:pt x="54137" y="137621"/>
                              <a:pt x="53380" y="135791"/>
                              <a:pt x="52668" y="133949"/>
                            </a:cubicBezTo>
                            <a:lnTo>
                              <a:pt x="52420" y="133395"/>
                            </a:lnTo>
                            <a:lnTo>
                              <a:pt x="52420" y="133327"/>
                            </a:lnTo>
                            <a:cubicBezTo>
                              <a:pt x="51279" y="130378"/>
                              <a:pt x="50194" y="127429"/>
                              <a:pt x="48702" y="124491"/>
                            </a:cubicBezTo>
                            <a:cubicBezTo>
                              <a:pt x="48646" y="124536"/>
                              <a:pt x="48601" y="124570"/>
                              <a:pt x="48555" y="124615"/>
                            </a:cubicBezTo>
                            <a:cubicBezTo>
                              <a:pt x="39957" y="131327"/>
                              <a:pt x="28578" y="119587"/>
                              <a:pt x="35550" y="111192"/>
                            </a:cubicBezTo>
                            <a:cubicBezTo>
                              <a:pt x="36928" y="109531"/>
                              <a:pt x="38556" y="108062"/>
                              <a:pt x="40375" y="106887"/>
                            </a:cubicBezTo>
                            <a:cubicBezTo>
                              <a:pt x="36431" y="110164"/>
                              <a:pt x="30759" y="111508"/>
                              <a:pt x="25957" y="109712"/>
                            </a:cubicBezTo>
                            <a:cubicBezTo>
                              <a:pt x="21155" y="107915"/>
                              <a:pt x="17652" y="102729"/>
                              <a:pt x="18386" y="97655"/>
                            </a:cubicBezTo>
                            <a:cubicBezTo>
                              <a:pt x="18883" y="94186"/>
                              <a:pt x="21561" y="91226"/>
                              <a:pt x="24793" y="90039"/>
                            </a:cubicBezTo>
                            <a:cubicBezTo>
                              <a:pt x="18160" y="90152"/>
                              <a:pt x="11505" y="88299"/>
                              <a:pt x="5946" y="84672"/>
                            </a:cubicBezTo>
                            <a:cubicBezTo>
                              <a:pt x="2307" y="82288"/>
                              <a:pt x="-1184" y="78525"/>
                              <a:pt x="386" y="73870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5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1" name="Полилиния: фигура 320">
                        <a:extLst>
                          <a:ext uri="{FF2B5EF4-FFF2-40B4-BE49-F238E27FC236}">
                            <a16:creationId xmlns:a16="http://schemas.microsoft.com/office/drawing/2014/main" id="{C686AE9C-8F02-4FDB-9213-F6F419FB17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1383" y="3817815"/>
                        <a:ext cx="73310" cy="93441"/>
                      </a:xfrm>
                      <a:custGeom>
                        <a:avLst/>
                        <a:gdLst>
                          <a:gd name="connsiteX0" fmla="*/ 11 w 73310"/>
                          <a:gd name="connsiteY0" fmla="*/ 23 h 93441"/>
                          <a:gd name="connsiteX1" fmla="*/ 5085 w 73310"/>
                          <a:gd name="connsiteY1" fmla="*/ 5266 h 93441"/>
                          <a:gd name="connsiteX2" fmla="*/ 12226 w 73310"/>
                          <a:gd name="connsiteY2" fmla="*/ 23548 h 93441"/>
                          <a:gd name="connsiteX3" fmla="*/ 12768 w 73310"/>
                          <a:gd name="connsiteY3" fmla="*/ 37243 h 93441"/>
                          <a:gd name="connsiteX4" fmla="*/ 11062 w 73310"/>
                          <a:gd name="connsiteY4" fmla="*/ 52971 h 93441"/>
                          <a:gd name="connsiteX5" fmla="*/ 9593 w 73310"/>
                          <a:gd name="connsiteY5" fmla="*/ 70508 h 93441"/>
                          <a:gd name="connsiteX6" fmla="*/ 10237 w 73310"/>
                          <a:gd name="connsiteY6" fmla="*/ 79841 h 93441"/>
                          <a:gd name="connsiteX7" fmla="*/ 13469 w 73310"/>
                          <a:gd name="connsiteY7" fmla="*/ 89062 h 93441"/>
                          <a:gd name="connsiteX8" fmla="*/ 20870 w 73310"/>
                          <a:gd name="connsiteY8" fmla="*/ 92056 h 93441"/>
                          <a:gd name="connsiteX9" fmla="*/ 27898 w 73310"/>
                          <a:gd name="connsiteY9" fmla="*/ 88621 h 93441"/>
                          <a:gd name="connsiteX10" fmla="*/ 33887 w 73310"/>
                          <a:gd name="connsiteY10" fmla="*/ 75322 h 93441"/>
                          <a:gd name="connsiteX11" fmla="*/ 32757 w 73310"/>
                          <a:gd name="connsiteY11" fmla="*/ 75389 h 93441"/>
                          <a:gd name="connsiteX12" fmla="*/ 38599 w 73310"/>
                          <a:gd name="connsiteY12" fmla="*/ 87005 h 93441"/>
                          <a:gd name="connsiteX13" fmla="*/ 48678 w 73310"/>
                          <a:gd name="connsiteY13" fmla="*/ 93310 h 93441"/>
                          <a:gd name="connsiteX14" fmla="*/ 54260 w 73310"/>
                          <a:gd name="connsiteY14" fmla="*/ 92677 h 93441"/>
                          <a:gd name="connsiteX15" fmla="*/ 58237 w 73310"/>
                          <a:gd name="connsiteY15" fmla="*/ 89209 h 93441"/>
                          <a:gd name="connsiteX16" fmla="*/ 59661 w 73310"/>
                          <a:gd name="connsiteY16" fmla="*/ 84531 h 93441"/>
                          <a:gd name="connsiteX17" fmla="*/ 58192 w 73310"/>
                          <a:gd name="connsiteY17" fmla="*/ 80259 h 93441"/>
                          <a:gd name="connsiteX18" fmla="*/ 57593 w 73310"/>
                          <a:gd name="connsiteY18" fmla="*/ 80734 h 93441"/>
                          <a:gd name="connsiteX19" fmla="*/ 68576 w 73310"/>
                          <a:gd name="connsiteY19" fmla="*/ 90056 h 93441"/>
                          <a:gd name="connsiteX20" fmla="*/ 72056 w 73310"/>
                          <a:gd name="connsiteY20" fmla="*/ 91661 h 93441"/>
                          <a:gd name="connsiteX21" fmla="*/ 73310 w 73310"/>
                          <a:gd name="connsiteY21" fmla="*/ 92056 h 93441"/>
                          <a:gd name="connsiteX22" fmla="*/ 72135 w 73310"/>
                          <a:gd name="connsiteY22" fmla="*/ 91468 h 93441"/>
                          <a:gd name="connsiteX23" fmla="*/ 68768 w 73310"/>
                          <a:gd name="connsiteY23" fmla="*/ 89706 h 93441"/>
                          <a:gd name="connsiteX24" fmla="*/ 58192 w 73310"/>
                          <a:gd name="connsiteY24" fmla="*/ 80282 h 93441"/>
                          <a:gd name="connsiteX25" fmla="*/ 57593 w 73310"/>
                          <a:gd name="connsiteY25" fmla="*/ 80757 h 93441"/>
                          <a:gd name="connsiteX26" fmla="*/ 57469 w 73310"/>
                          <a:gd name="connsiteY26" fmla="*/ 88734 h 93441"/>
                          <a:gd name="connsiteX27" fmla="*/ 53875 w 73310"/>
                          <a:gd name="connsiteY27" fmla="*/ 91796 h 93441"/>
                          <a:gd name="connsiteX28" fmla="*/ 48825 w 73310"/>
                          <a:gd name="connsiteY28" fmla="*/ 92305 h 93441"/>
                          <a:gd name="connsiteX29" fmla="*/ 39480 w 73310"/>
                          <a:gd name="connsiteY29" fmla="*/ 86327 h 93441"/>
                          <a:gd name="connsiteX30" fmla="*/ 33876 w 73310"/>
                          <a:gd name="connsiteY30" fmla="*/ 74971 h 93441"/>
                          <a:gd name="connsiteX31" fmla="*/ 33209 w 73310"/>
                          <a:gd name="connsiteY31" fmla="*/ 73209 h 93441"/>
                          <a:gd name="connsiteX32" fmla="*/ 32746 w 73310"/>
                          <a:gd name="connsiteY32" fmla="*/ 75039 h 93441"/>
                          <a:gd name="connsiteX33" fmla="*/ 27051 w 73310"/>
                          <a:gd name="connsiteY33" fmla="*/ 87751 h 93441"/>
                          <a:gd name="connsiteX34" fmla="*/ 20757 w 73310"/>
                          <a:gd name="connsiteY34" fmla="*/ 90813 h 93441"/>
                          <a:gd name="connsiteX35" fmla="*/ 14463 w 73310"/>
                          <a:gd name="connsiteY35" fmla="*/ 88271 h 93441"/>
                          <a:gd name="connsiteX36" fmla="*/ 11480 w 73310"/>
                          <a:gd name="connsiteY36" fmla="*/ 79649 h 93441"/>
                          <a:gd name="connsiteX37" fmla="*/ 10825 w 73310"/>
                          <a:gd name="connsiteY37" fmla="*/ 70497 h 93441"/>
                          <a:gd name="connsiteX38" fmla="*/ 12203 w 73310"/>
                          <a:gd name="connsiteY38" fmla="*/ 53096 h 93441"/>
                          <a:gd name="connsiteX39" fmla="*/ 13808 w 73310"/>
                          <a:gd name="connsiteY39" fmla="*/ 37265 h 93441"/>
                          <a:gd name="connsiteX40" fmla="*/ 13096 w 73310"/>
                          <a:gd name="connsiteY40" fmla="*/ 23390 h 93441"/>
                          <a:gd name="connsiteX41" fmla="*/ 5458 w 73310"/>
                          <a:gd name="connsiteY41" fmla="*/ 4938 h 93441"/>
                          <a:gd name="connsiteX42" fmla="*/ 0 w 73310"/>
                          <a:gd name="connsiteY42" fmla="*/ 0 h 934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</a:cxnLst>
                        <a:rect l="l" t="t" r="r" b="b"/>
                        <a:pathLst>
                          <a:path w="73310" h="93441">
                            <a:moveTo>
                              <a:pt x="11" y="23"/>
                            </a:moveTo>
                            <a:cubicBezTo>
                              <a:pt x="-102" y="158"/>
                              <a:pt x="2169" y="1571"/>
                              <a:pt x="5085" y="5266"/>
                            </a:cubicBezTo>
                            <a:cubicBezTo>
                              <a:pt x="7977" y="8938"/>
                              <a:pt x="11085" y="15198"/>
                              <a:pt x="12226" y="23548"/>
                            </a:cubicBezTo>
                            <a:cubicBezTo>
                              <a:pt x="12825" y="27695"/>
                              <a:pt x="13073" y="32305"/>
                              <a:pt x="12768" y="37243"/>
                            </a:cubicBezTo>
                            <a:cubicBezTo>
                              <a:pt x="12486" y="42169"/>
                              <a:pt x="11774" y="47435"/>
                              <a:pt x="11062" y="52971"/>
                            </a:cubicBezTo>
                            <a:cubicBezTo>
                              <a:pt x="10362" y="58519"/>
                              <a:pt x="9616" y="64373"/>
                              <a:pt x="9593" y="70508"/>
                            </a:cubicBezTo>
                            <a:cubicBezTo>
                              <a:pt x="9593" y="73570"/>
                              <a:pt x="9763" y="76700"/>
                              <a:pt x="10237" y="79841"/>
                            </a:cubicBezTo>
                            <a:cubicBezTo>
                              <a:pt x="10723" y="82937"/>
                              <a:pt x="11333" y="86293"/>
                              <a:pt x="13469" y="89062"/>
                            </a:cubicBezTo>
                            <a:cubicBezTo>
                              <a:pt x="15175" y="91310"/>
                              <a:pt x="18181" y="92440"/>
                              <a:pt x="20870" y="92056"/>
                            </a:cubicBezTo>
                            <a:cubicBezTo>
                              <a:pt x="23570" y="91751"/>
                              <a:pt x="26045" y="90463"/>
                              <a:pt x="27898" y="88621"/>
                            </a:cubicBezTo>
                            <a:cubicBezTo>
                              <a:pt x="31582" y="84813"/>
                              <a:pt x="32757" y="79762"/>
                              <a:pt x="33887" y="75322"/>
                            </a:cubicBezTo>
                            <a:lnTo>
                              <a:pt x="32757" y="75389"/>
                            </a:lnTo>
                            <a:cubicBezTo>
                              <a:pt x="34350" y="79536"/>
                              <a:pt x="35988" y="83649"/>
                              <a:pt x="38599" y="87005"/>
                            </a:cubicBezTo>
                            <a:cubicBezTo>
                              <a:pt x="41152" y="90372"/>
                              <a:pt x="44825" y="92734"/>
                              <a:pt x="48678" y="93310"/>
                            </a:cubicBezTo>
                            <a:cubicBezTo>
                              <a:pt x="50587" y="93604"/>
                              <a:pt x="52553" y="93412"/>
                              <a:pt x="54260" y="92677"/>
                            </a:cubicBezTo>
                            <a:cubicBezTo>
                              <a:pt x="56000" y="91954"/>
                              <a:pt x="57310" y="90632"/>
                              <a:pt x="58237" y="89209"/>
                            </a:cubicBezTo>
                            <a:cubicBezTo>
                              <a:pt x="59130" y="87751"/>
                              <a:pt x="59649" y="86124"/>
                              <a:pt x="59661" y="84531"/>
                            </a:cubicBezTo>
                            <a:cubicBezTo>
                              <a:pt x="59661" y="82937"/>
                              <a:pt x="59141" y="81389"/>
                              <a:pt x="58192" y="80259"/>
                            </a:cubicBezTo>
                            <a:lnTo>
                              <a:pt x="57593" y="80734"/>
                            </a:lnTo>
                            <a:cubicBezTo>
                              <a:pt x="61435" y="85683"/>
                              <a:pt x="65649" y="88474"/>
                              <a:pt x="68576" y="90056"/>
                            </a:cubicBezTo>
                            <a:cubicBezTo>
                              <a:pt x="70056" y="90847"/>
                              <a:pt x="71242" y="91344"/>
                              <a:pt x="72056" y="91661"/>
                            </a:cubicBezTo>
                            <a:cubicBezTo>
                              <a:pt x="72870" y="91954"/>
                              <a:pt x="73299" y="92090"/>
                              <a:pt x="73310" y="92056"/>
                            </a:cubicBezTo>
                            <a:cubicBezTo>
                              <a:pt x="73322" y="92022"/>
                              <a:pt x="72915" y="91830"/>
                              <a:pt x="72135" y="91468"/>
                            </a:cubicBezTo>
                            <a:cubicBezTo>
                              <a:pt x="71355" y="91096"/>
                              <a:pt x="70203" y="90542"/>
                              <a:pt x="68768" y="89706"/>
                            </a:cubicBezTo>
                            <a:cubicBezTo>
                              <a:pt x="65932" y="88033"/>
                              <a:pt x="61864" y="85186"/>
                              <a:pt x="58192" y="80282"/>
                            </a:cubicBezTo>
                            <a:lnTo>
                              <a:pt x="57593" y="80757"/>
                            </a:lnTo>
                            <a:cubicBezTo>
                              <a:pt x="59276" y="82779"/>
                              <a:pt x="59186" y="86135"/>
                              <a:pt x="57469" y="88734"/>
                            </a:cubicBezTo>
                            <a:cubicBezTo>
                              <a:pt x="56610" y="90022"/>
                              <a:pt x="55401" y="91197"/>
                              <a:pt x="53875" y="91796"/>
                            </a:cubicBezTo>
                            <a:cubicBezTo>
                              <a:pt x="52361" y="92429"/>
                              <a:pt x="50576" y="92598"/>
                              <a:pt x="48825" y="92305"/>
                            </a:cubicBezTo>
                            <a:cubicBezTo>
                              <a:pt x="45299" y="91740"/>
                              <a:pt x="41864" y="89536"/>
                              <a:pt x="39480" y="86327"/>
                            </a:cubicBezTo>
                            <a:cubicBezTo>
                              <a:pt x="37028" y="83118"/>
                              <a:pt x="35435" y="79130"/>
                              <a:pt x="33876" y="74971"/>
                            </a:cubicBezTo>
                            <a:lnTo>
                              <a:pt x="33209" y="73209"/>
                            </a:lnTo>
                            <a:lnTo>
                              <a:pt x="32746" y="75039"/>
                            </a:lnTo>
                            <a:cubicBezTo>
                              <a:pt x="31616" y="79480"/>
                              <a:pt x="30407" y="84316"/>
                              <a:pt x="27051" y="87751"/>
                            </a:cubicBezTo>
                            <a:cubicBezTo>
                              <a:pt x="25390" y="89401"/>
                              <a:pt x="23118" y="90553"/>
                              <a:pt x="20757" y="90813"/>
                            </a:cubicBezTo>
                            <a:cubicBezTo>
                              <a:pt x="18384" y="91129"/>
                              <a:pt x="15955" y="90203"/>
                              <a:pt x="14463" y="88271"/>
                            </a:cubicBezTo>
                            <a:cubicBezTo>
                              <a:pt x="12587" y="85875"/>
                              <a:pt x="11955" y="82689"/>
                              <a:pt x="11480" y="79649"/>
                            </a:cubicBezTo>
                            <a:cubicBezTo>
                              <a:pt x="11017" y="76576"/>
                              <a:pt x="10836" y="73514"/>
                              <a:pt x="10825" y="70497"/>
                            </a:cubicBezTo>
                            <a:cubicBezTo>
                              <a:pt x="10825" y="64463"/>
                              <a:pt x="11548" y="58644"/>
                              <a:pt x="12203" y="53096"/>
                            </a:cubicBezTo>
                            <a:cubicBezTo>
                              <a:pt x="12881" y="47548"/>
                              <a:pt x="13571" y="42271"/>
                              <a:pt x="13808" y="37265"/>
                            </a:cubicBezTo>
                            <a:cubicBezTo>
                              <a:pt x="14068" y="32271"/>
                              <a:pt x="13763" y="27593"/>
                              <a:pt x="13096" y="23390"/>
                            </a:cubicBezTo>
                            <a:cubicBezTo>
                              <a:pt x="11819" y="14926"/>
                              <a:pt x="8520" y="8576"/>
                              <a:pt x="5458" y="4938"/>
                            </a:cubicBezTo>
                            <a:cubicBezTo>
                              <a:pt x="2373" y="1277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2" name="Полилиния: фигура 321">
                        <a:extLst>
                          <a:ext uri="{FF2B5EF4-FFF2-40B4-BE49-F238E27FC236}">
                            <a16:creationId xmlns:a16="http://schemas.microsoft.com/office/drawing/2014/main" id="{584B75E8-AE30-4538-9233-C480867D56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2570" y="3785890"/>
                        <a:ext cx="167315" cy="84513"/>
                      </a:xfrm>
                      <a:custGeom>
                        <a:avLst/>
                        <a:gdLst>
                          <a:gd name="connsiteX0" fmla="*/ 0 w 167315"/>
                          <a:gd name="connsiteY0" fmla="*/ 74038 h 84513"/>
                          <a:gd name="connsiteX1" fmla="*/ 407 w 167315"/>
                          <a:gd name="connsiteY1" fmla="*/ 74433 h 84513"/>
                          <a:gd name="connsiteX2" fmla="*/ 1684 w 167315"/>
                          <a:gd name="connsiteY2" fmla="*/ 75496 h 84513"/>
                          <a:gd name="connsiteX3" fmla="*/ 3864 w 167315"/>
                          <a:gd name="connsiteY3" fmla="*/ 77089 h 84513"/>
                          <a:gd name="connsiteX4" fmla="*/ 7017 w 167315"/>
                          <a:gd name="connsiteY4" fmla="*/ 78998 h 84513"/>
                          <a:gd name="connsiteX5" fmla="*/ 29695 w 167315"/>
                          <a:gd name="connsiteY5" fmla="*/ 84513 h 84513"/>
                          <a:gd name="connsiteX6" fmla="*/ 62734 w 167315"/>
                          <a:gd name="connsiteY6" fmla="*/ 74535 h 84513"/>
                          <a:gd name="connsiteX7" fmla="*/ 92440 w 167315"/>
                          <a:gd name="connsiteY7" fmla="*/ 44208 h 84513"/>
                          <a:gd name="connsiteX8" fmla="*/ 104180 w 167315"/>
                          <a:gd name="connsiteY8" fmla="*/ 25575 h 84513"/>
                          <a:gd name="connsiteX9" fmla="*/ 117129 w 167315"/>
                          <a:gd name="connsiteY9" fmla="*/ 9993 h 84513"/>
                          <a:gd name="connsiteX10" fmla="*/ 133129 w 167315"/>
                          <a:gd name="connsiteY10" fmla="*/ 1564 h 84513"/>
                          <a:gd name="connsiteX11" fmla="*/ 141321 w 167315"/>
                          <a:gd name="connsiteY11" fmla="*/ 1123 h 84513"/>
                          <a:gd name="connsiteX12" fmla="*/ 148688 w 167315"/>
                          <a:gd name="connsiteY12" fmla="*/ 3010 h 84513"/>
                          <a:gd name="connsiteX13" fmla="*/ 159445 w 167315"/>
                          <a:gd name="connsiteY13" fmla="*/ 10411 h 84513"/>
                          <a:gd name="connsiteX14" fmla="*/ 165016 w 167315"/>
                          <a:gd name="connsiteY14" fmla="*/ 18615 h 84513"/>
                          <a:gd name="connsiteX15" fmla="*/ 167298 w 167315"/>
                          <a:gd name="connsiteY15" fmla="*/ 26807 h 84513"/>
                          <a:gd name="connsiteX16" fmla="*/ 167298 w 167315"/>
                          <a:gd name="connsiteY16" fmla="*/ 26242 h 84513"/>
                          <a:gd name="connsiteX17" fmla="*/ 167140 w 167315"/>
                          <a:gd name="connsiteY17" fmla="*/ 24581 h 84513"/>
                          <a:gd name="connsiteX18" fmla="*/ 165468 w 167315"/>
                          <a:gd name="connsiteY18" fmla="*/ 18411 h 84513"/>
                          <a:gd name="connsiteX19" fmla="*/ 159965 w 167315"/>
                          <a:gd name="connsiteY19" fmla="*/ 9925 h 84513"/>
                          <a:gd name="connsiteX20" fmla="*/ 149027 w 167315"/>
                          <a:gd name="connsiteY20" fmla="*/ 2185 h 84513"/>
                          <a:gd name="connsiteX21" fmla="*/ 141434 w 167315"/>
                          <a:gd name="connsiteY21" fmla="*/ 163 h 84513"/>
                          <a:gd name="connsiteX22" fmla="*/ 132914 w 167315"/>
                          <a:gd name="connsiteY22" fmla="*/ 547 h 84513"/>
                          <a:gd name="connsiteX23" fmla="*/ 116383 w 167315"/>
                          <a:gd name="connsiteY23" fmla="*/ 9123 h 84513"/>
                          <a:gd name="connsiteX24" fmla="*/ 103152 w 167315"/>
                          <a:gd name="connsiteY24" fmla="*/ 24908 h 84513"/>
                          <a:gd name="connsiteX25" fmla="*/ 91412 w 167315"/>
                          <a:gd name="connsiteY25" fmla="*/ 43507 h 84513"/>
                          <a:gd name="connsiteX26" fmla="*/ 62124 w 167315"/>
                          <a:gd name="connsiteY26" fmla="*/ 73563 h 84513"/>
                          <a:gd name="connsiteX27" fmla="*/ 29695 w 167315"/>
                          <a:gd name="connsiteY27" fmla="*/ 83631 h 84513"/>
                          <a:gd name="connsiteX28" fmla="*/ 7254 w 167315"/>
                          <a:gd name="connsiteY28" fmla="*/ 78569 h 84513"/>
                          <a:gd name="connsiteX29" fmla="*/ 0 w 167315"/>
                          <a:gd name="connsiteY29" fmla="*/ 74049 h 84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</a:cxnLst>
                        <a:rect l="l" t="t" r="r" b="b"/>
                        <a:pathLst>
                          <a:path w="167315" h="84513">
                            <a:moveTo>
                              <a:pt x="0" y="74038"/>
                            </a:moveTo>
                            <a:cubicBezTo>
                              <a:pt x="0" y="74038"/>
                              <a:pt x="124" y="74185"/>
                              <a:pt x="407" y="74433"/>
                            </a:cubicBezTo>
                            <a:cubicBezTo>
                              <a:pt x="757" y="74716"/>
                              <a:pt x="1175" y="75066"/>
                              <a:pt x="1684" y="75496"/>
                            </a:cubicBezTo>
                            <a:cubicBezTo>
                              <a:pt x="2237" y="75970"/>
                              <a:pt x="2949" y="76524"/>
                              <a:pt x="3864" y="77089"/>
                            </a:cubicBezTo>
                            <a:cubicBezTo>
                              <a:pt x="4757" y="77676"/>
                              <a:pt x="5774" y="78388"/>
                              <a:pt x="7017" y="78998"/>
                            </a:cubicBezTo>
                            <a:cubicBezTo>
                              <a:pt x="11853" y="81665"/>
                              <a:pt x="19683" y="84490"/>
                              <a:pt x="29695" y="84513"/>
                            </a:cubicBezTo>
                            <a:cubicBezTo>
                              <a:pt x="39604" y="84558"/>
                              <a:pt x="51672" y="81767"/>
                              <a:pt x="62734" y="74535"/>
                            </a:cubicBezTo>
                            <a:cubicBezTo>
                              <a:pt x="73898" y="67484"/>
                              <a:pt x="83977" y="56716"/>
                              <a:pt x="92440" y="44208"/>
                            </a:cubicBezTo>
                            <a:cubicBezTo>
                              <a:pt x="96723" y="37959"/>
                              <a:pt x="100304" y="31507"/>
                              <a:pt x="104180" y="25575"/>
                            </a:cubicBezTo>
                            <a:cubicBezTo>
                              <a:pt x="108033" y="19643"/>
                              <a:pt x="112214" y="14197"/>
                              <a:pt x="117129" y="9993"/>
                            </a:cubicBezTo>
                            <a:cubicBezTo>
                              <a:pt x="121999" y="5767"/>
                              <a:pt x="127536" y="2762"/>
                              <a:pt x="133129" y="1564"/>
                            </a:cubicBezTo>
                            <a:cubicBezTo>
                              <a:pt x="135920" y="908"/>
                              <a:pt x="138688" y="897"/>
                              <a:pt x="141321" y="1123"/>
                            </a:cubicBezTo>
                            <a:cubicBezTo>
                              <a:pt x="143954" y="1428"/>
                              <a:pt x="146428" y="2106"/>
                              <a:pt x="148688" y="3010"/>
                            </a:cubicBezTo>
                            <a:cubicBezTo>
                              <a:pt x="153208" y="4841"/>
                              <a:pt x="156779" y="7609"/>
                              <a:pt x="159445" y="10411"/>
                            </a:cubicBezTo>
                            <a:cubicBezTo>
                              <a:pt x="162123" y="13236"/>
                              <a:pt x="163852" y="16140"/>
                              <a:pt x="165016" y="18615"/>
                            </a:cubicBezTo>
                            <a:cubicBezTo>
                              <a:pt x="167151" y="23688"/>
                              <a:pt x="167095" y="26852"/>
                              <a:pt x="167298" y="26807"/>
                            </a:cubicBezTo>
                            <a:cubicBezTo>
                              <a:pt x="167321" y="26807"/>
                              <a:pt x="167321" y="26615"/>
                              <a:pt x="167298" y="26242"/>
                            </a:cubicBezTo>
                            <a:cubicBezTo>
                              <a:pt x="167253" y="25790"/>
                              <a:pt x="167208" y="25247"/>
                              <a:pt x="167140" y="24581"/>
                            </a:cubicBezTo>
                            <a:cubicBezTo>
                              <a:pt x="166959" y="23134"/>
                              <a:pt x="166474" y="21010"/>
                              <a:pt x="165468" y="18411"/>
                            </a:cubicBezTo>
                            <a:cubicBezTo>
                              <a:pt x="164361" y="15858"/>
                              <a:pt x="162654" y="12852"/>
                              <a:pt x="159965" y="9925"/>
                            </a:cubicBezTo>
                            <a:cubicBezTo>
                              <a:pt x="157287" y="7021"/>
                              <a:pt x="153671" y="4129"/>
                              <a:pt x="149027" y="2185"/>
                            </a:cubicBezTo>
                            <a:cubicBezTo>
                              <a:pt x="146711" y="1236"/>
                              <a:pt x="144157" y="502"/>
                              <a:pt x="141434" y="163"/>
                            </a:cubicBezTo>
                            <a:cubicBezTo>
                              <a:pt x="138711" y="-97"/>
                              <a:pt x="135807" y="-97"/>
                              <a:pt x="132914" y="547"/>
                            </a:cubicBezTo>
                            <a:cubicBezTo>
                              <a:pt x="127107" y="1745"/>
                              <a:pt x="121378" y="4818"/>
                              <a:pt x="116383" y="9123"/>
                            </a:cubicBezTo>
                            <a:cubicBezTo>
                              <a:pt x="111321" y="13406"/>
                              <a:pt x="107039" y="18942"/>
                              <a:pt x="103152" y="24908"/>
                            </a:cubicBezTo>
                            <a:cubicBezTo>
                              <a:pt x="99231" y="30874"/>
                              <a:pt x="95660" y="37315"/>
                              <a:pt x="91412" y="43507"/>
                            </a:cubicBezTo>
                            <a:cubicBezTo>
                              <a:pt x="83016" y="55925"/>
                              <a:pt x="73084" y="66580"/>
                              <a:pt x="62124" y="73563"/>
                            </a:cubicBezTo>
                            <a:cubicBezTo>
                              <a:pt x="51254" y="80750"/>
                              <a:pt x="39469" y="83552"/>
                              <a:pt x="29695" y="83631"/>
                            </a:cubicBezTo>
                            <a:cubicBezTo>
                              <a:pt x="19842" y="83733"/>
                              <a:pt x="12090" y="81078"/>
                              <a:pt x="7254" y="78569"/>
                            </a:cubicBezTo>
                            <a:cubicBezTo>
                              <a:pt x="2373" y="76027"/>
                              <a:pt x="113" y="73902"/>
                              <a:pt x="0" y="74049"/>
                            </a:cubicBezTo>
                            <a:close/>
                          </a:path>
                        </a:pathLst>
                      </a:custGeom>
                      <a:solidFill>
                        <a:srgbClr val="455A64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  <p:sp>
                    <p:nvSpPr>
                      <p:cNvPr id="323" name="Полилиния: фигура 322">
                        <a:extLst>
                          <a:ext uri="{FF2B5EF4-FFF2-40B4-BE49-F238E27FC236}">
                            <a16:creationId xmlns:a16="http://schemas.microsoft.com/office/drawing/2014/main" id="{C00CBCB4-FCE9-4950-85A7-4C1DC9D1CF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110" y="3836084"/>
                        <a:ext cx="56658" cy="10658"/>
                      </a:xfrm>
                      <a:custGeom>
                        <a:avLst/>
                        <a:gdLst>
                          <a:gd name="connsiteX0" fmla="*/ 2 w 56658"/>
                          <a:gd name="connsiteY0" fmla="*/ 14 h 10658"/>
                          <a:gd name="connsiteX1" fmla="*/ 1844 w 56658"/>
                          <a:gd name="connsiteY1" fmla="*/ 1471 h 10658"/>
                          <a:gd name="connsiteX2" fmla="*/ 7358 w 56658"/>
                          <a:gd name="connsiteY2" fmla="*/ 4703 h 10658"/>
                          <a:gd name="connsiteX3" fmla="*/ 16183 w 56658"/>
                          <a:gd name="connsiteY3" fmla="*/ 8206 h 10658"/>
                          <a:gd name="connsiteX4" fmla="*/ 27607 w 56658"/>
                          <a:gd name="connsiteY4" fmla="*/ 10432 h 10658"/>
                          <a:gd name="connsiteX5" fmla="*/ 39245 w 56658"/>
                          <a:gd name="connsiteY5" fmla="*/ 10341 h 10658"/>
                          <a:gd name="connsiteX6" fmla="*/ 48567 w 56658"/>
                          <a:gd name="connsiteY6" fmla="*/ 8522 h 10658"/>
                          <a:gd name="connsiteX7" fmla="*/ 54578 w 56658"/>
                          <a:gd name="connsiteY7" fmla="*/ 6353 h 10658"/>
                          <a:gd name="connsiteX8" fmla="*/ 56657 w 56658"/>
                          <a:gd name="connsiteY8" fmla="*/ 5268 h 10658"/>
                          <a:gd name="connsiteX9" fmla="*/ 48341 w 56658"/>
                          <a:gd name="connsiteY9" fmla="*/ 7663 h 10658"/>
                          <a:gd name="connsiteX10" fmla="*/ 39132 w 56658"/>
                          <a:gd name="connsiteY10" fmla="*/ 9189 h 10658"/>
                          <a:gd name="connsiteX11" fmla="*/ 27720 w 56658"/>
                          <a:gd name="connsiteY11" fmla="*/ 9177 h 10658"/>
                          <a:gd name="connsiteX12" fmla="*/ 16499 w 56658"/>
                          <a:gd name="connsiteY12" fmla="*/ 7098 h 10658"/>
                          <a:gd name="connsiteX13" fmla="*/ 7731 w 56658"/>
                          <a:gd name="connsiteY13" fmla="*/ 3901 h 10658"/>
                          <a:gd name="connsiteX14" fmla="*/ 2 w 56658"/>
                          <a:gd name="connsiteY14" fmla="*/ 14 h 106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56658" h="10658">
                            <a:moveTo>
                              <a:pt x="2" y="14"/>
                            </a:moveTo>
                            <a:cubicBezTo>
                              <a:pt x="-43" y="81"/>
                              <a:pt x="612" y="601"/>
                              <a:pt x="1844" y="1471"/>
                            </a:cubicBezTo>
                            <a:cubicBezTo>
                              <a:pt x="3064" y="2364"/>
                              <a:pt x="4951" y="3482"/>
                              <a:pt x="7358" y="4703"/>
                            </a:cubicBezTo>
                            <a:cubicBezTo>
                              <a:pt x="9765" y="5946"/>
                              <a:pt x="12759" y="7143"/>
                              <a:pt x="16183" y="8206"/>
                            </a:cubicBezTo>
                            <a:cubicBezTo>
                              <a:pt x="19618" y="9200"/>
                              <a:pt x="23482" y="10025"/>
                              <a:pt x="27607" y="10432"/>
                            </a:cubicBezTo>
                            <a:cubicBezTo>
                              <a:pt x="31731" y="10793"/>
                              <a:pt x="35686" y="10691"/>
                              <a:pt x="39245" y="10341"/>
                            </a:cubicBezTo>
                            <a:cubicBezTo>
                              <a:pt x="42804" y="9923"/>
                              <a:pt x="45968" y="9302"/>
                              <a:pt x="48567" y="8522"/>
                            </a:cubicBezTo>
                            <a:cubicBezTo>
                              <a:pt x="51154" y="7765"/>
                              <a:pt x="53222" y="7008"/>
                              <a:pt x="54578" y="6353"/>
                            </a:cubicBezTo>
                            <a:cubicBezTo>
                              <a:pt x="55957" y="5731"/>
                              <a:pt x="56691" y="5347"/>
                              <a:pt x="56657" y="5268"/>
                            </a:cubicBezTo>
                            <a:cubicBezTo>
                              <a:pt x="56567" y="5053"/>
                              <a:pt x="53516" y="6386"/>
                              <a:pt x="48341" y="7663"/>
                            </a:cubicBezTo>
                            <a:cubicBezTo>
                              <a:pt x="45765" y="8319"/>
                              <a:pt x="42635" y="8850"/>
                              <a:pt x="39132" y="9189"/>
                            </a:cubicBezTo>
                            <a:cubicBezTo>
                              <a:pt x="35629" y="9471"/>
                              <a:pt x="31765" y="9528"/>
                              <a:pt x="27720" y="9177"/>
                            </a:cubicBezTo>
                            <a:cubicBezTo>
                              <a:pt x="23686" y="8782"/>
                              <a:pt x="19889" y="8014"/>
                              <a:pt x="16499" y="7098"/>
                            </a:cubicBezTo>
                            <a:cubicBezTo>
                              <a:pt x="13132" y="6115"/>
                              <a:pt x="10149" y="5019"/>
                              <a:pt x="7731" y="3901"/>
                            </a:cubicBezTo>
                            <a:cubicBezTo>
                              <a:pt x="2884" y="1697"/>
                              <a:pt x="126" y="-179"/>
                              <a:pt x="2" y="14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111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ru-RU" dirty="0">
                          <a:latin typeface="Roboto" pitchFamily="2" charset="0"/>
                          <a:ea typeface="Roboto" pitchFamily="2" charset="0"/>
                        </a:endParaRPr>
                      </a:p>
                    </p:txBody>
                  </p:sp>
                </p:grpSp>
              </p:grpSp>
            </p:grpSp>
          </p:grpSp>
        </p:grpSp>
      </p:grpSp>
      <p:pic>
        <p:nvPicPr>
          <p:cNvPr id="387" name="Рисунок 386">
            <a:extLst>
              <a:ext uri="{FF2B5EF4-FFF2-40B4-BE49-F238E27FC236}">
                <a16:creationId xmlns:a16="http://schemas.microsoft.com/office/drawing/2014/main" id="{66A2D23D-8435-4C15-AC46-7A18670894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3600000">
            <a:off x="2912389" y="2808922"/>
            <a:ext cx="403341" cy="708306"/>
          </a:xfrm>
          <a:prstGeom prst="rect">
            <a:avLst/>
          </a:prstGeom>
        </p:spPr>
      </p:pic>
      <p:pic>
        <p:nvPicPr>
          <p:cNvPr id="388" name="Рисунок 387">
            <a:extLst>
              <a:ext uri="{FF2B5EF4-FFF2-40B4-BE49-F238E27FC236}">
                <a16:creationId xmlns:a16="http://schemas.microsoft.com/office/drawing/2014/main" id="{321604EE-A646-42EB-8C0B-C426299F02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7200000">
            <a:off x="2864905" y="3614450"/>
            <a:ext cx="403341" cy="708306"/>
          </a:xfrm>
          <a:prstGeom prst="rect">
            <a:avLst/>
          </a:prstGeom>
        </p:spPr>
      </p:pic>
      <p:grpSp>
        <p:nvGrpSpPr>
          <p:cNvPr id="412" name="Группа 411">
            <a:extLst>
              <a:ext uri="{FF2B5EF4-FFF2-40B4-BE49-F238E27FC236}">
                <a16:creationId xmlns:a16="http://schemas.microsoft.com/office/drawing/2014/main" id="{FA0A45BC-A7EC-4486-AA94-A5BA6534475B}"/>
              </a:ext>
            </a:extLst>
          </p:cNvPr>
          <p:cNvGrpSpPr/>
          <p:nvPr/>
        </p:nvGrpSpPr>
        <p:grpSpPr>
          <a:xfrm>
            <a:off x="6956391" y="2296861"/>
            <a:ext cx="5051622" cy="847113"/>
            <a:chOff x="6510195" y="1556711"/>
            <a:chExt cx="5051622" cy="847113"/>
          </a:xfrm>
        </p:grpSpPr>
        <p:sp>
          <p:nvSpPr>
            <p:cNvPr id="413" name="Rounded Rectangle">
              <a:extLst>
                <a:ext uri="{FF2B5EF4-FFF2-40B4-BE49-F238E27FC236}">
                  <a16:creationId xmlns:a16="http://schemas.microsoft.com/office/drawing/2014/main" id="{FE571BA8-7817-41F8-82DE-F00757ABC647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4" name="Motion design">
              <a:extLst>
                <a:ext uri="{FF2B5EF4-FFF2-40B4-BE49-F238E27FC236}">
                  <a16:creationId xmlns:a16="http://schemas.microsoft.com/office/drawing/2014/main" id="{516CE25E-F43A-482D-902C-0799E6AB228F}"/>
                </a:ext>
              </a:extLst>
            </p:cNvPr>
            <p:cNvSpPr txBox="1"/>
            <p:nvPr/>
          </p:nvSpPr>
          <p:spPr>
            <a:xfrm>
              <a:off x="7434557" y="1842208"/>
              <a:ext cx="3691421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Сокращение клиентской базы на 60%</a:t>
              </a:r>
            </a:p>
          </p:txBody>
        </p:sp>
        <p:sp>
          <p:nvSpPr>
            <p:cNvPr id="415" name="Circle">
              <a:extLst>
                <a:ext uri="{FF2B5EF4-FFF2-40B4-BE49-F238E27FC236}">
                  <a16:creationId xmlns:a16="http://schemas.microsoft.com/office/drawing/2014/main" id="{CECCCD2D-688C-4788-A97C-5F28CAA4E096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16" name="Рисунок 415">
              <a:extLst>
                <a:ext uri="{FF2B5EF4-FFF2-40B4-BE49-F238E27FC236}">
                  <a16:creationId xmlns:a16="http://schemas.microsoft.com/office/drawing/2014/main" id="{69F3442B-9663-4B2F-A188-C466D79EE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786835" y="1817575"/>
              <a:ext cx="330367" cy="330367"/>
            </a:xfrm>
            <a:prstGeom prst="rect">
              <a:avLst/>
            </a:prstGeom>
          </p:spPr>
        </p:pic>
      </p:grpSp>
      <p:grpSp>
        <p:nvGrpSpPr>
          <p:cNvPr id="417" name="Группа 416">
            <a:extLst>
              <a:ext uri="{FF2B5EF4-FFF2-40B4-BE49-F238E27FC236}">
                <a16:creationId xmlns:a16="http://schemas.microsoft.com/office/drawing/2014/main" id="{BB73F16D-0566-4819-B84D-9256A157B6C0}"/>
              </a:ext>
            </a:extLst>
          </p:cNvPr>
          <p:cNvGrpSpPr/>
          <p:nvPr/>
        </p:nvGrpSpPr>
        <p:grpSpPr>
          <a:xfrm>
            <a:off x="6956391" y="3322037"/>
            <a:ext cx="5051622" cy="847113"/>
            <a:chOff x="6510195" y="2581887"/>
            <a:chExt cx="5051622" cy="847113"/>
          </a:xfrm>
        </p:grpSpPr>
        <p:sp>
          <p:nvSpPr>
            <p:cNvPr id="418" name="Rounded Rectangle">
              <a:extLst>
                <a:ext uri="{FF2B5EF4-FFF2-40B4-BE49-F238E27FC236}">
                  <a16:creationId xmlns:a16="http://schemas.microsoft.com/office/drawing/2014/main" id="{08B6BC13-C9AD-4352-82E9-266F8592EFAF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9" name="Motion design">
              <a:extLst>
                <a:ext uri="{FF2B5EF4-FFF2-40B4-BE49-F238E27FC236}">
                  <a16:creationId xmlns:a16="http://schemas.microsoft.com/office/drawing/2014/main" id="{B9EBABED-28D5-4C9E-A387-5F8FEE4F5411}"/>
                </a:ext>
              </a:extLst>
            </p:cNvPr>
            <p:cNvSpPr txBox="1"/>
            <p:nvPr/>
          </p:nvSpPr>
          <p:spPr>
            <a:xfrm>
              <a:off x="7434559" y="2727345"/>
              <a:ext cx="322961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Уменьшение количества дубликатов среди клиентов с 6% до 2%</a:t>
              </a:r>
            </a:p>
          </p:txBody>
        </p:sp>
        <p:sp>
          <p:nvSpPr>
            <p:cNvPr id="420" name="Circle">
              <a:extLst>
                <a:ext uri="{FF2B5EF4-FFF2-40B4-BE49-F238E27FC236}">
                  <a16:creationId xmlns:a16="http://schemas.microsoft.com/office/drawing/2014/main" id="{186F9E45-EC2A-4974-B082-15F9C4A2F73C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1" name="Рисунок 411">
              <a:extLst>
                <a:ext uri="{FF2B5EF4-FFF2-40B4-BE49-F238E27FC236}">
                  <a16:creationId xmlns:a16="http://schemas.microsoft.com/office/drawing/2014/main" id="{AF51E3FF-5844-4462-AE1F-4079A001EE62}"/>
                </a:ext>
              </a:extLst>
            </p:cNvPr>
            <p:cNvSpPr/>
            <p:nvPr/>
          </p:nvSpPr>
          <p:spPr>
            <a:xfrm>
              <a:off x="6793956" y="2855978"/>
              <a:ext cx="310319" cy="310498"/>
            </a:xfrm>
            <a:custGeom>
              <a:avLst/>
              <a:gdLst>
                <a:gd name="connsiteX0" fmla="*/ 103231 w 310319"/>
                <a:gd name="connsiteY0" fmla="*/ 103018 h 310498"/>
                <a:gd name="connsiteX1" fmla="*/ 103231 w 310319"/>
                <a:gd name="connsiteY1" fmla="*/ 54718 h 310498"/>
                <a:gd name="connsiteX2" fmla="*/ 107026 w 310319"/>
                <a:gd name="connsiteY2" fmla="*/ 18315 h 310498"/>
                <a:gd name="connsiteX3" fmla="*/ 122028 w 310319"/>
                <a:gd name="connsiteY3" fmla="*/ 3313 h 310498"/>
                <a:gd name="connsiteX4" fmla="*/ 158431 w 310319"/>
                <a:gd name="connsiteY4" fmla="*/ -482 h 310498"/>
                <a:gd name="connsiteX5" fmla="*/ 255030 w 310319"/>
                <a:gd name="connsiteY5" fmla="*/ -482 h 310498"/>
                <a:gd name="connsiteX6" fmla="*/ 291433 w 310319"/>
                <a:gd name="connsiteY6" fmla="*/ 3313 h 310498"/>
                <a:gd name="connsiteX7" fmla="*/ 306435 w 310319"/>
                <a:gd name="connsiteY7" fmla="*/ 18315 h 310498"/>
                <a:gd name="connsiteX8" fmla="*/ 310230 w 310319"/>
                <a:gd name="connsiteY8" fmla="*/ 54718 h 310498"/>
                <a:gd name="connsiteX9" fmla="*/ 310230 w 310319"/>
                <a:gd name="connsiteY9" fmla="*/ 151318 h 310498"/>
                <a:gd name="connsiteX10" fmla="*/ 306435 w 310319"/>
                <a:gd name="connsiteY10" fmla="*/ 187720 h 310498"/>
                <a:gd name="connsiteX11" fmla="*/ 291433 w 310319"/>
                <a:gd name="connsiteY11" fmla="*/ 202723 h 310498"/>
                <a:gd name="connsiteX12" fmla="*/ 255208 w 310319"/>
                <a:gd name="connsiteY12" fmla="*/ 206518 h 310498"/>
                <a:gd name="connsiteX13" fmla="*/ 206908 w 310319"/>
                <a:gd name="connsiteY13" fmla="*/ 206518 h 310498"/>
                <a:gd name="connsiteX14" fmla="*/ 103409 w 310319"/>
                <a:gd name="connsiteY14" fmla="*/ 103018 h 310498"/>
                <a:gd name="connsiteX15" fmla="*/ 55111 w 310319"/>
                <a:gd name="connsiteY15" fmla="*/ 103018 h 310498"/>
                <a:gd name="connsiteX16" fmla="*/ 18706 w 310319"/>
                <a:gd name="connsiteY16" fmla="*/ 106813 h 310498"/>
                <a:gd name="connsiteX17" fmla="*/ 3692 w 310319"/>
                <a:gd name="connsiteY17" fmla="*/ 121815 h 310498"/>
                <a:gd name="connsiteX18" fmla="*/ -89 w 310319"/>
                <a:gd name="connsiteY18" fmla="*/ 158217 h 310498"/>
                <a:gd name="connsiteX19" fmla="*/ -89 w 310319"/>
                <a:gd name="connsiteY19" fmla="*/ 254817 h 310498"/>
                <a:gd name="connsiteX20" fmla="*/ 3692 w 310319"/>
                <a:gd name="connsiteY20" fmla="*/ 291220 h 310498"/>
                <a:gd name="connsiteX21" fmla="*/ 18706 w 310319"/>
                <a:gd name="connsiteY21" fmla="*/ 306222 h 310498"/>
                <a:gd name="connsiteX22" fmla="*/ 55111 w 310319"/>
                <a:gd name="connsiteY22" fmla="*/ 310017 h 310498"/>
                <a:gd name="connsiteX23" fmla="*/ 151876 w 310319"/>
                <a:gd name="connsiteY23" fmla="*/ 310017 h 310498"/>
                <a:gd name="connsiteX24" fmla="*/ 188101 w 310319"/>
                <a:gd name="connsiteY24" fmla="*/ 306222 h 310498"/>
                <a:gd name="connsiteX25" fmla="*/ 203103 w 310319"/>
                <a:gd name="connsiteY25" fmla="*/ 291220 h 310498"/>
                <a:gd name="connsiteX26" fmla="*/ 206908 w 310319"/>
                <a:gd name="connsiteY26" fmla="*/ 254995 h 310498"/>
                <a:gd name="connsiteX27" fmla="*/ 206908 w 310319"/>
                <a:gd name="connsiteY27" fmla="*/ 206695 h 310498"/>
                <a:gd name="connsiteX28" fmla="*/ 103409 w 310319"/>
                <a:gd name="connsiteY28" fmla="*/ 103195 h 310498"/>
                <a:gd name="connsiteX29" fmla="*/ 151708 w 310319"/>
                <a:gd name="connsiteY29" fmla="*/ 103195 h 310498"/>
                <a:gd name="connsiteX30" fmla="*/ 188101 w 310319"/>
                <a:gd name="connsiteY30" fmla="*/ 106990 h 310498"/>
                <a:gd name="connsiteX31" fmla="*/ 203103 w 310319"/>
                <a:gd name="connsiteY31" fmla="*/ 121993 h 310498"/>
                <a:gd name="connsiteX32" fmla="*/ 206908 w 310319"/>
                <a:gd name="connsiteY32" fmla="*/ 158395 h 310498"/>
                <a:gd name="connsiteX33" fmla="*/ 206908 w 310319"/>
                <a:gd name="connsiteY33" fmla="*/ 206695 h 31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0319" h="310498">
                  <a:moveTo>
                    <a:pt x="103231" y="103018"/>
                  </a:moveTo>
                  <a:lnTo>
                    <a:pt x="103231" y="54718"/>
                  </a:lnTo>
                  <a:cubicBezTo>
                    <a:pt x="103231" y="35398"/>
                    <a:pt x="103231" y="25738"/>
                    <a:pt x="107026" y="18315"/>
                  </a:cubicBezTo>
                  <a:cubicBezTo>
                    <a:pt x="110309" y="11771"/>
                    <a:pt x="115651" y="6596"/>
                    <a:pt x="122028" y="3313"/>
                  </a:cubicBezTo>
                  <a:cubicBezTo>
                    <a:pt x="129451" y="-482"/>
                    <a:pt x="139111" y="-482"/>
                    <a:pt x="158431" y="-482"/>
                  </a:cubicBezTo>
                  <a:lnTo>
                    <a:pt x="255030" y="-482"/>
                  </a:lnTo>
                  <a:cubicBezTo>
                    <a:pt x="274350" y="-482"/>
                    <a:pt x="284010" y="-482"/>
                    <a:pt x="291433" y="3313"/>
                  </a:cubicBezTo>
                  <a:cubicBezTo>
                    <a:pt x="297978" y="6596"/>
                    <a:pt x="303153" y="11938"/>
                    <a:pt x="306435" y="18315"/>
                  </a:cubicBezTo>
                  <a:cubicBezTo>
                    <a:pt x="310230" y="25738"/>
                    <a:pt x="310230" y="35398"/>
                    <a:pt x="310230" y="54718"/>
                  </a:cubicBezTo>
                  <a:lnTo>
                    <a:pt x="310230" y="151318"/>
                  </a:lnTo>
                  <a:cubicBezTo>
                    <a:pt x="310230" y="170638"/>
                    <a:pt x="310230" y="180297"/>
                    <a:pt x="306435" y="187720"/>
                  </a:cubicBezTo>
                  <a:cubicBezTo>
                    <a:pt x="303153" y="194265"/>
                    <a:pt x="297810" y="199440"/>
                    <a:pt x="291433" y="202723"/>
                  </a:cubicBezTo>
                  <a:cubicBezTo>
                    <a:pt x="284010" y="206518"/>
                    <a:pt x="274350" y="206518"/>
                    <a:pt x="255208" y="206518"/>
                  </a:cubicBezTo>
                  <a:lnTo>
                    <a:pt x="206908" y="206518"/>
                  </a:lnTo>
                  <a:moveTo>
                    <a:pt x="103409" y="103018"/>
                  </a:moveTo>
                  <a:lnTo>
                    <a:pt x="55111" y="103018"/>
                  </a:lnTo>
                  <a:cubicBezTo>
                    <a:pt x="35778" y="103018"/>
                    <a:pt x="26117" y="103018"/>
                    <a:pt x="18706" y="106813"/>
                  </a:cubicBezTo>
                  <a:cubicBezTo>
                    <a:pt x="12152" y="110095"/>
                    <a:pt x="6977" y="115438"/>
                    <a:pt x="3692" y="121815"/>
                  </a:cubicBezTo>
                  <a:cubicBezTo>
                    <a:pt x="-89" y="129238"/>
                    <a:pt x="-89" y="138898"/>
                    <a:pt x="-89" y="158217"/>
                  </a:cubicBezTo>
                  <a:lnTo>
                    <a:pt x="-89" y="254817"/>
                  </a:lnTo>
                  <a:cubicBezTo>
                    <a:pt x="-89" y="274137"/>
                    <a:pt x="-89" y="283797"/>
                    <a:pt x="3692" y="291220"/>
                  </a:cubicBezTo>
                  <a:cubicBezTo>
                    <a:pt x="6977" y="297764"/>
                    <a:pt x="12317" y="302939"/>
                    <a:pt x="18706" y="306222"/>
                  </a:cubicBezTo>
                  <a:cubicBezTo>
                    <a:pt x="26117" y="310017"/>
                    <a:pt x="35778" y="310017"/>
                    <a:pt x="55111" y="310017"/>
                  </a:cubicBezTo>
                  <a:lnTo>
                    <a:pt x="151876" y="310017"/>
                  </a:lnTo>
                  <a:cubicBezTo>
                    <a:pt x="171196" y="310017"/>
                    <a:pt x="180856" y="310017"/>
                    <a:pt x="188101" y="306222"/>
                  </a:cubicBezTo>
                  <a:cubicBezTo>
                    <a:pt x="194656" y="302939"/>
                    <a:pt x="199831" y="297597"/>
                    <a:pt x="203103" y="291220"/>
                  </a:cubicBezTo>
                  <a:cubicBezTo>
                    <a:pt x="206908" y="283797"/>
                    <a:pt x="206908" y="274137"/>
                    <a:pt x="206908" y="254995"/>
                  </a:cubicBezTo>
                  <a:lnTo>
                    <a:pt x="206908" y="206695"/>
                  </a:lnTo>
                  <a:moveTo>
                    <a:pt x="103409" y="103195"/>
                  </a:moveTo>
                  <a:lnTo>
                    <a:pt x="151708" y="103195"/>
                  </a:lnTo>
                  <a:cubicBezTo>
                    <a:pt x="171018" y="103195"/>
                    <a:pt x="180678" y="103195"/>
                    <a:pt x="188101" y="106990"/>
                  </a:cubicBezTo>
                  <a:cubicBezTo>
                    <a:pt x="194656" y="110263"/>
                    <a:pt x="199831" y="115616"/>
                    <a:pt x="203103" y="121993"/>
                  </a:cubicBezTo>
                  <a:cubicBezTo>
                    <a:pt x="206908" y="129416"/>
                    <a:pt x="206908" y="139065"/>
                    <a:pt x="206908" y="158395"/>
                  </a:cubicBezTo>
                  <a:lnTo>
                    <a:pt x="206908" y="206695"/>
                  </a:lnTo>
                </a:path>
              </a:pathLst>
            </a:custGeom>
            <a:noFill/>
            <a:ln w="2222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F1D6281-12F2-4EF8-BCED-29A0345187F5}"/>
              </a:ext>
            </a:extLst>
          </p:cNvPr>
          <p:cNvGrpSpPr/>
          <p:nvPr/>
        </p:nvGrpSpPr>
        <p:grpSpPr>
          <a:xfrm>
            <a:off x="6956391" y="4380883"/>
            <a:ext cx="5051622" cy="847113"/>
            <a:chOff x="7315420" y="4380123"/>
            <a:chExt cx="5051622" cy="847113"/>
          </a:xfrm>
        </p:grpSpPr>
        <p:sp>
          <p:nvSpPr>
            <p:cNvPr id="423" name="Rounded Rectangle">
              <a:extLst>
                <a:ext uri="{FF2B5EF4-FFF2-40B4-BE49-F238E27FC236}">
                  <a16:creationId xmlns:a16="http://schemas.microsoft.com/office/drawing/2014/main" id="{88AD5A99-40B5-4C7E-8A7A-D229FC3EA1E9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27" name="Motion design">
              <a:extLst>
                <a:ext uri="{FF2B5EF4-FFF2-40B4-BE49-F238E27FC236}">
                  <a16:creationId xmlns:a16="http://schemas.microsoft.com/office/drawing/2014/main" id="{405B2B1E-5D85-4D92-B012-659F9E879577}"/>
                </a:ext>
              </a:extLst>
            </p:cNvPr>
            <p:cNvSpPr txBox="1"/>
            <p:nvPr/>
          </p:nvSpPr>
          <p:spPr>
            <a:xfrm>
              <a:off x="8239784" y="4525582"/>
              <a:ext cx="3872672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Изменение процесса работы с найденными контрагентами в зависимости от их категории </a:t>
              </a:r>
            </a:p>
          </p:txBody>
        </p:sp>
        <p:sp>
          <p:nvSpPr>
            <p:cNvPr id="480" name="Circle">
              <a:extLst>
                <a:ext uri="{FF2B5EF4-FFF2-40B4-BE49-F238E27FC236}">
                  <a16:creationId xmlns:a16="http://schemas.microsoft.com/office/drawing/2014/main" id="{5AE9C216-9FA0-4F47-8517-84DFE5725877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84" name="Рисунок 483">
              <a:extLst>
                <a:ext uri="{FF2B5EF4-FFF2-40B4-BE49-F238E27FC236}">
                  <a16:creationId xmlns:a16="http://schemas.microsoft.com/office/drawing/2014/main" id="{C4DF5E32-83B0-4ED3-8D9C-9C08315C7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12646" y="4674301"/>
              <a:ext cx="309781" cy="263314"/>
            </a:xfrm>
            <a:prstGeom prst="rect">
              <a:avLst/>
            </a:prstGeom>
          </p:spPr>
        </p:pic>
      </p:grpSp>
      <p:pic>
        <p:nvPicPr>
          <p:cNvPr id="302" name="ОТП_Logo">
            <a:extLst>
              <a:ext uri="{FF2B5EF4-FFF2-40B4-BE49-F238E27FC236}">
                <a16:creationId xmlns:a16="http://schemas.microsoft.com/office/drawing/2014/main" id="{B4B1A66C-9F10-4B83-A83A-773B6E5ABF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9032" y="6105933"/>
            <a:ext cx="2094117" cy="5104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398940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4.375E-6 -4.81481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4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4.375E-6 -2.96296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Тема Office">
  <a:themeElements>
    <a:clrScheme name="CDIConf_ОТПБанк">
      <a:dk1>
        <a:srgbClr val="0D0D0D"/>
      </a:dk1>
      <a:lt1>
        <a:srgbClr val="FFFFFF"/>
      </a:lt1>
      <a:dk2>
        <a:srgbClr val="F6F6F6"/>
      </a:dk2>
      <a:lt2>
        <a:srgbClr val="006D3F"/>
      </a:lt2>
      <a:accent1>
        <a:srgbClr val="EC4741"/>
      </a:accent1>
      <a:accent2>
        <a:srgbClr val="006D3F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CDIConf_ОТПБанк">
      <a:dk1>
        <a:srgbClr val="0D0D0D"/>
      </a:dk1>
      <a:lt1>
        <a:srgbClr val="FFFFFF"/>
      </a:lt1>
      <a:dk2>
        <a:srgbClr val="F6F6F6"/>
      </a:dk2>
      <a:lt2>
        <a:srgbClr val="EC4741"/>
      </a:lt2>
      <a:accent1>
        <a:srgbClr val="EC4741"/>
      </a:accent1>
      <a:accent2>
        <a:srgbClr val="006D3F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51</TotalTime>
  <Words>936</Words>
  <Application>Microsoft Office PowerPoint</Application>
  <PresentationFormat>Широкоэкранный</PresentationFormat>
  <Paragraphs>194</Paragraphs>
  <Slides>17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Akrobat</vt:lpstr>
      <vt:lpstr>Arial</vt:lpstr>
      <vt:lpstr>Calibri</vt:lpstr>
      <vt:lpstr>Calibri Light</vt:lpstr>
      <vt:lpstr>Helvetica Neue</vt:lpstr>
      <vt:lpstr>Poppins Bold</vt:lpstr>
      <vt:lpstr>Roboto</vt:lpstr>
      <vt:lpstr>Roboto Light</vt:lpstr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mitry Loktev</dc:creator>
  <cp:lastModifiedBy>HFLabs</cp:lastModifiedBy>
  <cp:revision>84</cp:revision>
  <dcterms:created xsi:type="dcterms:W3CDTF">2023-08-12T09:31:16Z</dcterms:created>
  <dcterms:modified xsi:type="dcterms:W3CDTF">2023-09-16T14:11:34Z</dcterms:modified>
</cp:coreProperties>
</file>